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5.xml" ContentType="application/vnd.openxmlformats-officedocument.them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12" r:id="rId4"/>
    <p:sldMasterId id="2147483861" r:id="rId5"/>
    <p:sldMasterId id="2147483946" r:id="rId6"/>
    <p:sldMasterId id="2147483810" r:id="rId7"/>
  </p:sldMasterIdLst>
  <p:notesMasterIdLst>
    <p:notesMasterId r:id="rId47"/>
  </p:notesMasterIdLst>
  <p:sldIdLst>
    <p:sldId id="256" r:id="rId8"/>
    <p:sldId id="257" r:id="rId9"/>
    <p:sldId id="258" r:id="rId10"/>
    <p:sldId id="326" r:id="rId11"/>
    <p:sldId id="327" r:id="rId12"/>
    <p:sldId id="295" r:id="rId13"/>
    <p:sldId id="296" r:id="rId14"/>
    <p:sldId id="297" r:id="rId15"/>
    <p:sldId id="299" r:id="rId16"/>
    <p:sldId id="300" r:id="rId17"/>
    <p:sldId id="298" r:id="rId18"/>
    <p:sldId id="301" r:id="rId19"/>
    <p:sldId id="328" r:id="rId20"/>
    <p:sldId id="302" r:id="rId21"/>
    <p:sldId id="303" r:id="rId22"/>
    <p:sldId id="304" r:id="rId23"/>
    <p:sldId id="305" r:id="rId24"/>
    <p:sldId id="306" r:id="rId25"/>
    <p:sldId id="307" r:id="rId26"/>
    <p:sldId id="308" r:id="rId27"/>
    <p:sldId id="309" r:id="rId28"/>
    <p:sldId id="310" r:id="rId29"/>
    <p:sldId id="311" r:id="rId30"/>
    <p:sldId id="312" r:id="rId31"/>
    <p:sldId id="314" r:id="rId32"/>
    <p:sldId id="333" r:id="rId33"/>
    <p:sldId id="315" r:id="rId34"/>
    <p:sldId id="316" r:id="rId35"/>
    <p:sldId id="317" r:id="rId36"/>
    <p:sldId id="318" r:id="rId37"/>
    <p:sldId id="319" r:id="rId38"/>
    <p:sldId id="340" r:id="rId39"/>
    <p:sldId id="346" r:id="rId40"/>
    <p:sldId id="320" r:id="rId41"/>
    <p:sldId id="339" r:id="rId42"/>
    <p:sldId id="345" r:id="rId43"/>
    <p:sldId id="325" r:id="rId44"/>
    <p:sldId id="343" r:id="rId45"/>
    <p:sldId id="344" r:id="rId46"/>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es" id="{1801D88D-E6E3-5240-9146-16C501FBF446}">
          <p14:sldIdLst>
            <p14:sldId id="256"/>
            <p14:sldId id="257"/>
            <p14:sldId id="258"/>
            <p14:sldId id="326"/>
            <p14:sldId id="327"/>
          </p14:sldIdLst>
        </p14:section>
        <p14:section name="Titelslides" id="{C9B9EABF-113F-BF43-96C2-C47D73B58F7A}">
          <p14:sldIdLst>
            <p14:sldId id="295"/>
            <p14:sldId id="296"/>
          </p14:sldIdLst>
        </p14:section>
        <p14:section name="Tussenslides" id="{3058B18A-61FB-0E46-A19A-9A1E65206A4B}">
          <p14:sldIdLst>
            <p14:sldId id="297"/>
            <p14:sldId id="299"/>
            <p14:sldId id="300"/>
          </p14:sldIdLst>
        </p14:section>
        <p14:section name="Inhoud" id="{40A318F3-E764-324A-B4F7-F84AC472EA5C}">
          <p14:sldIdLst>
            <p14:sldId id="298"/>
          </p14:sldIdLst>
        </p14:section>
        <p14:section name="Introductie" id="{B54F323F-E204-7443-AA55-440FF9F344CC}">
          <p14:sldIdLst>
            <p14:sldId id="301"/>
            <p14:sldId id="328"/>
          </p14:sldIdLst>
        </p14:section>
        <p14:section name="Personen" id="{E72B4214-5721-0440-B090-1881991B80E9}">
          <p14:sldIdLst>
            <p14:sldId id="302"/>
            <p14:sldId id="303"/>
            <p14:sldId id="304"/>
            <p14:sldId id="305"/>
          </p14:sldIdLst>
        </p14:section>
        <p14:section name="Tekst/grafieken" id="{A852921F-DD3F-6947-AEE3-F0F530800FD1}">
          <p14:sldIdLst>
            <p14:sldId id="306"/>
            <p14:sldId id="307"/>
            <p14:sldId id="308"/>
            <p14:sldId id="309"/>
            <p14:sldId id="310"/>
            <p14:sldId id="311"/>
            <p14:sldId id="312"/>
          </p14:sldIdLst>
        </p14:section>
        <p14:section name="Beelden full screen" id="{F110034A-6EE0-6141-A0EB-4D28C5D1ED8C}">
          <p14:sldIdLst>
            <p14:sldId id="314"/>
            <p14:sldId id="333"/>
          </p14:sldIdLst>
        </p14:section>
        <p14:section name="Quotes" id="{8AA96FD4-0AD0-DE4B-99FA-5EA1E0154679}">
          <p14:sldIdLst>
            <p14:sldId id="315"/>
            <p14:sldId id="316"/>
            <p14:sldId id="317"/>
            <p14:sldId id="318"/>
          </p14:sldIdLst>
        </p14:section>
        <p14:section name="Beelden" id="{DE6474AC-04DF-0548-8B1C-86C30E0F09A2}">
          <p14:sldIdLst>
            <p14:sldId id="319"/>
            <p14:sldId id="340"/>
          </p14:sldIdLst>
        </p14:section>
        <p14:section name="Beelden met quotes" id="{D9C39549-9DDD-7641-9672-4BA00A19FE0F}">
          <p14:sldIdLst>
            <p14:sldId id="346"/>
            <p14:sldId id="320"/>
            <p14:sldId id="339"/>
          </p14:sldIdLst>
        </p14:section>
        <p14:section name="Afsluiting" id="{2773FA10-F7BC-614F-BAD7-7408A479BD37}">
          <p14:sldIdLst>
            <p14:sldId id="345"/>
            <p14:sldId id="325"/>
          </p14:sldIdLst>
        </p14:section>
        <p14:section name="Logo's EBU boardmember" id="{D9DF51D5-BBE4-634F-863D-D5E34EFD7A38}">
          <p14:sldIdLst>
            <p14:sldId id="343"/>
          </p14:sldIdLst>
        </p14:section>
        <p14:section name="Iconen" id="{B385D752-308B-F948-8EA8-0C4FA3A0ACF1}">
          <p14:sldIdLst>
            <p14:sldId id="34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FF7238-9B74-5648-06E2-DC0A1AC8E41E}" name="Elke Verbruggen" initials="EV" userId="S::e.verbruggen@utrechtmarketing.nl::2d657aec-a083-4ed6-b3cc-e3aeeb7c142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7D"/>
    <a:srgbClr val="00501C"/>
    <a:srgbClr val="7A35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960" autoAdjust="0"/>
    <p:restoredTop sz="96301" autoAdjust="0"/>
  </p:normalViewPr>
  <p:slideViewPr>
    <p:cSldViewPr snapToGrid="0">
      <p:cViewPr>
        <p:scale>
          <a:sx n="85" d="100"/>
          <a:sy n="85" d="100"/>
        </p:scale>
        <p:origin x="931" y="-139"/>
      </p:cViewPr>
      <p:guideLst/>
    </p:cSldViewPr>
  </p:slideViewPr>
  <p:outlineViewPr>
    <p:cViewPr>
      <p:scale>
        <a:sx n="33" d="100"/>
        <a:sy n="33" d="100"/>
      </p:scale>
      <p:origin x="0" y="-10674"/>
    </p:cViewPr>
  </p:outlineViewPr>
  <p:notesTextViewPr>
    <p:cViewPr>
      <p:scale>
        <a:sx n="1" d="1"/>
        <a:sy n="1" d="1"/>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631837338690405E-2"/>
          <c:y val="0.19632774366089406"/>
          <c:w val="0.89073632532261915"/>
          <c:h val="0.80367225633910588"/>
        </c:manualLayout>
      </c:layout>
      <c:barChart>
        <c:barDir val="col"/>
        <c:grouping val="stacked"/>
        <c:varyColors val="1"/>
        <c:ser>
          <c:idx val="0"/>
          <c:order val="0"/>
          <c:tx>
            <c:strRef>
              <c:f>Sheet1!$B$1</c:f>
              <c:strCache>
                <c:ptCount val="1"/>
                <c:pt idx="0">
                  <c:v>Series 1</c:v>
                </c:pt>
              </c:strCache>
            </c:strRef>
          </c:tx>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3BC3-4414-A2B1-50D1760E4B49}"/>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3BC3-4414-A2B1-50D1760E4B49}"/>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3BC3-4414-A2B1-50D1760E4B49}"/>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7-3BC3-4414-A2B1-50D1760E4B49}"/>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9-3BC3-4414-A2B1-50D1760E4B49}"/>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B-3BC3-4414-A2B1-50D1760E4B49}"/>
              </c:ext>
            </c:extLst>
          </c:dPt>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General</c:formatCode>
                <c:ptCount val="6"/>
                <c:pt idx="0">
                  <c:v>4.3</c:v>
                </c:pt>
                <c:pt idx="1">
                  <c:v>2.5</c:v>
                </c:pt>
                <c:pt idx="2">
                  <c:v>3.5</c:v>
                </c:pt>
                <c:pt idx="3">
                  <c:v>4.5</c:v>
                </c:pt>
                <c:pt idx="4">
                  <c:v>2.4</c:v>
                </c:pt>
                <c:pt idx="5">
                  <c:v>4.4000000000000004</c:v>
                </c:pt>
              </c:numCache>
            </c:numRef>
          </c:val>
          <c:extLst>
            <c:ext xmlns:c16="http://schemas.microsoft.com/office/drawing/2014/chart" uri="{C3380CC4-5D6E-409C-BE32-E72D297353CC}">
              <c16:uniqueId val="{00000000-6A54-4115-B4CB-C6DEB0D0F080}"/>
            </c:ext>
          </c:extLst>
        </c:ser>
        <c:dLbls>
          <c:showLegendKey val="0"/>
          <c:showVal val="0"/>
          <c:showCatName val="0"/>
          <c:showSerName val="0"/>
          <c:showPercent val="0"/>
          <c:showBubbleSize val="0"/>
        </c:dLbls>
        <c:gapWidth val="70"/>
        <c:overlap val="100"/>
        <c:axId val="1133729696"/>
        <c:axId val="1133722624"/>
      </c:barChart>
      <c:catAx>
        <c:axId val="1133729696"/>
        <c:scaling>
          <c:orientation val="minMax"/>
        </c:scaling>
        <c:delete val="1"/>
        <c:axPos val="b"/>
        <c:numFmt formatCode="General" sourceLinked="1"/>
        <c:majorTickMark val="none"/>
        <c:minorTickMark val="none"/>
        <c:tickLblPos val="nextTo"/>
        <c:crossAx val="1133722624"/>
        <c:crosses val="autoZero"/>
        <c:auto val="1"/>
        <c:lblAlgn val="ctr"/>
        <c:lblOffset val="100"/>
        <c:noMultiLvlLbl val="0"/>
      </c:catAx>
      <c:valAx>
        <c:axId val="1133722624"/>
        <c:scaling>
          <c:orientation val="minMax"/>
        </c:scaling>
        <c:delete val="1"/>
        <c:axPos val="l"/>
        <c:numFmt formatCode="General" sourceLinked="1"/>
        <c:majorTickMark val="none"/>
        <c:minorTickMark val="none"/>
        <c:tickLblPos val="nextTo"/>
        <c:crossAx val="11337296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B6A-5949-821E-21A5A39066D6}"/>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B6A-5949-821E-21A5A39066D6}"/>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B6A-5949-821E-21A5A39066D6}"/>
            </c:ext>
          </c:extLst>
        </c:ser>
        <c:dLbls>
          <c:showLegendKey val="0"/>
          <c:showVal val="0"/>
          <c:showCatName val="0"/>
          <c:showSerName val="0"/>
          <c:showPercent val="0"/>
          <c:showBubbleSize val="0"/>
        </c:dLbls>
        <c:gapWidth val="219"/>
        <c:overlap val="-27"/>
        <c:axId val="875219472"/>
        <c:axId val="875226960"/>
      </c:barChart>
      <c:catAx>
        <c:axId val="875219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875226960"/>
        <c:crosses val="autoZero"/>
        <c:auto val="1"/>
        <c:lblAlgn val="ctr"/>
        <c:lblOffset val="100"/>
        <c:noMultiLvlLbl val="0"/>
      </c:catAx>
      <c:valAx>
        <c:axId val="8752269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8752194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366-4E46-9725-CC7F4C1C7C5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366-4E46-9725-CC7F4C1C7C5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366-4E46-9725-CC7F4C1C7C5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366-4E46-9725-CC7F4C1C7C5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0366-4E46-9725-CC7F4C1C7C50}"/>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AF0-FC42-95B4-E69D5C4F69FF}"/>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CAF0-FC42-95B4-E69D5C4F69FF}"/>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CAF0-FC42-95B4-E69D5C4F69FF}"/>
            </c:ext>
          </c:extLst>
        </c:ser>
        <c:dLbls>
          <c:showLegendKey val="0"/>
          <c:showVal val="0"/>
          <c:showCatName val="0"/>
          <c:showSerName val="0"/>
          <c:showPercent val="0"/>
          <c:showBubbleSize val="0"/>
        </c:dLbls>
        <c:gapWidth val="150"/>
        <c:overlap val="100"/>
        <c:axId val="1133729696"/>
        <c:axId val="1133722624"/>
      </c:barChart>
      <c:catAx>
        <c:axId val="1133729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1133722624"/>
        <c:crosses val="autoZero"/>
        <c:auto val="1"/>
        <c:lblAlgn val="ctr"/>
        <c:lblOffset val="100"/>
        <c:noMultiLvlLbl val="0"/>
      </c:catAx>
      <c:valAx>
        <c:axId val="11337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1133729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4833DF-A8EB-4960-A819-CD7D8A06178B}" type="datetimeFigureOut">
              <a:rPr lang="en-GB" smtClean="0"/>
              <a:t>07/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AB40BD-7B70-43CB-8F60-04315C02E64D}" type="slidenum">
              <a:rPr lang="en-GB" smtClean="0"/>
              <a:t>‹nr.›</a:t>
            </a:fld>
            <a:endParaRPr lang="en-GB"/>
          </a:p>
        </p:txBody>
      </p:sp>
    </p:spTree>
    <p:extLst>
      <p:ext uri="{BB962C8B-B14F-4D97-AF65-F5344CB8AC3E}">
        <p14:creationId xmlns:p14="http://schemas.microsoft.com/office/powerpoint/2010/main" val="25025279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8.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xml"/><Relationship Id="rId7" Type="http://schemas.openxmlformats.org/officeDocument/2006/relationships/image" Target="../media/image7.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1.bin"/><Relationship Id="rId5" Type="http://schemas.openxmlformats.org/officeDocument/2006/relationships/image" Target="../media/image19.png"/><Relationship Id="rId10" Type="http://schemas.openxmlformats.org/officeDocument/2006/relationships/image" Target="../media/image21.png"/><Relationship Id="rId4" Type="http://schemas.openxmlformats.org/officeDocument/2006/relationships/slideMaster" Target="../slideMasters/slideMaster4.xml"/><Relationship Id="rId9" Type="http://schemas.openxmlformats.org/officeDocument/2006/relationships/chart" Target="../charts/chart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oleObject" Target="../embeddings/oleObject1.bin"/><Relationship Id="rId10" Type="http://schemas.openxmlformats.org/officeDocument/2006/relationships/image" Target="../media/image11.png"/><Relationship Id="rId4" Type="http://schemas.openxmlformats.org/officeDocument/2006/relationships/slideMaster" Target="../slideMasters/slideMaster4.xml"/><Relationship Id="rId9" Type="http://schemas.openxmlformats.org/officeDocument/2006/relationships/image" Target="../media/image10.png"/></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4.xml"/><Relationship Id="rId9" Type="http://schemas.openxmlformats.org/officeDocument/2006/relationships/image" Target="../media/image14.png"/></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xml"/><Relationship Id="rId7" Type="http://schemas.openxmlformats.org/officeDocument/2006/relationships/image" Target="../media/image1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emf"/><Relationship Id="rId11" Type="http://schemas.openxmlformats.org/officeDocument/2006/relationships/image" Target="../media/image9.png"/><Relationship Id="rId5" Type="http://schemas.openxmlformats.org/officeDocument/2006/relationships/oleObject" Target="../embeddings/oleObject1.bin"/><Relationship Id="rId10" Type="http://schemas.openxmlformats.org/officeDocument/2006/relationships/image" Target="../media/image17.gif"/><Relationship Id="rId4" Type="http://schemas.openxmlformats.org/officeDocument/2006/relationships/slideMaster" Target="../slideMasters/slideMaster4.xml"/><Relationship Id="rId9" Type="http://schemas.openxmlformats.org/officeDocument/2006/relationships/image" Target="../media/image16.gi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I / Beeld">
    <p:bg>
      <p:bgPr>
        <a:solidFill>
          <a:schemeClr val="accent1"/>
        </a:solidFill>
        <a:effectLst/>
      </p:bgPr>
    </p:bg>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750D8FE7-C87B-9F36-0BB1-F47746731658}"/>
              </a:ext>
            </a:extLst>
          </p:cNvPr>
          <p:cNvSpPr>
            <a:spLocks noGrp="1"/>
          </p:cNvSpPr>
          <p:nvPr>
            <p:ph type="pic" sz="quarter" idx="19"/>
          </p:nvPr>
        </p:nvSpPr>
        <p:spPr>
          <a:xfrm>
            <a:off x="0" y="-6038"/>
            <a:ext cx="6182350" cy="6216857"/>
          </a:xfrm>
          <a:custGeom>
            <a:avLst/>
            <a:gdLst>
              <a:gd name="connsiteX0" fmla="*/ 6182350 w 6182350"/>
              <a:gd name="connsiteY0" fmla="*/ 5672849 h 6216857"/>
              <a:gd name="connsiteX1" fmla="*/ 6182303 w 6182350"/>
              <a:gd name="connsiteY1" fmla="*/ 5672878 h 6216857"/>
              <a:gd name="connsiteX2" fmla="*/ 5983423 w 6182350"/>
              <a:gd name="connsiteY2" fmla="*/ 5779967 h 6216857"/>
              <a:gd name="connsiteX3" fmla="*/ 5983423 w 6182350"/>
              <a:gd name="connsiteY3" fmla="*/ 5779967 h 6216857"/>
              <a:gd name="connsiteX4" fmla="*/ 0 w 6182350"/>
              <a:gd name="connsiteY4" fmla="*/ 0 h 6216857"/>
              <a:gd name="connsiteX5" fmla="*/ 5983422 w 6182350"/>
              <a:gd name="connsiteY5" fmla="*/ 0 h 6216857"/>
              <a:gd name="connsiteX6" fmla="*/ 5983422 w 6182350"/>
              <a:gd name="connsiteY6" fmla="*/ 5779967 h 6216857"/>
              <a:gd name="connsiteX7" fmla="*/ 5811051 w 6182350"/>
              <a:gd name="connsiteY7" fmla="*/ 5863717 h 6216857"/>
              <a:gd name="connsiteX8" fmla="*/ 4806520 w 6182350"/>
              <a:gd name="connsiteY8" fmla="*/ 6172938 h 6216857"/>
              <a:gd name="connsiteX9" fmla="*/ 477737 w 6182350"/>
              <a:gd name="connsiteY9" fmla="*/ 4659542 h 6216857"/>
              <a:gd name="connsiteX10" fmla="*/ 226169 w 6182350"/>
              <a:gd name="connsiteY10" fmla="*/ 4390367 h 6216857"/>
              <a:gd name="connsiteX11" fmla="*/ 0 w 6182350"/>
              <a:gd name="connsiteY11" fmla="*/ 4113334 h 621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82350" h="6216857">
                <a:moveTo>
                  <a:pt x="6182350" y="5672849"/>
                </a:moveTo>
                <a:lnTo>
                  <a:pt x="6182303" y="5672878"/>
                </a:lnTo>
                <a:lnTo>
                  <a:pt x="5983423" y="5779967"/>
                </a:lnTo>
                <a:lnTo>
                  <a:pt x="5983423" y="5779967"/>
                </a:lnTo>
                <a:close/>
                <a:moveTo>
                  <a:pt x="0" y="0"/>
                </a:moveTo>
                <a:lnTo>
                  <a:pt x="5983422" y="0"/>
                </a:lnTo>
                <a:lnTo>
                  <a:pt x="5983422" y="5779967"/>
                </a:lnTo>
                <a:lnTo>
                  <a:pt x="5811051" y="5863717"/>
                </a:lnTo>
                <a:cubicBezTo>
                  <a:pt x="5416730" y="6045561"/>
                  <a:pt x="5078116" y="6134419"/>
                  <a:pt x="4806520" y="6172938"/>
                </a:cubicBezTo>
                <a:cubicBezTo>
                  <a:pt x="3618360" y="6346219"/>
                  <a:pt x="1857337" y="6039674"/>
                  <a:pt x="477737" y="4659542"/>
                </a:cubicBezTo>
                <a:cubicBezTo>
                  <a:pt x="389527" y="4571298"/>
                  <a:pt x="305732" y="4481488"/>
                  <a:pt x="226169" y="4390367"/>
                </a:cubicBezTo>
                <a:lnTo>
                  <a:pt x="0" y="4113334"/>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dirty="0"/>
          </a:p>
        </p:txBody>
      </p:sp>
      <p:sp>
        <p:nvSpPr>
          <p:cNvPr id="26" name="Vrije vorm 25">
            <a:extLst>
              <a:ext uri="{FF2B5EF4-FFF2-40B4-BE49-F238E27FC236}">
                <a16:creationId xmlns:a16="http://schemas.microsoft.com/office/drawing/2014/main" id="{0D2933BE-CBC4-6C62-C7C3-37ACB5A9EDAB}"/>
              </a:ext>
            </a:extLst>
          </p:cNvPr>
          <p:cNvSpPr/>
          <p:nvPr userDrawn="1"/>
        </p:nvSpPr>
        <p:spPr>
          <a:xfrm>
            <a:off x="5983422" y="-3841"/>
            <a:ext cx="6212267" cy="6868873"/>
          </a:xfrm>
          <a:custGeom>
            <a:avLst/>
            <a:gdLst>
              <a:gd name="connsiteX0" fmla="*/ 6212268 w 6212267"/>
              <a:gd name="connsiteY0" fmla="*/ 6868874 h 6868873"/>
              <a:gd name="connsiteX1" fmla="*/ 6212268 w 6212267"/>
              <a:gd name="connsiteY1" fmla="*/ 0 h 6868873"/>
              <a:gd name="connsiteX2" fmla="*/ 1796677 w 6212267"/>
              <a:gd name="connsiteY2" fmla="*/ 4417336 h 6868873"/>
              <a:gd name="connsiteX3" fmla="*/ 0 w 6212267"/>
              <a:gd name="connsiteY3" fmla="*/ 5777770 h 6868873"/>
              <a:gd name="connsiteX4" fmla="*/ 0 w 6212267"/>
              <a:gd name="connsiteY4" fmla="*/ 6868874 h 6868873"/>
              <a:gd name="connsiteX5" fmla="*/ 6212268 w 6212267"/>
              <a:gd name="connsiteY5" fmla="*/ 6868874 h 686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2267" h="6868873">
                <a:moveTo>
                  <a:pt x="6212268" y="6868874"/>
                </a:moveTo>
                <a:lnTo>
                  <a:pt x="6212268" y="0"/>
                </a:lnTo>
                <a:lnTo>
                  <a:pt x="1796677" y="4417336"/>
                </a:lnTo>
                <a:cubicBezTo>
                  <a:pt x="1126082" y="5088166"/>
                  <a:pt x="519608" y="5512547"/>
                  <a:pt x="0" y="5777770"/>
                </a:cubicBezTo>
                <a:lnTo>
                  <a:pt x="0" y="6868874"/>
                </a:lnTo>
                <a:lnTo>
                  <a:pt x="6212268" y="6868874"/>
                </a:lnTo>
                <a:close/>
              </a:path>
            </a:pathLst>
          </a:custGeom>
          <a:solidFill>
            <a:schemeClr val="accent5"/>
          </a:solidFill>
          <a:ln w="11535" cap="flat">
            <a:solidFill>
              <a:schemeClr val="accent5"/>
            </a:solid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1B4EB234-DB26-D2B9-6394-EA97F26864A6}"/>
              </a:ext>
            </a:extLst>
          </p:cNvPr>
          <p:cNvSpPr/>
          <p:nvPr userDrawn="1"/>
        </p:nvSpPr>
        <p:spPr>
          <a:xfrm>
            <a:off x="0" y="4107295"/>
            <a:ext cx="5983422" cy="2757736"/>
          </a:xfrm>
          <a:custGeom>
            <a:avLst/>
            <a:gdLst>
              <a:gd name="connsiteX0" fmla="*/ 0 w 5983422"/>
              <a:gd name="connsiteY0" fmla="*/ 0 h 2757736"/>
              <a:gd name="connsiteX1" fmla="*/ 0 w 5983422"/>
              <a:gd name="connsiteY1" fmla="*/ 2757736 h 2757736"/>
              <a:gd name="connsiteX2" fmla="*/ 5983423 w 5983422"/>
              <a:gd name="connsiteY2" fmla="*/ 2757736 h 2757736"/>
              <a:gd name="connsiteX3" fmla="*/ 5983423 w 5983422"/>
              <a:gd name="connsiteY3" fmla="*/ 1666633 h 2757736"/>
              <a:gd name="connsiteX4" fmla="*/ 4806520 w 5983422"/>
              <a:gd name="connsiteY4" fmla="*/ 2059605 h 2757736"/>
              <a:gd name="connsiteX5" fmla="*/ 477737 w 5983422"/>
              <a:gd name="connsiteY5" fmla="*/ 546209 h 2757736"/>
              <a:gd name="connsiteX6" fmla="*/ 0 w 5983422"/>
              <a:gd name="connsiteY6" fmla="*/ 0 h 275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3422" h="2757736">
                <a:moveTo>
                  <a:pt x="0" y="0"/>
                </a:moveTo>
                <a:lnTo>
                  <a:pt x="0" y="2757736"/>
                </a:lnTo>
                <a:lnTo>
                  <a:pt x="5983423" y="2757736"/>
                </a:lnTo>
                <a:lnTo>
                  <a:pt x="5983423" y="1666633"/>
                </a:lnTo>
                <a:cubicBezTo>
                  <a:pt x="5514844" y="1905813"/>
                  <a:pt x="5116915" y="2015583"/>
                  <a:pt x="4806520" y="2059605"/>
                </a:cubicBezTo>
                <a:cubicBezTo>
                  <a:pt x="3618360" y="2232886"/>
                  <a:pt x="1857337" y="1926341"/>
                  <a:pt x="477737" y="546209"/>
                </a:cubicBezTo>
                <a:cubicBezTo>
                  <a:pt x="301317" y="369721"/>
                  <a:pt x="142555" y="186966"/>
                  <a:pt x="0" y="0"/>
                </a:cubicBezTo>
              </a:path>
            </a:pathLst>
          </a:custGeom>
          <a:solidFill>
            <a:srgbClr val="00501C"/>
          </a:solidFill>
          <a:ln w="11535" cap="flat">
            <a:solidFill>
              <a:srgbClr val="00501C"/>
            </a:solidFill>
            <a:prstDash val="solid"/>
            <a:miter/>
          </a:ln>
        </p:spPr>
        <p:txBody>
          <a:bodyPr rtlCol="0" anchor="ctr"/>
          <a:lstStyle/>
          <a:p>
            <a:endParaRPr lang="nl-NL"/>
          </a:p>
        </p:txBody>
      </p:sp>
      <p:sp>
        <p:nvSpPr>
          <p:cNvPr id="28" name="Vrije vorm 27">
            <a:extLst>
              <a:ext uri="{FF2B5EF4-FFF2-40B4-BE49-F238E27FC236}">
                <a16:creationId xmlns:a16="http://schemas.microsoft.com/office/drawing/2014/main" id="{3658FEB1-68B3-77E1-5752-DAE16069FAC9}"/>
              </a:ext>
            </a:extLst>
          </p:cNvPr>
          <p:cNvSpPr/>
          <p:nvPr userDrawn="1"/>
        </p:nvSpPr>
        <p:spPr>
          <a:xfrm>
            <a:off x="5983422" y="-3848"/>
            <a:ext cx="6212267" cy="5777776"/>
          </a:xfrm>
          <a:custGeom>
            <a:avLst/>
            <a:gdLst>
              <a:gd name="connsiteX0" fmla="*/ 0 w 6212267"/>
              <a:gd name="connsiteY0" fmla="*/ 5777777 h 5777776"/>
              <a:gd name="connsiteX1" fmla="*/ 1796677 w 6212267"/>
              <a:gd name="connsiteY1" fmla="*/ 4417331 h 5777776"/>
              <a:gd name="connsiteX2" fmla="*/ 6212268 w 6212267"/>
              <a:gd name="connsiteY2" fmla="*/ 0 h 5777776"/>
              <a:gd name="connsiteX3" fmla="*/ 0 w 6212267"/>
              <a:gd name="connsiteY3" fmla="*/ 11 h 5777776"/>
              <a:gd name="connsiteX4" fmla="*/ 0 w 6212267"/>
              <a:gd name="connsiteY4" fmla="*/ 5777777 h 5777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2267" h="5777776">
                <a:moveTo>
                  <a:pt x="0" y="5777777"/>
                </a:moveTo>
                <a:cubicBezTo>
                  <a:pt x="519596" y="5512553"/>
                  <a:pt x="1126082" y="5088161"/>
                  <a:pt x="1796677" y="4417331"/>
                </a:cubicBezTo>
                <a:lnTo>
                  <a:pt x="6212268" y="0"/>
                </a:lnTo>
                <a:lnTo>
                  <a:pt x="0" y="11"/>
                </a:lnTo>
                <a:lnTo>
                  <a:pt x="0" y="5777777"/>
                </a:lnTo>
                <a:close/>
              </a:path>
            </a:pathLst>
          </a:custGeom>
          <a:solidFill>
            <a:srgbClr val="00501C"/>
          </a:solidFill>
          <a:ln w="11535" cap="flat">
            <a:solidFill>
              <a:srgbClr val="00501C"/>
            </a:solidFill>
            <a:prstDash val="solid"/>
            <a:miter/>
          </a:ln>
        </p:spPr>
        <p:txBody>
          <a:bodyPr rtlCol="0" anchor="ctr"/>
          <a:lstStyle/>
          <a:p>
            <a:endParaRPr lang="nl-NL"/>
          </a:p>
        </p:txBody>
      </p:sp>
      <p:sp>
        <p:nvSpPr>
          <p:cNvPr id="2" name="Titel 1">
            <a:extLst>
              <a:ext uri="{FF2B5EF4-FFF2-40B4-BE49-F238E27FC236}">
                <a16:creationId xmlns:a16="http://schemas.microsoft.com/office/drawing/2014/main" id="{9C22CEDD-0BA5-7B67-45FA-777969FEB4B5}"/>
              </a:ext>
            </a:extLst>
          </p:cNvPr>
          <p:cNvSpPr>
            <a:spLocks noGrp="1"/>
          </p:cNvSpPr>
          <p:nvPr>
            <p:ph type="title" hasCustomPrompt="1"/>
          </p:nvPr>
        </p:nvSpPr>
        <p:spPr>
          <a:xfrm>
            <a:off x="6588049" y="4936253"/>
            <a:ext cx="5016576" cy="692497"/>
          </a:xfrm>
        </p:spPr>
        <p:txBody>
          <a:bodyPr wrap="square" anchor="b" anchorCtr="0">
            <a:spAutoFit/>
          </a:bodyPr>
          <a:lstStyle>
            <a:lvl1pPr>
              <a:defRPr sz="5000">
                <a:solidFill>
                  <a:schemeClr val="bg1"/>
                </a:solidFill>
              </a:defRPr>
            </a:lvl1pPr>
          </a:lstStyle>
          <a:p>
            <a:r>
              <a:rPr lang="nl-NL" dirty="0"/>
              <a:t>Titel</a:t>
            </a:r>
          </a:p>
        </p:txBody>
      </p:sp>
      <p:grpSp>
        <p:nvGrpSpPr>
          <p:cNvPr id="5" name="Groep 4">
            <a:extLst>
              <a:ext uri="{FF2B5EF4-FFF2-40B4-BE49-F238E27FC236}">
                <a16:creationId xmlns:a16="http://schemas.microsoft.com/office/drawing/2014/main" id="{82117802-456D-6AF4-E7D2-18FB3465A58A}"/>
              </a:ext>
            </a:extLst>
          </p:cNvPr>
          <p:cNvGrpSpPr/>
          <p:nvPr userDrawn="1"/>
        </p:nvGrpSpPr>
        <p:grpSpPr>
          <a:xfrm>
            <a:off x="9131077" y="510242"/>
            <a:ext cx="2473548" cy="670910"/>
            <a:chOff x="3101010" y="1249097"/>
            <a:chExt cx="3978412" cy="1079078"/>
          </a:xfrm>
          <a:solidFill>
            <a:schemeClr val="bg1"/>
          </a:solidFill>
        </p:grpSpPr>
        <p:sp>
          <p:nvSpPr>
            <p:cNvPr id="6" name="Vrije vorm 5">
              <a:extLst>
                <a:ext uri="{FF2B5EF4-FFF2-40B4-BE49-F238E27FC236}">
                  <a16:creationId xmlns:a16="http://schemas.microsoft.com/office/drawing/2014/main" id="{0FED2527-BEA9-7AF9-7316-311C3BF89D23}"/>
                </a:ext>
              </a:extLst>
            </p:cNvPr>
            <p:cNvSpPr/>
            <p:nvPr/>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1B541DF7-90F8-4878-482E-CC59764E06C7}"/>
                </a:ext>
              </a:extLst>
            </p:cNvPr>
            <p:cNvSpPr/>
            <p:nvPr/>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9733BCED-EAE3-C324-7205-D83F9338DEB0}"/>
                </a:ext>
              </a:extLst>
            </p:cNvPr>
            <p:cNvSpPr/>
            <p:nvPr/>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A8590B33-E181-BB42-A07C-965B75F49726}"/>
                </a:ext>
              </a:extLst>
            </p:cNvPr>
            <p:cNvSpPr/>
            <p:nvPr/>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D8B49135-7172-D2B7-4D24-88D7B3B3F609}"/>
                </a:ext>
              </a:extLst>
            </p:cNvPr>
            <p:cNvSpPr/>
            <p:nvPr/>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523CEF53-D3F5-3A4D-FD65-B951F455A647}"/>
                </a:ext>
              </a:extLst>
            </p:cNvPr>
            <p:cNvSpPr/>
            <p:nvPr/>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28721FAD-2360-9AB6-4B28-87610BC5E47C}"/>
                </a:ext>
              </a:extLst>
            </p:cNvPr>
            <p:cNvSpPr/>
            <p:nvPr/>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DA9B6AF1-3B48-8780-24BF-AC783FE8A52B}"/>
                </a:ext>
              </a:extLst>
            </p:cNvPr>
            <p:cNvSpPr/>
            <p:nvPr/>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5" name="Subtitle 2">
            <a:extLst>
              <a:ext uri="{FF2B5EF4-FFF2-40B4-BE49-F238E27FC236}">
                <a16:creationId xmlns:a16="http://schemas.microsoft.com/office/drawing/2014/main" id="{5FC5C1CF-68A8-8DCD-2F45-C441E28129A6}"/>
              </a:ext>
            </a:extLst>
          </p:cNvPr>
          <p:cNvSpPr>
            <a:spLocks noGrp="1"/>
          </p:cNvSpPr>
          <p:nvPr>
            <p:ph type="subTitle" idx="1" hasCustomPrompt="1"/>
          </p:nvPr>
        </p:nvSpPr>
        <p:spPr>
          <a:xfrm>
            <a:off x="6588049" y="5829147"/>
            <a:ext cx="5016576" cy="430887"/>
          </a:xfrm>
          <a:noFill/>
        </p:spPr>
        <p:txBody>
          <a:bodyPr wrap="square" anchor="b" anchorCtr="0">
            <a:spAutoFit/>
          </a:bodyPr>
          <a:lstStyle>
            <a:lvl1pPr marL="0" indent="0" algn="l">
              <a:buNone/>
              <a:defRPr sz="2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Subtitel</a:t>
            </a:r>
          </a:p>
        </p:txBody>
      </p:sp>
      <p:sp>
        <p:nvSpPr>
          <p:cNvPr id="16" name="Content Placeholder 2">
            <a:extLst>
              <a:ext uri="{FF2B5EF4-FFF2-40B4-BE49-F238E27FC236}">
                <a16:creationId xmlns:a16="http://schemas.microsoft.com/office/drawing/2014/main" id="{EFB7DEB3-7883-503E-2476-9B5D764EA356}"/>
              </a:ext>
            </a:extLst>
          </p:cNvPr>
          <p:cNvSpPr>
            <a:spLocks noGrp="1"/>
          </p:cNvSpPr>
          <p:nvPr>
            <p:ph idx="17" hasCustomPrompt="1"/>
          </p:nvPr>
        </p:nvSpPr>
        <p:spPr>
          <a:xfrm>
            <a:off x="587375" y="6044590"/>
            <a:ext cx="1428991" cy="215444"/>
          </a:xfrm>
          <a:noFill/>
        </p:spPr>
        <p:txBody>
          <a:bodyPr wrap="square" anchor="ctr">
            <a:spAutoFit/>
          </a:bodyPr>
          <a:lstStyle>
            <a:lvl1pPr>
              <a:defRPr sz="1400">
                <a:solidFill>
                  <a:schemeClr val="bg1"/>
                </a:solidFill>
              </a:defRPr>
            </a:lvl1pPr>
            <a:lvl2pPr marL="0" indent="0">
              <a:spcAft>
                <a:spcPts val="0"/>
              </a:spcAft>
              <a:buNone/>
              <a:defRPr sz="1400">
                <a:solidFill>
                  <a:schemeClr val="bg1"/>
                </a:solidFill>
              </a:defRPr>
            </a:lvl2pPr>
          </a:lstStyle>
          <a:p>
            <a:pPr lvl="0"/>
            <a:r>
              <a:rPr lang="nl-NL" noProof="0" dirty="0"/>
              <a:t>Datum </a:t>
            </a:r>
          </a:p>
        </p:txBody>
      </p:sp>
    </p:spTree>
    <p:extLst>
      <p:ext uri="{BB962C8B-B14F-4D97-AF65-F5344CB8AC3E}">
        <p14:creationId xmlns:p14="http://schemas.microsoft.com/office/powerpoint/2010/main" val="1628388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ersonen III">
    <p:bg>
      <p:bgPr>
        <a:solidFill>
          <a:schemeClr val="bg1"/>
        </a:solidFill>
        <a:effectLst/>
      </p:bgPr>
    </p:bg>
    <p:spTree>
      <p:nvGrpSpPr>
        <p:cNvPr id="1" name=""/>
        <p:cNvGrpSpPr/>
        <p:nvPr/>
      </p:nvGrpSpPr>
      <p:grpSpPr>
        <a:xfrm>
          <a:off x="0" y="0"/>
          <a:ext cx="0" cy="0"/>
          <a:chOff x="0" y="0"/>
          <a:chExt cx="0" cy="0"/>
        </a:xfrm>
      </p:grpSpPr>
      <p:sp>
        <p:nvSpPr>
          <p:cNvPr id="18" name="Freeform: Shape 4">
            <a:extLst>
              <a:ext uri="{FF2B5EF4-FFF2-40B4-BE49-F238E27FC236}">
                <a16:creationId xmlns:a16="http://schemas.microsoft.com/office/drawing/2014/main" id="{D29E2D58-9FC3-D0E5-D706-982AF287139B}"/>
              </a:ext>
            </a:extLst>
          </p:cNvPr>
          <p:cNvSpPr/>
          <p:nvPr userDrawn="1"/>
        </p:nvSpPr>
        <p:spPr>
          <a:xfrm>
            <a:off x="7440811" y="-10274"/>
            <a:ext cx="4756381" cy="6876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9" name="Freeform: Shape 8">
            <a:extLst>
              <a:ext uri="{FF2B5EF4-FFF2-40B4-BE49-F238E27FC236}">
                <a16:creationId xmlns:a16="http://schemas.microsoft.com/office/drawing/2014/main" id="{A594F6DB-06A1-784F-13BB-DC4282126FC4}"/>
              </a:ext>
            </a:extLst>
          </p:cNvPr>
          <p:cNvSpPr/>
          <p:nvPr userDrawn="1"/>
        </p:nvSpPr>
        <p:spPr>
          <a:xfrm>
            <a:off x="5404345"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rgbClr val="00501C"/>
          </a:solidFill>
          <a:ln w="12700" cap="flat">
            <a:solidFill>
              <a:srgbClr val="00501C"/>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grpSp>
        <p:nvGrpSpPr>
          <p:cNvPr id="5" name="Group 4">
            <a:extLst>
              <a:ext uri="{FF2B5EF4-FFF2-40B4-BE49-F238E27FC236}">
                <a16:creationId xmlns:a16="http://schemas.microsoft.com/office/drawing/2014/main" id="{12D7DDD3-88A8-EB44-963C-4FC7C82EBE5C}"/>
              </a:ext>
            </a:extLst>
          </p:cNvPr>
          <p:cNvGrpSpPr/>
          <p:nvPr userDrawn="1"/>
        </p:nvGrpSpPr>
        <p:grpSpPr>
          <a:xfrm>
            <a:off x="0" y="0"/>
            <a:ext cx="12186919" cy="6858000"/>
            <a:chOff x="0" y="0"/>
            <a:chExt cx="12186919" cy="6858000"/>
          </a:xfrm>
        </p:grpSpPr>
        <p:sp>
          <p:nvSpPr>
            <p:cNvPr id="9" name="Freeform: Shape 8">
              <a:extLst>
                <a:ext uri="{FF2B5EF4-FFF2-40B4-BE49-F238E27FC236}">
                  <a16:creationId xmlns:a16="http://schemas.microsoft.com/office/drawing/2014/main" id="{224D02C3-09D4-4FB2-E3FC-B3BEF4C37CEC}"/>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00501C"/>
            </a:solidFill>
            <a:ln w="6208" cap="flat">
              <a:solidFill>
                <a:srgbClr val="00501C"/>
              </a:solidFill>
              <a:prstDash val="solid"/>
              <a:miter/>
            </a:ln>
          </p:spPr>
          <p:txBody>
            <a:bodyPr rtlCol="0" anchor="ctr"/>
            <a:lstStyle/>
            <a:p>
              <a:pPr lvl="0"/>
              <a:endParaRPr lang="en-GB"/>
            </a:p>
          </p:txBody>
        </p:sp>
        <p:sp>
          <p:nvSpPr>
            <p:cNvPr id="11" name="Freeform: Shape 10">
              <a:extLst>
                <a:ext uri="{FF2B5EF4-FFF2-40B4-BE49-F238E27FC236}">
                  <a16:creationId xmlns:a16="http://schemas.microsoft.com/office/drawing/2014/main" id="{E5040AAB-86B5-0BB6-4447-20A533834EF0}"/>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00501C"/>
            </a:solidFill>
            <a:ln w="12700" cap="flat">
              <a:solidFill>
                <a:srgbClr val="00501C"/>
              </a:solidFill>
              <a:prstDash val="solid"/>
              <a:miter/>
            </a:ln>
          </p:spPr>
          <p:txBody>
            <a:bodyPr rtlCol="0" anchor="ctr"/>
            <a:lstStyle/>
            <a:p>
              <a:pPr lvl="0"/>
              <a:endParaRPr lang="en-GB" dirty="0"/>
            </a:p>
          </p:txBody>
        </p:sp>
        <p:sp>
          <p:nvSpPr>
            <p:cNvPr id="12" name="Freeform: Shape 11">
              <a:extLst>
                <a:ext uri="{FF2B5EF4-FFF2-40B4-BE49-F238E27FC236}">
                  <a16:creationId xmlns:a16="http://schemas.microsoft.com/office/drawing/2014/main" id="{C4F4FFEB-394A-F0C0-1419-285252ECEECF}"/>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grpSp>
      <p:sp>
        <p:nvSpPr>
          <p:cNvPr id="30" name="Picture Placeholder 8">
            <a:extLst>
              <a:ext uri="{FF2B5EF4-FFF2-40B4-BE49-F238E27FC236}">
                <a16:creationId xmlns:a16="http://schemas.microsoft.com/office/drawing/2014/main" id="{04483224-BEF7-EA53-E3A9-48A573055C9A}"/>
              </a:ext>
            </a:extLst>
          </p:cNvPr>
          <p:cNvSpPr>
            <a:spLocks noGrp="1" noChangeAspect="1"/>
          </p:cNvSpPr>
          <p:nvPr>
            <p:ph type="pic" sz="quarter" idx="19"/>
          </p:nvPr>
        </p:nvSpPr>
        <p:spPr>
          <a:xfrm>
            <a:off x="4717075" y="1786538"/>
            <a:ext cx="2240965" cy="2231136"/>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3" name="Picture Placeholder 8">
            <a:extLst>
              <a:ext uri="{FF2B5EF4-FFF2-40B4-BE49-F238E27FC236}">
                <a16:creationId xmlns:a16="http://schemas.microsoft.com/office/drawing/2014/main" id="{8206E040-3C65-135D-1D1D-FAC5C094824E}"/>
              </a:ext>
            </a:extLst>
          </p:cNvPr>
          <p:cNvSpPr>
            <a:spLocks noGrp="1"/>
          </p:cNvSpPr>
          <p:nvPr>
            <p:ph type="pic" sz="quarter" idx="20"/>
          </p:nvPr>
        </p:nvSpPr>
        <p:spPr>
          <a:xfrm>
            <a:off x="1154394" y="1783270"/>
            <a:ext cx="2236563" cy="2226753"/>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dirty="0"/>
          </a:p>
        </p:txBody>
      </p:sp>
      <p:sp>
        <p:nvSpPr>
          <p:cNvPr id="8" name="Text Placeholder 7">
            <a:extLst>
              <a:ext uri="{FF2B5EF4-FFF2-40B4-BE49-F238E27FC236}">
                <a16:creationId xmlns:a16="http://schemas.microsoft.com/office/drawing/2014/main" id="{18F06AD3-38F0-7A87-3982-57749E572863}"/>
              </a:ext>
            </a:extLst>
          </p:cNvPr>
          <p:cNvSpPr>
            <a:spLocks noGrp="1"/>
          </p:cNvSpPr>
          <p:nvPr>
            <p:ph type="body" sz="quarter" idx="21" hasCustomPrompt="1"/>
          </p:nvPr>
        </p:nvSpPr>
        <p:spPr>
          <a:xfrm>
            <a:off x="1137600" y="4257790"/>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26" name="Text Placeholder 7">
            <a:extLst>
              <a:ext uri="{FF2B5EF4-FFF2-40B4-BE49-F238E27FC236}">
                <a16:creationId xmlns:a16="http://schemas.microsoft.com/office/drawing/2014/main" id="{B177B95B-54AF-1C0D-C084-ED883FB7558C}"/>
              </a:ext>
            </a:extLst>
          </p:cNvPr>
          <p:cNvSpPr>
            <a:spLocks noGrp="1"/>
          </p:cNvSpPr>
          <p:nvPr>
            <p:ph type="body" sz="quarter" idx="22" hasCustomPrompt="1"/>
          </p:nvPr>
        </p:nvSpPr>
        <p:spPr>
          <a:xfrm>
            <a:off x="1137600" y="4588182"/>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34" name="Picture Placeholder 8">
            <a:extLst>
              <a:ext uri="{FF2B5EF4-FFF2-40B4-BE49-F238E27FC236}">
                <a16:creationId xmlns:a16="http://schemas.microsoft.com/office/drawing/2014/main" id="{49359509-209D-FD83-E2E3-DF4B41BDE35D}"/>
              </a:ext>
            </a:extLst>
          </p:cNvPr>
          <p:cNvSpPr>
            <a:spLocks noGrp="1" noChangeAspect="1"/>
          </p:cNvSpPr>
          <p:nvPr>
            <p:ph type="pic" sz="quarter" idx="25"/>
          </p:nvPr>
        </p:nvSpPr>
        <p:spPr>
          <a:xfrm>
            <a:off x="8284159" y="1786537"/>
            <a:ext cx="2240965" cy="2231136"/>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42" name="Text Placeholder 7">
            <a:extLst>
              <a:ext uri="{FF2B5EF4-FFF2-40B4-BE49-F238E27FC236}">
                <a16:creationId xmlns:a16="http://schemas.microsoft.com/office/drawing/2014/main" id="{FDCE24C7-FF7F-47FD-D779-ABC6FC210F01}"/>
              </a:ext>
            </a:extLst>
          </p:cNvPr>
          <p:cNvSpPr>
            <a:spLocks noGrp="1"/>
          </p:cNvSpPr>
          <p:nvPr>
            <p:ph type="body" sz="quarter" idx="26" hasCustomPrompt="1"/>
          </p:nvPr>
        </p:nvSpPr>
        <p:spPr>
          <a:xfrm>
            <a:off x="4723485" y="4257790"/>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3" name="Text Placeholder 7">
            <a:extLst>
              <a:ext uri="{FF2B5EF4-FFF2-40B4-BE49-F238E27FC236}">
                <a16:creationId xmlns:a16="http://schemas.microsoft.com/office/drawing/2014/main" id="{DC86E184-5512-C0CE-7F19-2E9D945A5696}"/>
              </a:ext>
            </a:extLst>
          </p:cNvPr>
          <p:cNvSpPr>
            <a:spLocks noGrp="1"/>
          </p:cNvSpPr>
          <p:nvPr>
            <p:ph type="body" sz="quarter" idx="27" hasCustomPrompt="1"/>
          </p:nvPr>
        </p:nvSpPr>
        <p:spPr>
          <a:xfrm>
            <a:off x="4723485" y="4588182"/>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44" name="Text Placeholder 7">
            <a:extLst>
              <a:ext uri="{FF2B5EF4-FFF2-40B4-BE49-F238E27FC236}">
                <a16:creationId xmlns:a16="http://schemas.microsoft.com/office/drawing/2014/main" id="{334843A1-7F9F-B805-78DA-7661A5E4DD59}"/>
              </a:ext>
            </a:extLst>
          </p:cNvPr>
          <p:cNvSpPr>
            <a:spLocks noGrp="1"/>
          </p:cNvSpPr>
          <p:nvPr>
            <p:ph type="body" sz="quarter" idx="28" hasCustomPrompt="1"/>
          </p:nvPr>
        </p:nvSpPr>
        <p:spPr>
          <a:xfrm>
            <a:off x="8298223" y="4257790"/>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5" name="Text Placeholder 7">
            <a:extLst>
              <a:ext uri="{FF2B5EF4-FFF2-40B4-BE49-F238E27FC236}">
                <a16:creationId xmlns:a16="http://schemas.microsoft.com/office/drawing/2014/main" id="{C48210F2-5D62-6D0F-047A-AB779E216D2D}"/>
              </a:ext>
            </a:extLst>
          </p:cNvPr>
          <p:cNvSpPr>
            <a:spLocks noGrp="1"/>
          </p:cNvSpPr>
          <p:nvPr>
            <p:ph type="body" sz="quarter" idx="29" hasCustomPrompt="1"/>
          </p:nvPr>
        </p:nvSpPr>
        <p:spPr>
          <a:xfrm>
            <a:off x="8298223" y="4588182"/>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grpSp>
        <p:nvGrpSpPr>
          <p:cNvPr id="2" name="Groep 1">
            <a:extLst>
              <a:ext uri="{FF2B5EF4-FFF2-40B4-BE49-F238E27FC236}">
                <a16:creationId xmlns:a16="http://schemas.microsoft.com/office/drawing/2014/main" id="{E75B983F-250F-4F91-744F-999DE711110C}"/>
              </a:ext>
            </a:extLst>
          </p:cNvPr>
          <p:cNvGrpSpPr/>
          <p:nvPr userDrawn="1"/>
        </p:nvGrpSpPr>
        <p:grpSpPr>
          <a:xfrm>
            <a:off x="10014482" y="5839298"/>
            <a:ext cx="1599388" cy="433809"/>
            <a:chOff x="3101010" y="1249096"/>
            <a:chExt cx="3978412" cy="1079079"/>
          </a:xfrm>
          <a:solidFill>
            <a:schemeClr val="bg1"/>
          </a:solidFill>
        </p:grpSpPr>
        <p:sp>
          <p:nvSpPr>
            <p:cNvPr id="3" name="Vrije vorm 2">
              <a:extLst>
                <a:ext uri="{FF2B5EF4-FFF2-40B4-BE49-F238E27FC236}">
                  <a16:creationId xmlns:a16="http://schemas.microsoft.com/office/drawing/2014/main" id="{83419BF2-BD92-448E-0539-16D96AEA91B3}"/>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59A2B9CB-6459-E5CD-BAFE-053F2C60CEE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CF2685E8-912A-AAC7-FDC8-7DD85133749B}"/>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56C9C9FE-EC3D-0441-7354-2423363AB3FC}"/>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05C16928-CC26-1640-DC2F-77C77A0C1C32}"/>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22228C75-DA1B-27DD-B7B9-07F67E2C0719}"/>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D2F7D303-8DC6-93D3-4B51-A3AA9B22C19D}"/>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58C284C2-37B3-DF39-26E7-B37B80429C42}"/>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43550894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Instructie 2">
    <p:bg>
      <p:bgPr>
        <a:solidFill>
          <a:schemeClr val="bg1">
            <a:lumMod val="95000"/>
          </a:schemeClr>
        </a:solidFill>
        <a:effectLst/>
      </p:bgPr>
    </p:bg>
    <p:spTree>
      <p:nvGrpSpPr>
        <p:cNvPr id="1" name=""/>
        <p:cNvGrpSpPr/>
        <p:nvPr/>
      </p:nvGrpSpPr>
      <p:grpSpPr>
        <a:xfrm>
          <a:off x="0" y="0"/>
          <a:ext cx="0" cy="0"/>
          <a:chOff x="0" y="0"/>
          <a:chExt cx="0" cy="0"/>
        </a:xfrm>
      </p:grpSpPr>
      <p:sp>
        <p:nvSpPr>
          <p:cNvPr id="2" name="Tijdelijke aanduiding voor inhoud 25">
            <a:extLst>
              <a:ext uri="{FF2B5EF4-FFF2-40B4-BE49-F238E27FC236}">
                <a16:creationId xmlns:a16="http://schemas.microsoft.com/office/drawing/2014/main" id="{26B6AC17-B1BA-278F-A097-35E70CCA8C12}"/>
              </a:ext>
            </a:extLst>
          </p:cNvPr>
          <p:cNvSpPr txBox="1">
            <a:spLocks/>
          </p:cNvSpPr>
          <p:nvPr userDrawn="1"/>
        </p:nvSpPr>
        <p:spPr>
          <a:xfrm>
            <a:off x="6797252" y="1558800"/>
            <a:ext cx="4015009" cy="375487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0"/>
              </a:spcBef>
              <a:spcAft>
                <a:spcPts val="300"/>
              </a:spcAft>
              <a:buFontTx/>
              <a:buNone/>
              <a:defRPr sz="2000" kern="1200">
                <a:solidFill>
                  <a:schemeClr val="tx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2000" kern="1200">
                <a:solidFill>
                  <a:schemeClr val="tx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400" b="0" noProof="1"/>
              <a:t>Klik in het tekst en selecteer in het menu de inspringknop naar rechts voor de selectie volgende niveau. </a:t>
            </a:r>
          </a:p>
          <a:p>
            <a:endParaRPr lang="nl-NL" sz="1400" b="1" noProof="1"/>
          </a:p>
          <a:p>
            <a:endParaRPr lang="nl-NL" sz="1400" b="1" noProof="1"/>
          </a:p>
          <a:p>
            <a:endParaRPr lang="nl-NL" sz="1400" b="1" noProof="1"/>
          </a:p>
          <a:p>
            <a:endParaRPr lang="nl-NL" sz="1400" b="1" noProof="1"/>
          </a:p>
          <a:p>
            <a:r>
              <a:rPr lang="nl-NL" sz="1400" noProof="1"/>
              <a:t>Deze knoppen kunnen altijd worden gebruikt, maar handiger is daarna met TAB naar volgende niveau worden geklikt of terug met SHIFT-TAB. </a:t>
            </a:r>
          </a:p>
          <a:p>
            <a:r>
              <a:rPr lang="nl-NL" sz="1400" noProof="1"/>
              <a:t>De cursor moet dan wel aan het begin van de zin worden gezet.</a:t>
            </a:r>
          </a:p>
          <a:p>
            <a:endParaRPr lang="nl-NL" sz="1400" noProof="1"/>
          </a:p>
          <a:p>
            <a:r>
              <a:rPr lang="nl-NL" sz="1400" noProof="1"/>
              <a:t>NB: Terug naar niveau 1 en weer naar 2 vereist wederom het gebruik van de knoppen.</a:t>
            </a:r>
          </a:p>
        </p:txBody>
      </p:sp>
      <p:graphicFrame>
        <p:nvGraphicFramePr>
          <p:cNvPr id="4" name="Object 3" hidden="1">
            <a:extLst>
              <a:ext uri="{FF2B5EF4-FFF2-40B4-BE49-F238E27FC236}">
                <a16:creationId xmlns:a16="http://schemas.microsoft.com/office/drawing/2014/main" id="{07A0ED13-85AF-48A2-B969-4D6B3D0E2E20}"/>
              </a:ext>
            </a:extLst>
          </p:cNvPr>
          <p:cNvGraphicFramePr>
            <a:graphicFrameLocks noChangeAspect="1"/>
          </p:cNvGraphicFramePr>
          <p:nvPr>
            <p:custDataLst>
              <p:tags r:id="rId1"/>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4" name="Object 3" hidden="1">
                        <a:extLst>
                          <a:ext uri="{FF2B5EF4-FFF2-40B4-BE49-F238E27FC236}">
                            <a16:creationId xmlns:a16="http://schemas.microsoft.com/office/drawing/2014/main" id="{07A0ED13-85AF-48A2-B969-4D6B3D0E2E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kstvak 2">
            <a:extLst>
              <a:ext uri="{FF2B5EF4-FFF2-40B4-BE49-F238E27FC236}">
                <a16:creationId xmlns:a16="http://schemas.microsoft.com/office/drawing/2014/main" id="{49408F60-3152-5474-B7D5-42EB94FE00A1}"/>
              </a:ext>
            </a:extLst>
          </p:cNvPr>
          <p:cNvSpPr txBox="1"/>
          <p:nvPr/>
        </p:nvSpPr>
        <p:spPr>
          <a:xfrm>
            <a:off x="1137816" y="594000"/>
            <a:ext cx="6212114" cy="498598"/>
          </a:xfrm>
          <a:prstGeom prst="rect">
            <a:avLst/>
          </a:prstGeom>
        </p:spPr>
        <p:txBody>
          <a:bodyPr vert="horz" wrap="square" lIns="0" tIns="0" rIns="0" bIns="0" rtlCol="0" anchor="t">
            <a:spAutoFit/>
          </a:bodyPr>
          <a:lstStyle>
            <a:lvl1pPr>
              <a:lnSpc>
                <a:spcPct val="90000"/>
              </a:lnSpc>
              <a:spcBef>
                <a:spcPct val="0"/>
              </a:spcBef>
              <a:buNone/>
              <a:defRPr sz="3600" b="1">
                <a:solidFill>
                  <a:schemeClr val="tx2"/>
                </a:solidFill>
                <a:latin typeface="+mj-lt"/>
                <a:ea typeface="+mj-ea"/>
                <a:cs typeface="+mj-cs"/>
              </a:defRPr>
            </a:lvl1pPr>
          </a:lstStyle>
          <a:p>
            <a:pPr lvl="0"/>
            <a:r>
              <a:rPr lang="nl-NL" noProof="1"/>
              <a:t>Instructie template (4)</a:t>
            </a:r>
          </a:p>
        </p:txBody>
      </p:sp>
      <p:sp>
        <p:nvSpPr>
          <p:cNvPr id="8" name="Tijdelijke aanduiding voor inhoud 25">
            <a:extLst>
              <a:ext uri="{FF2B5EF4-FFF2-40B4-BE49-F238E27FC236}">
                <a16:creationId xmlns:a16="http://schemas.microsoft.com/office/drawing/2014/main" id="{0DC55147-BBB1-1A33-C7B3-0B8A174C9DF3}"/>
              </a:ext>
            </a:extLst>
          </p:cNvPr>
          <p:cNvSpPr txBox="1">
            <a:spLocks/>
          </p:cNvSpPr>
          <p:nvPr userDrawn="1"/>
        </p:nvSpPr>
        <p:spPr>
          <a:xfrm>
            <a:off x="1137600" y="1558800"/>
            <a:ext cx="4290431" cy="246221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0"/>
              </a:spcBef>
              <a:spcAft>
                <a:spcPts val="300"/>
              </a:spcAft>
              <a:buFontTx/>
              <a:buNone/>
              <a:defRPr sz="2000" kern="1200">
                <a:solidFill>
                  <a:schemeClr val="tx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2000" kern="1200">
                <a:solidFill>
                  <a:schemeClr val="tx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400" noProof="1">
                <a:solidFill>
                  <a:schemeClr val="tx2"/>
                </a:solidFill>
              </a:rPr>
              <a:t>Tekst inspringen</a:t>
            </a:r>
          </a:p>
          <a:p>
            <a:r>
              <a:rPr lang="nl-NL" sz="1400" noProof="1"/>
              <a:t>In de template zijn 3 tekstniveaus vastgelegd: </a:t>
            </a:r>
          </a:p>
          <a:p>
            <a:endParaRPr lang="nl-NL" sz="1400" noProof="1"/>
          </a:p>
          <a:p>
            <a:endParaRPr lang="nl-NL" sz="1400" noProof="1"/>
          </a:p>
          <a:p>
            <a:endParaRPr lang="nl-NL" sz="1400" noProof="1"/>
          </a:p>
          <a:p>
            <a:endParaRPr lang="nl-NL" sz="1400" noProof="1"/>
          </a:p>
          <a:p>
            <a:endParaRPr lang="nl-NL" sz="1400" noProof="1"/>
          </a:p>
          <a:p>
            <a:endParaRPr lang="nl-NL" sz="1400" noProof="1"/>
          </a:p>
          <a:p>
            <a:r>
              <a:rPr lang="nl-NL" sz="1400" noProof="1"/>
              <a:t>Om van het 1</a:t>
            </a:r>
            <a:r>
              <a:rPr lang="nl-NL" sz="1400" baseline="30000" noProof="1"/>
              <a:t>ste</a:t>
            </a:r>
            <a:r>
              <a:rPr lang="nl-NL" sz="1400" noProof="1"/>
              <a:t> niveau naar het 2</a:t>
            </a:r>
            <a:r>
              <a:rPr lang="nl-NL" sz="1400" baseline="30000" noProof="1"/>
              <a:t>de</a:t>
            </a:r>
            <a:r>
              <a:rPr lang="nl-NL" sz="1400" noProof="1"/>
              <a:t> niveau te gaan moet de volgende actie worden gedaan &gt;</a:t>
            </a:r>
          </a:p>
        </p:txBody>
      </p:sp>
      <p:grpSp>
        <p:nvGrpSpPr>
          <p:cNvPr id="9" name="Groep 8">
            <a:extLst>
              <a:ext uri="{FF2B5EF4-FFF2-40B4-BE49-F238E27FC236}">
                <a16:creationId xmlns:a16="http://schemas.microsoft.com/office/drawing/2014/main" id="{ED3F8973-2AD2-B2CC-AB78-03AC90519E0D}"/>
              </a:ext>
            </a:extLst>
          </p:cNvPr>
          <p:cNvGrpSpPr/>
          <p:nvPr userDrawn="1"/>
        </p:nvGrpSpPr>
        <p:grpSpPr>
          <a:xfrm>
            <a:off x="7710903" y="2296754"/>
            <a:ext cx="1438476" cy="819264"/>
            <a:chOff x="1136439" y="5074057"/>
            <a:chExt cx="1438476" cy="819264"/>
          </a:xfrm>
        </p:grpSpPr>
        <p:pic>
          <p:nvPicPr>
            <p:cNvPr id="10" name="Tijdelijke aanduiding voor inhoud 6">
              <a:extLst>
                <a:ext uri="{FF2B5EF4-FFF2-40B4-BE49-F238E27FC236}">
                  <a16:creationId xmlns:a16="http://schemas.microsoft.com/office/drawing/2014/main" id="{FCC21E9C-421C-6A58-24FE-370BD7071AB7}"/>
                </a:ext>
              </a:extLst>
            </p:cNvPr>
            <p:cNvPicPr>
              <a:picLocks noChangeAspect="1"/>
            </p:cNvPicPr>
            <p:nvPr/>
          </p:nvPicPr>
          <p:blipFill>
            <a:blip r:embed="rId7"/>
            <a:stretch>
              <a:fillRect/>
            </a:stretch>
          </p:blipFill>
          <p:spPr>
            <a:xfrm>
              <a:off x="1136439" y="5074057"/>
              <a:ext cx="1438476" cy="819264"/>
            </a:xfrm>
            <a:prstGeom prst="rect">
              <a:avLst/>
            </a:prstGeom>
            <a:noFill/>
          </p:spPr>
        </p:pic>
        <p:sp>
          <p:nvSpPr>
            <p:cNvPr id="11" name="Rechthoek 10">
              <a:extLst>
                <a:ext uri="{FF2B5EF4-FFF2-40B4-BE49-F238E27FC236}">
                  <a16:creationId xmlns:a16="http://schemas.microsoft.com/office/drawing/2014/main" id="{617905F0-A151-E594-5BB1-4463A224CFFE}"/>
                </a:ext>
              </a:extLst>
            </p:cNvPr>
            <p:cNvSpPr/>
            <p:nvPr/>
          </p:nvSpPr>
          <p:spPr>
            <a:xfrm>
              <a:off x="1943311" y="5124775"/>
              <a:ext cx="595102" cy="36638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sp>
        <p:nvSpPr>
          <p:cNvPr id="12" name="Tijdelijke aanduiding voor inhoud 1">
            <a:extLst>
              <a:ext uri="{FF2B5EF4-FFF2-40B4-BE49-F238E27FC236}">
                <a16:creationId xmlns:a16="http://schemas.microsoft.com/office/drawing/2014/main" id="{C90E9B58-4403-5C1D-64FC-8F93DD40FDB1}"/>
              </a:ext>
            </a:extLst>
          </p:cNvPr>
          <p:cNvSpPr txBox="1">
            <a:spLocks/>
          </p:cNvSpPr>
          <p:nvPr userDrawn="1"/>
        </p:nvSpPr>
        <p:spPr>
          <a:xfrm>
            <a:off x="1191484" y="2620574"/>
            <a:ext cx="4667177" cy="861774"/>
          </a:xfrm>
          <a:prstGeom prst="rect">
            <a:avLst/>
          </a:prstGeom>
          <a:noFill/>
        </p:spPr>
        <p:txBody>
          <a:bodyPr vert="horz" wrap="square" lIns="0" tIns="0" rIns="0" bIns="0" rtlCol="0">
            <a:spAutoFit/>
          </a:bodyPr>
          <a:lstStyle>
            <a:lvl1pPr lvl="0" indent="0">
              <a:lnSpc>
                <a:spcPct val="100000"/>
              </a:lnSpc>
              <a:spcBef>
                <a:spcPts val="0"/>
              </a:spcBef>
              <a:spcAft>
                <a:spcPts val="300"/>
              </a:spcAft>
              <a:buFontTx/>
              <a:buNone/>
              <a:defRPr sz="2000"/>
            </a:lvl1pPr>
            <a:lvl2pPr marL="266700" lvl="1" indent="-266700">
              <a:lnSpc>
                <a:spcPct val="100000"/>
              </a:lnSpc>
              <a:spcBef>
                <a:spcPts val="0"/>
              </a:spcBef>
              <a:spcAft>
                <a:spcPts val="300"/>
              </a:spcAft>
              <a:buSzPct val="100000"/>
              <a:buFont typeface="EuclidUtrecht-Regular" panose="020B0504000000000000" pitchFamily="34" charset="0"/>
              <a:buChar char="&gt;"/>
            </a:lvl2pPr>
            <a:lvl3pPr lvl="2" indent="-412750">
              <a:lnSpc>
                <a:spcPct val="100000"/>
              </a:lnSpc>
              <a:spcBef>
                <a:spcPts val="0"/>
              </a:spcBef>
              <a:spcAft>
                <a:spcPts val="300"/>
              </a:spcAft>
              <a:buFont typeface="EuclidUtrecht-Regular" panose="020B0504000000000000" pitchFamily="34" charset="0"/>
              <a:buChar char="–"/>
              <a:defRPr sz="1600"/>
            </a:lvl3pPr>
            <a:lvl4pPr marL="914400" lvl="3" indent="-412750">
              <a:lnSpc>
                <a:spcPct val="100000"/>
              </a:lnSpc>
              <a:spcBef>
                <a:spcPts val="0"/>
              </a:spcBef>
              <a:spcAft>
                <a:spcPts val="300"/>
              </a:spcAft>
              <a:buFont typeface="EuclidUtrecht-Regular" panose="020B0504000000000000" pitchFamily="34" charset="0"/>
              <a:buChar char="–"/>
              <a:defRPr sz="1400"/>
            </a:lvl4pPr>
            <a:lvl5pPr marL="914400" lvl="4" indent="-412750">
              <a:lnSpc>
                <a:spcPct val="100000"/>
              </a:lnSpc>
              <a:spcBef>
                <a:spcPts val="0"/>
              </a:spcBef>
              <a:spcAft>
                <a:spcPts val="300"/>
              </a:spcAft>
              <a:buFont typeface="EuclidUtrecht-Regular" panose="020B0504000000000000"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nl-NL" sz="1400" noProof="1"/>
              <a:t>Lorem ipsum dolor sit amet, consectetuer </a:t>
            </a:r>
            <a:br>
              <a:rPr lang="nl-NL" sz="1400" noProof="1"/>
            </a:br>
            <a:r>
              <a:rPr lang="nl-NL" sz="1400" noProof="1"/>
              <a:t>adipiscing elit (1)</a:t>
            </a:r>
          </a:p>
          <a:p>
            <a:pPr lvl="1"/>
            <a:r>
              <a:rPr lang="nl-NL" sz="1200" noProof="1"/>
              <a:t>Maecenas porttitor congue massa (2). </a:t>
            </a:r>
          </a:p>
          <a:p>
            <a:pPr marL="742950" lvl="2" indent="-241300"/>
            <a:r>
              <a:rPr lang="nl-NL" sz="1100" noProof="1"/>
              <a:t>Fusce posuere, magna sed pulvinar ultricies (3)</a:t>
            </a:r>
          </a:p>
        </p:txBody>
      </p:sp>
      <p:cxnSp>
        <p:nvCxnSpPr>
          <p:cNvPr id="14" name="Rechte verbindingslijn 13">
            <a:extLst>
              <a:ext uri="{FF2B5EF4-FFF2-40B4-BE49-F238E27FC236}">
                <a16:creationId xmlns:a16="http://schemas.microsoft.com/office/drawing/2014/main" id="{A6E415CC-602C-C618-4C8A-B7AD217F1BAB}"/>
              </a:ext>
            </a:extLst>
          </p:cNvPr>
          <p:cNvCxnSpPr/>
          <p:nvPr/>
        </p:nvCxnSpPr>
        <p:spPr>
          <a:xfrm>
            <a:off x="5895165" y="1799999"/>
            <a:ext cx="0" cy="425245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5" name="Object 4" hidden="1">
            <a:extLst>
              <a:ext uri="{FF2B5EF4-FFF2-40B4-BE49-F238E27FC236}">
                <a16:creationId xmlns:a16="http://schemas.microsoft.com/office/drawing/2014/main" id="{91C4460C-8DCB-708F-772B-82A6882BB1AD}"/>
              </a:ext>
            </a:extLst>
          </p:cNvPr>
          <p:cNvGraphicFramePr>
            <a:graphicFrameLocks noChangeAspect="1"/>
          </p:cNvGraphicFramePr>
          <p:nvPr>
            <p:custDataLst>
              <p:tags r:id="rId2"/>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5" name="Object 4" hidden="1">
                        <a:extLst>
                          <a:ext uri="{FF2B5EF4-FFF2-40B4-BE49-F238E27FC236}">
                            <a16:creationId xmlns:a16="http://schemas.microsoft.com/office/drawing/2014/main" id="{91C4460C-8DCB-708F-772B-82A6882BB1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9" name="Object 18" hidden="1">
            <a:extLst>
              <a:ext uri="{FF2B5EF4-FFF2-40B4-BE49-F238E27FC236}">
                <a16:creationId xmlns:a16="http://schemas.microsoft.com/office/drawing/2014/main" id="{01A16574-C761-5655-D1E5-371B4F47DB53}"/>
              </a:ext>
            </a:extLst>
          </p:cNvPr>
          <p:cNvGraphicFramePr>
            <a:graphicFrameLocks noChangeAspect="1"/>
          </p:cNvGraphicFramePr>
          <p:nvPr userDrawn="1">
            <p:custDataLst>
              <p:tags r:id="rId3"/>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19" name="Object 18" hidden="1">
                        <a:extLst>
                          <a:ext uri="{FF2B5EF4-FFF2-40B4-BE49-F238E27FC236}">
                            <a16:creationId xmlns:a16="http://schemas.microsoft.com/office/drawing/2014/main" id="{01A16574-C761-5655-D1E5-371B4F47DB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0360899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Instructie 3">
    <p:bg>
      <p:bgPr>
        <a:solidFill>
          <a:schemeClr val="bg1">
            <a:lumMod val="95000"/>
          </a:schemeClr>
        </a:solidFill>
        <a:effectLst/>
      </p:bgPr>
    </p:bg>
    <p:spTree>
      <p:nvGrpSpPr>
        <p:cNvPr id="1" name=""/>
        <p:cNvGrpSpPr/>
        <p:nvPr/>
      </p:nvGrpSpPr>
      <p:grpSpPr>
        <a:xfrm>
          <a:off x="0" y="0"/>
          <a:ext cx="0" cy="0"/>
          <a:chOff x="0" y="0"/>
          <a:chExt cx="0" cy="0"/>
        </a:xfrm>
      </p:grpSpPr>
      <p:pic>
        <p:nvPicPr>
          <p:cNvPr id="28" name="Afbeelding 27">
            <a:extLst>
              <a:ext uri="{FF2B5EF4-FFF2-40B4-BE49-F238E27FC236}">
                <a16:creationId xmlns:a16="http://schemas.microsoft.com/office/drawing/2014/main" id="{89BA1320-137B-4897-0D3F-7CD1D0443F24}"/>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9488033" y="2191646"/>
            <a:ext cx="1664468" cy="1237354"/>
          </a:xfrm>
          <a:prstGeom prst="rect">
            <a:avLst/>
          </a:prstGeom>
        </p:spPr>
      </p:pic>
      <p:sp>
        <p:nvSpPr>
          <p:cNvPr id="17" name="Rechthoek 16">
            <a:extLst>
              <a:ext uri="{FF2B5EF4-FFF2-40B4-BE49-F238E27FC236}">
                <a16:creationId xmlns:a16="http://schemas.microsoft.com/office/drawing/2014/main" id="{ED1A5ECB-2D3E-175C-815E-5D169A033E22}"/>
              </a:ext>
            </a:extLst>
          </p:cNvPr>
          <p:cNvSpPr/>
          <p:nvPr/>
        </p:nvSpPr>
        <p:spPr>
          <a:xfrm>
            <a:off x="1137601" y="4950771"/>
            <a:ext cx="4359074" cy="159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pic>
        <p:nvPicPr>
          <p:cNvPr id="21" name="Afbeelding 20">
            <a:extLst>
              <a:ext uri="{FF2B5EF4-FFF2-40B4-BE49-F238E27FC236}">
                <a16:creationId xmlns:a16="http://schemas.microsoft.com/office/drawing/2014/main" id="{85CCBCA4-6F69-EC5E-B53C-A36E9FA83DA8}"/>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1324926" y="5083255"/>
            <a:ext cx="1664468" cy="1237354"/>
          </a:xfrm>
          <a:prstGeom prst="rect">
            <a:avLst/>
          </a:prstGeom>
        </p:spPr>
      </p:pic>
      <p:graphicFrame>
        <p:nvGraphicFramePr>
          <p:cNvPr id="4" name="Object 3" hidden="1">
            <a:extLst>
              <a:ext uri="{FF2B5EF4-FFF2-40B4-BE49-F238E27FC236}">
                <a16:creationId xmlns:a16="http://schemas.microsoft.com/office/drawing/2014/main" id="{07A0ED13-85AF-48A2-B969-4D6B3D0E2E20}"/>
              </a:ext>
            </a:extLst>
          </p:cNvPr>
          <p:cNvGraphicFramePr>
            <a:graphicFrameLocks noChangeAspect="1"/>
          </p:cNvGraphicFramePr>
          <p:nvPr>
            <p:custDataLst>
              <p:tags r:id="rId1"/>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9" imgH="429" progId="TCLayout.ActiveDocument.1">
                  <p:embed/>
                </p:oleObj>
              </mc:Choice>
              <mc:Fallback>
                <p:oleObj name="think-cell Slide" r:id="rId6" imgW="429" imgH="429" progId="TCLayout.ActiveDocument.1">
                  <p:embed/>
                  <p:pic>
                    <p:nvPicPr>
                      <p:cNvPr id="4" name="Object 3" hidden="1">
                        <a:extLst>
                          <a:ext uri="{FF2B5EF4-FFF2-40B4-BE49-F238E27FC236}">
                            <a16:creationId xmlns:a16="http://schemas.microsoft.com/office/drawing/2014/main" id="{07A0ED13-85AF-48A2-B969-4D6B3D0E2E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ekstvak 2">
            <a:extLst>
              <a:ext uri="{FF2B5EF4-FFF2-40B4-BE49-F238E27FC236}">
                <a16:creationId xmlns:a16="http://schemas.microsoft.com/office/drawing/2014/main" id="{87D0B677-12C0-947E-421F-2BD48119CB90}"/>
              </a:ext>
            </a:extLst>
          </p:cNvPr>
          <p:cNvSpPr txBox="1"/>
          <p:nvPr/>
        </p:nvSpPr>
        <p:spPr>
          <a:xfrm>
            <a:off x="1137600" y="594000"/>
            <a:ext cx="6212114" cy="498598"/>
          </a:xfrm>
          <a:prstGeom prst="rect">
            <a:avLst/>
          </a:prstGeom>
        </p:spPr>
        <p:txBody>
          <a:bodyPr vert="horz" wrap="square" lIns="0" tIns="0" rIns="0" bIns="0" rtlCol="0" anchor="t">
            <a:spAutoFit/>
          </a:bodyPr>
          <a:lstStyle>
            <a:lvl1pPr>
              <a:lnSpc>
                <a:spcPct val="90000"/>
              </a:lnSpc>
              <a:spcBef>
                <a:spcPct val="0"/>
              </a:spcBef>
              <a:buNone/>
              <a:defRPr sz="3600" b="1">
                <a:solidFill>
                  <a:schemeClr val="tx2"/>
                </a:solidFill>
                <a:latin typeface="+mj-lt"/>
                <a:ea typeface="+mj-ea"/>
                <a:cs typeface="+mj-cs"/>
              </a:defRPr>
            </a:lvl1pPr>
          </a:lstStyle>
          <a:p>
            <a:pPr lvl="0"/>
            <a:r>
              <a:rPr lang="nl-NL" noProof="1"/>
              <a:t>Instructie template (5)</a:t>
            </a:r>
          </a:p>
        </p:txBody>
      </p:sp>
      <p:sp>
        <p:nvSpPr>
          <p:cNvPr id="14" name="Tijdelijke aanduiding voor inhoud 25">
            <a:extLst>
              <a:ext uri="{FF2B5EF4-FFF2-40B4-BE49-F238E27FC236}">
                <a16:creationId xmlns:a16="http://schemas.microsoft.com/office/drawing/2014/main" id="{03F07FDB-5741-667B-B234-F8BBF352E9A1}"/>
              </a:ext>
            </a:extLst>
          </p:cNvPr>
          <p:cNvSpPr txBox="1">
            <a:spLocks/>
          </p:cNvSpPr>
          <p:nvPr/>
        </p:nvSpPr>
        <p:spPr>
          <a:xfrm>
            <a:off x="6397172" y="3500458"/>
            <a:ext cx="3791857" cy="900246"/>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0"/>
              </a:spcBef>
              <a:spcAft>
                <a:spcPts val="300"/>
              </a:spcAft>
              <a:buFontTx/>
              <a:buNone/>
              <a:defRPr sz="2000" kern="1200">
                <a:solidFill>
                  <a:schemeClr val="tx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2000" kern="1200">
                <a:solidFill>
                  <a:schemeClr val="tx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400" noProof="1">
                <a:solidFill>
                  <a:schemeClr val="tx2"/>
                </a:solidFill>
              </a:rPr>
              <a:t>Invoegen voettekst voor gehele document (waar voettekst mogelijk)</a:t>
            </a:r>
          </a:p>
          <a:p>
            <a:r>
              <a:rPr lang="nl-NL" sz="1400" noProof="1"/>
              <a:t>Invoegen koptekst  en voettekst &gt; overal toepassen</a:t>
            </a:r>
          </a:p>
        </p:txBody>
      </p:sp>
      <p:pic>
        <p:nvPicPr>
          <p:cNvPr id="15" name="Afbeelding 14">
            <a:extLst>
              <a:ext uri="{FF2B5EF4-FFF2-40B4-BE49-F238E27FC236}">
                <a16:creationId xmlns:a16="http://schemas.microsoft.com/office/drawing/2014/main" id="{6E647AA5-EDDD-4B66-8709-8A4C5BB0F65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386286" y="4491883"/>
            <a:ext cx="2425424" cy="1560574"/>
          </a:xfrm>
          <a:prstGeom prst="rect">
            <a:avLst/>
          </a:prstGeom>
        </p:spPr>
      </p:pic>
      <p:cxnSp>
        <p:nvCxnSpPr>
          <p:cNvPr id="16" name="Rechte verbindingslijn 15">
            <a:extLst>
              <a:ext uri="{FF2B5EF4-FFF2-40B4-BE49-F238E27FC236}">
                <a16:creationId xmlns:a16="http://schemas.microsoft.com/office/drawing/2014/main" id="{5C8A0289-9DB2-6DEC-22A1-96A32C668835}"/>
              </a:ext>
            </a:extLst>
          </p:cNvPr>
          <p:cNvCxnSpPr/>
          <p:nvPr/>
        </p:nvCxnSpPr>
        <p:spPr>
          <a:xfrm>
            <a:off x="5895165" y="1799999"/>
            <a:ext cx="0" cy="425245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Rechthoek 39">
            <a:extLst>
              <a:ext uri="{FF2B5EF4-FFF2-40B4-BE49-F238E27FC236}">
                <a16:creationId xmlns:a16="http://schemas.microsoft.com/office/drawing/2014/main" id="{24899A1F-080B-ACF9-B0DF-7353ED3558F0}"/>
              </a:ext>
            </a:extLst>
          </p:cNvPr>
          <p:cNvSpPr/>
          <p:nvPr userDrawn="1"/>
        </p:nvSpPr>
        <p:spPr>
          <a:xfrm>
            <a:off x="9644833" y="2846277"/>
            <a:ext cx="189728" cy="16192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47" name="Rechthoek 46">
            <a:extLst>
              <a:ext uri="{FF2B5EF4-FFF2-40B4-BE49-F238E27FC236}">
                <a16:creationId xmlns:a16="http://schemas.microsoft.com/office/drawing/2014/main" id="{3F44D483-E623-9480-FCFC-4B8FCAED7217}"/>
              </a:ext>
            </a:extLst>
          </p:cNvPr>
          <p:cNvSpPr/>
          <p:nvPr/>
        </p:nvSpPr>
        <p:spPr>
          <a:xfrm>
            <a:off x="3268724" y="6004142"/>
            <a:ext cx="1962882" cy="45719"/>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56" name="Rechthoek 55">
            <a:extLst>
              <a:ext uri="{FF2B5EF4-FFF2-40B4-BE49-F238E27FC236}">
                <a16:creationId xmlns:a16="http://schemas.microsoft.com/office/drawing/2014/main" id="{E5510EA0-B7A9-9E6F-2507-EA95B62A90B3}"/>
              </a:ext>
            </a:extLst>
          </p:cNvPr>
          <p:cNvSpPr/>
          <p:nvPr/>
        </p:nvSpPr>
        <p:spPr>
          <a:xfrm>
            <a:off x="7872599" y="2692981"/>
            <a:ext cx="312548" cy="239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cxnSp>
        <p:nvCxnSpPr>
          <p:cNvPr id="58" name="Rechte verbindingslijn 57">
            <a:extLst>
              <a:ext uri="{FF2B5EF4-FFF2-40B4-BE49-F238E27FC236}">
                <a16:creationId xmlns:a16="http://schemas.microsoft.com/office/drawing/2014/main" id="{8F211AD9-A756-2B5C-AFD8-542ECA0C7556}"/>
              </a:ext>
            </a:extLst>
          </p:cNvPr>
          <p:cNvCxnSpPr>
            <a:cxnSpLocks/>
            <a:stCxn id="40" idx="1"/>
          </p:cNvCxnSpPr>
          <p:nvPr userDrawn="1"/>
        </p:nvCxnSpPr>
        <p:spPr>
          <a:xfrm flipH="1">
            <a:off x="7969390" y="2927240"/>
            <a:ext cx="1675443" cy="6969"/>
          </a:xfrm>
          <a:prstGeom prst="lin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5" name="Object 4" hidden="1">
            <a:extLst>
              <a:ext uri="{FF2B5EF4-FFF2-40B4-BE49-F238E27FC236}">
                <a16:creationId xmlns:a16="http://schemas.microsoft.com/office/drawing/2014/main" id="{BC74D392-E7F0-3312-E87D-D1558C51D134}"/>
              </a:ext>
            </a:extLst>
          </p:cNvPr>
          <p:cNvGraphicFramePr>
            <a:graphicFrameLocks noChangeAspect="1"/>
          </p:cNvGraphicFramePr>
          <p:nvPr>
            <p:custDataLst>
              <p:tags r:id="rId2"/>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9" imgH="429" progId="TCLayout.ActiveDocument.1">
                  <p:embed/>
                </p:oleObj>
              </mc:Choice>
              <mc:Fallback>
                <p:oleObj name="think-cell Slide" r:id="rId6" imgW="429" imgH="429" progId="TCLayout.ActiveDocument.1">
                  <p:embed/>
                  <p:pic>
                    <p:nvPicPr>
                      <p:cNvPr id="5" name="Object 4" hidden="1">
                        <a:extLst>
                          <a:ext uri="{FF2B5EF4-FFF2-40B4-BE49-F238E27FC236}">
                            <a16:creationId xmlns:a16="http://schemas.microsoft.com/office/drawing/2014/main" id="{BC74D392-E7F0-3312-E87D-D1558C51D1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hthoek 55">
            <a:extLst>
              <a:ext uri="{FF2B5EF4-FFF2-40B4-BE49-F238E27FC236}">
                <a16:creationId xmlns:a16="http://schemas.microsoft.com/office/drawing/2014/main" id="{F90AFF83-89A0-F964-3E8E-112046B5EBA5}"/>
              </a:ext>
            </a:extLst>
          </p:cNvPr>
          <p:cNvSpPr/>
          <p:nvPr/>
        </p:nvSpPr>
        <p:spPr>
          <a:xfrm>
            <a:off x="7872599" y="2692981"/>
            <a:ext cx="312548" cy="239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10" name="Tijdelijke aanduiding voor inhoud 25">
            <a:extLst>
              <a:ext uri="{FF2B5EF4-FFF2-40B4-BE49-F238E27FC236}">
                <a16:creationId xmlns:a16="http://schemas.microsoft.com/office/drawing/2014/main" id="{3FC1B0F5-66AE-7F1B-F321-FF78BE878FE3}"/>
              </a:ext>
            </a:extLst>
          </p:cNvPr>
          <p:cNvSpPr txBox="1">
            <a:spLocks/>
          </p:cNvSpPr>
          <p:nvPr userDrawn="1"/>
        </p:nvSpPr>
        <p:spPr>
          <a:xfrm>
            <a:off x="1137600" y="1558800"/>
            <a:ext cx="4690763" cy="3070071"/>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0"/>
              </a:spcBef>
              <a:spcAft>
                <a:spcPts val="300"/>
              </a:spcAft>
              <a:buFontTx/>
              <a:buNone/>
              <a:defRPr sz="2000" kern="1200">
                <a:solidFill>
                  <a:schemeClr val="tx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2000" kern="1200">
                <a:solidFill>
                  <a:schemeClr val="tx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400" noProof="1">
                <a:solidFill>
                  <a:schemeClr val="tx2"/>
                </a:solidFill>
              </a:rPr>
              <a:t>Kleurenschema</a:t>
            </a:r>
          </a:p>
          <a:p>
            <a:r>
              <a:rPr lang="nl-NL" sz="1400" noProof="1"/>
              <a:t>Selecteer object &gt; Vormopvulling &gt; kies kleur uit de bovenste rij (vast kleurenpalet).  Overige kleuren zijn benodigd voor PowerPoint functionaliteit.</a:t>
            </a:r>
          </a:p>
          <a:p>
            <a:r>
              <a:rPr lang="nl-NL" sz="1400" noProof="1"/>
              <a:t>In recente kleuren zijnde brandkleuren geel en roze vastgelegd (niet in vaste kleurenschema)</a:t>
            </a:r>
          </a:p>
          <a:p>
            <a:endParaRPr lang="nl-NL" sz="1400" noProof="1"/>
          </a:p>
          <a:p>
            <a:endParaRPr lang="nl-NL" sz="1400" noProof="1"/>
          </a:p>
          <a:p>
            <a:endParaRPr lang="nl-NL" sz="1400" noProof="1"/>
          </a:p>
          <a:p>
            <a:r>
              <a:rPr lang="nl-NL" sz="1400" noProof="1">
                <a:solidFill>
                  <a:schemeClr val="tx2"/>
                </a:solidFill>
              </a:rPr>
              <a:t>Kleuren bij grafieken </a:t>
            </a:r>
            <a:r>
              <a:rPr lang="nl-NL" sz="1400" noProof="1">
                <a:solidFill>
                  <a:srgbClr val="FF0000"/>
                </a:solidFill>
              </a:rPr>
              <a:t>(vb kolomgrafiek)</a:t>
            </a:r>
            <a:r>
              <a:rPr lang="nl-NL" sz="1400" noProof="1"/>
              <a:t> </a:t>
            </a:r>
          </a:p>
          <a:p>
            <a:r>
              <a:rPr lang="nl-NL" sz="1400" noProof="1"/>
              <a:t>Vulling vanaf 5de kleur. Bij gebruik meer kleuren , aanvullen met de tints in tweede rij,  grafiek handmatig kleuren. Rood gebruiken om highlights aan te geven.</a:t>
            </a:r>
          </a:p>
        </p:txBody>
      </p:sp>
      <p:sp>
        <p:nvSpPr>
          <p:cNvPr id="23" name="Rechthoek 11">
            <a:extLst>
              <a:ext uri="{FF2B5EF4-FFF2-40B4-BE49-F238E27FC236}">
                <a16:creationId xmlns:a16="http://schemas.microsoft.com/office/drawing/2014/main" id="{D0D975B4-D2DD-F56E-0420-4A0A843CDC45}"/>
              </a:ext>
            </a:extLst>
          </p:cNvPr>
          <p:cNvSpPr/>
          <p:nvPr userDrawn="1"/>
        </p:nvSpPr>
        <p:spPr>
          <a:xfrm>
            <a:off x="1985326" y="5309602"/>
            <a:ext cx="1002172" cy="228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noProof="1"/>
          </a:p>
        </p:txBody>
      </p:sp>
      <p:graphicFrame>
        <p:nvGraphicFramePr>
          <p:cNvPr id="24" name="Chart Placeholder 11">
            <a:extLst>
              <a:ext uri="{FF2B5EF4-FFF2-40B4-BE49-F238E27FC236}">
                <a16:creationId xmlns:a16="http://schemas.microsoft.com/office/drawing/2014/main" id="{F87E02EB-D64B-D721-70B8-3666A13BEC83}"/>
              </a:ext>
            </a:extLst>
          </p:cNvPr>
          <p:cNvGraphicFramePr>
            <a:graphicFrameLocks/>
          </p:cNvGraphicFramePr>
          <p:nvPr userDrawn="1">
            <p:extLst>
              <p:ext uri="{D42A27DB-BD31-4B8C-83A1-F6EECF244321}">
                <p14:modId xmlns:p14="http://schemas.microsoft.com/office/powerpoint/2010/main" val="2136152545"/>
              </p:ext>
            </p:extLst>
          </p:nvPr>
        </p:nvGraphicFramePr>
        <p:xfrm>
          <a:off x="3183467" y="4950771"/>
          <a:ext cx="2142065" cy="1035004"/>
        </p:xfrm>
        <a:graphic>
          <a:graphicData uri="http://schemas.openxmlformats.org/drawingml/2006/chart">
            <c:chart xmlns:c="http://schemas.openxmlformats.org/drawingml/2006/chart" xmlns:r="http://schemas.openxmlformats.org/officeDocument/2006/relationships" r:id="rId9"/>
          </a:graphicData>
        </a:graphic>
      </p:graphicFrame>
      <p:cxnSp>
        <p:nvCxnSpPr>
          <p:cNvPr id="25" name="Verbindingslijn: gebogen 33">
            <a:extLst>
              <a:ext uri="{FF2B5EF4-FFF2-40B4-BE49-F238E27FC236}">
                <a16:creationId xmlns:a16="http://schemas.microsoft.com/office/drawing/2014/main" id="{65CAB70B-5D8A-1CEA-1B70-4F6E18B575E6}"/>
              </a:ext>
            </a:extLst>
          </p:cNvPr>
          <p:cNvCxnSpPr>
            <a:cxnSpLocks/>
          </p:cNvCxnSpPr>
          <p:nvPr userDrawn="1"/>
        </p:nvCxnSpPr>
        <p:spPr>
          <a:xfrm>
            <a:off x="2987498" y="5423902"/>
            <a:ext cx="1647793" cy="524438"/>
          </a:xfrm>
          <a:prstGeom prst="bentConnector4">
            <a:avLst>
              <a:gd name="adj1" fmla="val 20220"/>
              <a:gd name="adj2" fmla="val 143590"/>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sp>
        <p:nvSpPr>
          <p:cNvPr id="26" name="Tijdelijke aanduiding voor inhoud 25">
            <a:extLst>
              <a:ext uri="{FF2B5EF4-FFF2-40B4-BE49-F238E27FC236}">
                <a16:creationId xmlns:a16="http://schemas.microsoft.com/office/drawing/2014/main" id="{176B6BEA-3CEE-44FC-4A5C-279C67630A4C}"/>
              </a:ext>
            </a:extLst>
          </p:cNvPr>
          <p:cNvSpPr txBox="1">
            <a:spLocks/>
          </p:cNvSpPr>
          <p:nvPr userDrawn="1"/>
        </p:nvSpPr>
        <p:spPr>
          <a:xfrm>
            <a:off x="6397173" y="1558800"/>
            <a:ext cx="2931554" cy="938719"/>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0"/>
              </a:spcBef>
              <a:spcAft>
                <a:spcPts val="300"/>
              </a:spcAft>
              <a:buFontTx/>
              <a:buNone/>
              <a:defRPr sz="2000" kern="1200">
                <a:solidFill>
                  <a:schemeClr val="tx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2000" kern="1200">
                <a:solidFill>
                  <a:schemeClr val="tx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400" noProof="1">
                <a:solidFill>
                  <a:schemeClr val="tx2"/>
                </a:solidFill>
              </a:rPr>
              <a:t>Kleurenschema (optie grijs)</a:t>
            </a:r>
          </a:p>
          <a:p>
            <a:r>
              <a:rPr lang="nl-NL" sz="1400" noProof="1"/>
              <a:t>Selecteer object &gt; Vormopvulling &gt; </a:t>
            </a:r>
          </a:p>
          <a:p>
            <a:r>
              <a:rPr lang="nl-NL" sz="1400" noProof="1"/>
              <a:t>kies 2</a:t>
            </a:r>
            <a:r>
              <a:rPr lang="nl-NL" sz="1400" baseline="30000" noProof="1"/>
              <a:t>de</a:t>
            </a:r>
            <a:r>
              <a:rPr lang="nl-NL" sz="1400" noProof="1"/>
              <a:t> tint kleur onder zwart uit de bovenste rij</a:t>
            </a:r>
          </a:p>
        </p:txBody>
      </p:sp>
      <p:graphicFrame>
        <p:nvGraphicFramePr>
          <p:cNvPr id="31" name="Object 30" hidden="1">
            <a:extLst>
              <a:ext uri="{FF2B5EF4-FFF2-40B4-BE49-F238E27FC236}">
                <a16:creationId xmlns:a16="http://schemas.microsoft.com/office/drawing/2014/main" id="{06236499-1C34-4C7B-D06D-4E2799D2075F}"/>
              </a:ext>
            </a:extLst>
          </p:cNvPr>
          <p:cNvGraphicFramePr>
            <a:graphicFrameLocks noChangeAspect="1"/>
          </p:cNvGraphicFramePr>
          <p:nvPr userDrawn="1">
            <p:custDataLst>
              <p:tags r:id="rId3"/>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9" imgH="429" progId="TCLayout.ActiveDocument.1">
                  <p:embed/>
                </p:oleObj>
              </mc:Choice>
              <mc:Fallback>
                <p:oleObj name="think-cell Slide" r:id="rId6" imgW="429" imgH="429" progId="TCLayout.ActiveDocument.1">
                  <p:embed/>
                  <p:pic>
                    <p:nvPicPr>
                      <p:cNvPr id="31" name="Object 30" hidden="1">
                        <a:extLst>
                          <a:ext uri="{FF2B5EF4-FFF2-40B4-BE49-F238E27FC236}">
                            <a16:creationId xmlns:a16="http://schemas.microsoft.com/office/drawing/2014/main" id="{06236499-1C34-4C7B-D06D-4E2799D207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3" name="Rechthoek 55">
            <a:extLst>
              <a:ext uri="{FF2B5EF4-FFF2-40B4-BE49-F238E27FC236}">
                <a16:creationId xmlns:a16="http://schemas.microsoft.com/office/drawing/2014/main" id="{6C076D1C-9461-44B1-D61C-2113B99A07AF}"/>
              </a:ext>
            </a:extLst>
          </p:cNvPr>
          <p:cNvSpPr/>
          <p:nvPr userDrawn="1"/>
        </p:nvSpPr>
        <p:spPr>
          <a:xfrm>
            <a:off x="7872599" y="2692981"/>
            <a:ext cx="312548" cy="239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pic>
        <p:nvPicPr>
          <p:cNvPr id="27" name="Afbeelding 26">
            <a:extLst>
              <a:ext uri="{FF2B5EF4-FFF2-40B4-BE49-F238E27FC236}">
                <a16:creationId xmlns:a16="http://schemas.microsoft.com/office/drawing/2014/main" id="{6A29F275-118A-C65E-8461-E4DF24E7E003}"/>
              </a:ext>
            </a:extLst>
          </p:cNvPr>
          <p:cNvPicPr>
            <a:picLocks noChangeAspect="1"/>
          </p:cNvPicPr>
          <p:nvPr userDrawn="1"/>
        </p:nvPicPr>
        <p:blipFill rotWithShape="1">
          <a:blip r:embed="rId10">
            <a:extLst>
              <a:ext uri="{28A0092B-C50C-407E-A947-70E740481C1C}">
                <a14:useLocalDpi xmlns:a14="http://schemas.microsoft.com/office/drawing/2010/main"/>
              </a:ext>
            </a:extLst>
          </a:blip>
          <a:srcRect/>
          <a:stretch/>
        </p:blipFill>
        <p:spPr>
          <a:xfrm>
            <a:off x="1137600" y="3120507"/>
            <a:ext cx="1664468" cy="419255"/>
          </a:xfrm>
          <a:prstGeom prst="rect">
            <a:avLst/>
          </a:prstGeom>
        </p:spPr>
      </p:pic>
    </p:spTree>
    <p:extLst>
      <p:ext uri="{BB962C8B-B14F-4D97-AF65-F5344CB8AC3E}">
        <p14:creationId xmlns:p14="http://schemas.microsoft.com/office/powerpoint/2010/main" val="42397710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Personen IV">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96F7F5C-A908-766D-DE0C-047B07E54C32}"/>
              </a:ext>
            </a:extLst>
          </p:cNvPr>
          <p:cNvGrpSpPr/>
          <p:nvPr userDrawn="1"/>
        </p:nvGrpSpPr>
        <p:grpSpPr>
          <a:xfrm>
            <a:off x="0" y="-10274"/>
            <a:ext cx="12197192" cy="6876000"/>
            <a:chOff x="0" y="-10274"/>
            <a:chExt cx="12197192" cy="6876000"/>
          </a:xfrm>
        </p:grpSpPr>
        <p:sp>
          <p:nvSpPr>
            <p:cNvPr id="4" name="Freeform: Shape 3">
              <a:extLst>
                <a:ext uri="{FF2B5EF4-FFF2-40B4-BE49-F238E27FC236}">
                  <a16:creationId xmlns:a16="http://schemas.microsoft.com/office/drawing/2014/main" id="{702D3C3D-000B-A538-CB3A-FFDD745EEF50}"/>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00501C"/>
            </a:solidFill>
            <a:ln w="6208" cap="flat">
              <a:solidFill>
                <a:srgbClr val="00501C"/>
              </a:solidFill>
              <a:prstDash val="solid"/>
              <a:miter/>
            </a:ln>
          </p:spPr>
          <p:txBody>
            <a:bodyPr rtlCol="0" anchor="ctr"/>
            <a:lstStyle/>
            <a:p>
              <a:pPr lvl="0"/>
              <a:endParaRPr lang="en-GB"/>
            </a:p>
          </p:txBody>
        </p:sp>
        <p:sp>
          <p:nvSpPr>
            <p:cNvPr id="5" name="Freeform: Shape 4">
              <a:extLst>
                <a:ext uri="{FF2B5EF4-FFF2-40B4-BE49-F238E27FC236}">
                  <a16:creationId xmlns:a16="http://schemas.microsoft.com/office/drawing/2014/main" id="{909A9029-02FF-EDE6-38ED-2FEBE2ED3987}"/>
                </a:ext>
              </a:extLst>
            </p:cNvPr>
            <p:cNvSpPr/>
            <p:nvPr userDrawn="1"/>
          </p:nvSpPr>
          <p:spPr>
            <a:xfrm>
              <a:off x="7440811" y="-10274"/>
              <a:ext cx="4756381" cy="6876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6" name="Freeform: Shape 5">
              <a:extLst>
                <a:ext uri="{FF2B5EF4-FFF2-40B4-BE49-F238E27FC236}">
                  <a16:creationId xmlns:a16="http://schemas.microsoft.com/office/drawing/2014/main" id="{4F4BDA5E-0B55-2F0A-3B78-4C7DFE1A7654}"/>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00501C"/>
            </a:solidFill>
            <a:ln w="12700" cap="flat">
              <a:solidFill>
                <a:srgbClr val="00501C"/>
              </a:solidFill>
              <a:prstDash val="solid"/>
              <a:miter/>
            </a:ln>
          </p:spPr>
          <p:txBody>
            <a:bodyPr rtlCol="0" anchor="ctr"/>
            <a:lstStyle/>
            <a:p>
              <a:pPr lvl="0"/>
              <a:endParaRPr lang="en-GB"/>
            </a:p>
          </p:txBody>
        </p:sp>
        <p:sp>
          <p:nvSpPr>
            <p:cNvPr id="7" name="Freeform: Shape 6">
              <a:extLst>
                <a:ext uri="{FF2B5EF4-FFF2-40B4-BE49-F238E27FC236}">
                  <a16:creationId xmlns:a16="http://schemas.microsoft.com/office/drawing/2014/main" id="{BD4D8FF0-69EC-3253-EB4F-8CE1DF20F02D}"/>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grpSp>
      <p:sp>
        <p:nvSpPr>
          <p:cNvPr id="30" name="Picture Placeholder 8">
            <a:extLst>
              <a:ext uri="{FF2B5EF4-FFF2-40B4-BE49-F238E27FC236}">
                <a16:creationId xmlns:a16="http://schemas.microsoft.com/office/drawing/2014/main" id="{04483224-BEF7-EA53-E3A9-48A573055C9A}"/>
              </a:ext>
            </a:extLst>
          </p:cNvPr>
          <p:cNvSpPr>
            <a:spLocks noGrp="1" noChangeAspect="1"/>
          </p:cNvSpPr>
          <p:nvPr>
            <p:ph type="pic" sz="quarter" idx="19"/>
          </p:nvPr>
        </p:nvSpPr>
        <p:spPr>
          <a:xfrm>
            <a:off x="3969070" y="2175548"/>
            <a:ext cx="1773936" cy="1766155"/>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3" name="Picture Placeholder 8">
            <a:extLst>
              <a:ext uri="{FF2B5EF4-FFF2-40B4-BE49-F238E27FC236}">
                <a16:creationId xmlns:a16="http://schemas.microsoft.com/office/drawing/2014/main" id="{8206E040-3C65-135D-1D1D-FAC5C094824E}"/>
              </a:ext>
            </a:extLst>
          </p:cNvPr>
          <p:cNvSpPr>
            <a:spLocks noGrp="1"/>
          </p:cNvSpPr>
          <p:nvPr>
            <p:ph type="pic" sz="quarter" idx="20"/>
          </p:nvPr>
        </p:nvSpPr>
        <p:spPr>
          <a:xfrm>
            <a:off x="1154395" y="2175548"/>
            <a:ext cx="1769838" cy="1773936"/>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8" name="Text Placeholder 7">
            <a:extLst>
              <a:ext uri="{FF2B5EF4-FFF2-40B4-BE49-F238E27FC236}">
                <a16:creationId xmlns:a16="http://schemas.microsoft.com/office/drawing/2014/main" id="{18F06AD3-38F0-7A87-3982-57749E572863}"/>
              </a:ext>
            </a:extLst>
          </p:cNvPr>
          <p:cNvSpPr>
            <a:spLocks noGrp="1"/>
          </p:cNvSpPr>
          <p:nvPr>
            <p:ph type="body" sz="quarter" idx="21" hasCustomPrompt="1"/>
          </p:nvPr>
        </p:nvSpPr>
        <p:spPr>
          <a:xfrm>
            <a:off x="1148746" y="4045924"/>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26" name="Text Placeholder 7">
            <a:extLst>
              <a:ext uri="{FF2B5EF4-FFF2-40B4-BE49-F238E27FC236}">
                <a16:creationId xmlns:a16="http://schemas.microsoft.com/office/drawing/2014/main" id="{B177B95B-54AF-1C0D-C084-ED883FB7558C}"/>
              </a:ext>
            </a:extLst>
          </p:cNvPr>
          <p:cNvSpPr>
            <a:spLocks noGrp="1"/>
          </p:cNvSpPr>
          <p:nvPr>
            <p:ph type="body" sz="quarter" idx="22" hasCustomPrompt="1"/>
          </p:nvPr>
        </p:nvSpPr>
        <p:spPr>
          <a:xfrm>
            <a:off x="1148746" y="4390589"/>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34" name="Picture Placeholder 8">
            <a:extLst>
              <a:ext uri="{FF2B5EF4-FFF2-40B4-BE49-F238E27FC236}">
                <a16:creationId xmlns:a16="http://schemas.microsoft.com/office/drawing/2014/main" id="{49359509-209D-FD83-E2E3-DF4B41BDE35D}"/>
              </a:ext>
            </a:extLst>
          </p:cNvPr>
          <p:cNvSpPr>
            <a:spLocks noGrp="1" noChangeAspect="1"/>
          </p:cNvSpPr>
          <p:nvPr>
            <p:ph type="pic" sz="quarter" idx="25"/>
          </p:nvPr>
        </p:nvSpPr>
        <p:spPr>
          <a:xfrm>
            <a:off x="6787843" y="2175548"/>
            <a:ext cx="1773936" cy="1766155"/>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42" name="Text Placeholder 7">
            <a:extLst>
              <a:ext uri="{FF2B5EF4-FFF2-40B4-BE49-F238E27FC236}">
                <a16:creationId xmlns:a16="http://schemas.microsoft.com/office/drawing/2014/main" id="{FDCE24C7-FF7F-47FD-D779-ABC6FC210F01}"/>
              </a:ext>
            </a:extLst>
          </p:cNvPr>
          <p:cNvSpPr>
            <a:spLocks noGrp="1"/>
          </p:cNvSpPr>
          <p:nvPr>
            <p:ph type="body" sz="quarter" idx="26" hasCustomPrompt="1"/>
          </p:nvPr>
        </p:nvSpPr>
        <p:spPr>
          <a:xfrm>
            <a:off x="3961485" y="4045924"/>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3" name="Text Placeholder 7">
            <a:extLst>
              <a:ext uri="{FF2B5EF4-FFF2-40B4-BE49-F238E27FC236}">
                <a16:creationId xmlns:a16="http://schemas.microsoft.com/office/drawing/2014/main" id="{DC86E184-5512-C0CE-7F19-2E9D945A5696}"/>
              </a:ext>
            </a:extLst>
          </p:cNvPr>
          <p:cNvSpPr>
            <a:spLocks noGrp="1"/>
          </p:cNvSpPr>
          <p:nvPr>
            <p:ph type="body" sz="quarter" idx="27" hasCustomPrompt="1"/>
          </p:nvPr>
        </p:nvSpPr>
        <p:spPr>
          <a:xfrm>
            <a:off x="3961485" y="4390589"/>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44" name="Text Placeholder 7">
            <a:extLst>
              <a:ext uri="{FF2B5EF4-FFF2-40B4-BE49-F238E27FC236}">
                <a16:creationId xmlns:a16="http://schemas.microsoft.com/office/drawing/2014/main" id="{334843A1-7F9F-B805-78DA-7661A5E4DD59}"/>
              </a:ext>
            </a:extLst>
          </p:cNvPr>
          <p:cNvSpPr>
            <a:spLocks noGrp="1"/>
          </p:cNvSpPr>
          <p:nvPr>
            <p:ph type="body" sz="quarter" idx="28" hasCustomPrompt="1"/>
          </p:nvPr>
        </p:nvSpPr>
        <p:spPr>
          <a:xfrm>
            <a:off x="6774224" y="4045924"/>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5" name="Text Placeholder 7">
            <a:extLst>
              <a:ext uri="{FF2B5EF4-FFF2-40B4-BE49-F238E27FC236}">
                <a16:creationId xmlns:a16="http://schemas.microsoft.com/office/drawing/2014/main" id="{C48210F2-5D62-6D0F-047A-AB779E216D2D}"/>
              </a:ext>
            </a:extLst>
          </p:cNvPr>
          <p:cNvSpPr>
            <a:spLocks noGrp="1"/>
          </p:cNvSpPr>
          <p:nvPr>
            <p:ph type="body" sz="quarter" idx="29" hasCustomPrompt="1"/>
          </p:nvPr>
        </p:nvSpPr>
        <p:spPr>
          <a:xfrm>
            <a:off x="6774224" y="4390589"/>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36" name="Picture Placeholder 8">
            <a:extLst>
              <a:ext uri="{FF2B5EF4-FFF2-40B4-BE49-F238E27FC236}">
                <a16:creationId xmlns:a16="http://schemas.microsoft.com/office/drawing/2014/main" id="{D27B2E7C-810D-44CC-7A3F-14969273B0F5}"/>
              </a:ext>
            </a:extLst>
          </p:cNvPr>
          <p:cNvSpPr>
            <a:spLocks noGrp="1" noChangeAspect="1"/>
          </p:cNvSpPr>
          <p:nvPr>
            <p:ph type="pic" sz="quarter" idx="30"/>
          </p:nvPr>
        </p:nvSpPr>
        <p:spPr>
          <a:xfrm>
            <a:off x="9586963" y="2175548"/>
            <a:ext cx="1773936" cy="1766155"/>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41" name="Text Placeholder 7">
            <a:extLst>
              <a:ext uri="{FF2B5EF4-FFF2-40B4-BE49-F238E27FC236}">
                <a16:creationId xmlns:a16="http://schemas.microsoft.com/office/drawing/2014/main" id="{FA799B20-C2C7-73D2-B8B0-0A28A1E94139}"/>
              </a:ext>
            </a:extLst>
          </p:cNvPr>
          <p:cNvSpPr>
            <a:spLocks noGrp="1"/>
          </p:cNvSpPr>
          <p:nvPr>
            <p:ph type="body" sz="quarter" idx="31" hasCustomPrompt="1"/>
          </p:nvPr>
        </p:nvSpPr>
        <p:spPr>
          <a:xfrm>
            <a:off x="9586963" y="4054329"/>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6" name="Text Placeholder 7">
            <a:extLst>
              <a:ext uri="{FF2B5EF4-FFF2-40B4-BE49-F238E27FC236}">
                <a16:creationId xmlns:a16="http://schemas.microsoft.com/office/drawing/2014/main" id="{C8322BE2-A6EA-2B77-4274-B8A694B26A5F}"/>
              </a:ext>
            </a:extLst>
          </p:cNvPr>
          <p:cNvSpPr>
            <a:spLocks noGrp="1"/>
          </p:cNvSpPr>
          <p:nvPr>
            <p:ph type="body" sz="quarter" idx="32" hasCustomPrompt="1"/>
          </p:nvPr>
        </p:nvSpPr>
        <p:spPr>
          <a:xfrm>
            <a:off x="9586963" y="4398994"/>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grpSp>
        <p:nvGrpSpPr>
          <p:cNvPr id="2" name="Groep 1">
            <a:extLst>
              <a:ext uri="{FF2B5EF4-FFF2-40B4-BE49-F238E27FC236}">
                <a16:creationId xmlns:a16="http://schemas.microsoft.com/office/drawing/2014/main" id="{CF0039A4-B884-F71B-2F40-C0C74C935C2C}"/>
              </a:ext>
            </a:extLst>
          </p:cNvPr>
          <p:cNvGrpSpPr/>
          <p:nvPr userDrawn="1"/>
        </p:nvGrpSpPr>
        <p:grpSpPr>
          <a:xfrm>
            <a:off x="10014482" y="5839298"/>
            <a:ext cx="1599388" cy="433809"/>
            <a:chOff x="3101010" y="1249096"/>
            <a:chExt cx="3978412" cy="1079079"/>
          </a:xfrm>
          <a:solidFill>
            <a:schemeClr val="bg1"/>
          </a:solidFill>
        </p:grpSpPr>
        <p:sp>
          <p:nvSpPr>
            <p:cNvPr id="10" name="Vrije vorm 9">
              <a:extLst>
                <a:ext uri="{FF2B5EF4-FFF2-40B4-BE49-F238E27FC236}">
                  <a16:creationId xmlns:a16="http://schemas.microsoft.com/office/drawing/2014/main" id="{6B8DE00C-52D0-D862-E831-2F8281B7F252}"/>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F6581F89-6ACC-7CE7-A635-326CE8C1705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61E283BC-A80A-808B-21A9-C3FCF2F39C9B}"/>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42A4534F-4144-1641-728A-91A73A78992B}"/>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E26CA505-5AB0-810F-6087-29006D4DD774}"/>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9310EC34-BDB6-3D17-5347-7544F93C773B}"/>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33E0C7A7-CD66-C647-5D55-5AB6618998DA}"/>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6A9F36E1-F717-D5E6-195B-197AEA12D9CB}"/>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8" name="Freeform: Shape 8">
            <a:extLst>
              <a:ext uri="{FF2B5EF4-FFF2-40B4-BE49-F238E27FC236}">
                <a16:creationId xmlns:a16="http://schemas.microsoft.com/office/drawing/2014/main" id="{E605A2E5-E236-F4CB-852B-D273C7BE1D09}"/>
              </a:ext>
            </a:extLst>
          </p:cNvPr>
          <p:cNvSpPr/>
          <p:nvPr userDrawn="1"/>
        </p:nvSpPr>
        <p:spPr>
          <a:xfrm>
            <a:off x="5404345"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rgbClr val="00501C"/>
          </a:solidFill>
          <a:ln w="12700" cap="flat">
            <a:solidFill>
              <a:srgbClr val="00501C"/>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Tree>
    <p:extLst>
      <p:ext uri="{BB962C8B-B14F-4D97-AF65-F5344CB8AC3E}">
        <p14:creationId xmlns:p14="http://schemas.microsoft.com/office/powerpoint/2010/main" val="14171992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ekst / 1 kolom">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11CCC-33F0-7A7C-3C48-F19EDC149C27}"/>
              </a:ext>
            </a:extLst>
          </p:cNvPr>
          <p:cNvSpPr>
            <a:spLocks noGrp="1"/>
          </p:cNvSpPr>
          <p:nvPr>
            <p:ph type="title"/>
          </p:nvPr>
        </p:nvSpPr>
        <p:spPr>
          <a:xfrm>
            <a:off x="1139124" y="595590"/>
            <a:ext cx="9938183" cy="1000736"/>
          </a:xfrm>
        </p:spPr>
        <p:txBody>
          <a:bodyPr/>
          <a:lstStyle/>
          <a:p>
            <a:r>
              <a:rPr lang="nl-NL"/>
              <a:t>Klik om stijl te bewerken</a:t>
            </a:r>
            <a:endParaRPr lang="en-US" dirty="0"/>
          </a:p>
        </p:txBody>
      </p:sp>
      <p:sp>
        <p:nvSpPr>
          <p:cNvPr id="10" name="Text Placeholder 3">
            <a:extLst>
              <a:ext uri="{FF2B5EF4-FFF2-40B4-BE49-F238E27FC236}">
                <a16:creationId xmlns:a16="http://schemas.microsoft.com/office/drawing/2014/main" id="{BE5E00DB-1EA6-464A-0466-C026D0729C7E}"/>
              </a:ext>
            </a:extLst>
          </p:cNvPr>
          <p:cNvSpPr>
            <a:spLocks noGrp="1"/>
          </p:cNvSpPr>
          <p:nvPr>
            <p:ph type="body" sz="quarter" idx="10"/>
          </p:nvPr>
        </p:nvSpPr>
        <p:spPr>
          <a:xfrm>
            <a:off x="1139124" y="2003728"/>
            <a:ext cx="9925751" cy="3650247"/>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grpSp>
        <p:nvGrpSpPr>
          <p:cNvPr id="3" name="Groep 2">
            <a:extLst>
              <a:ext uri="{FF2B5EF4-FFF2-40B4-BE49-F238E27FC236}">
                <a16:creationId xmlns:a16="http://schemas.microsoft.com/office/drawing/2014/main" id="{717CE920-9579-14CE-0672-F0EDB4637649}"/>
              </a:ext>
            </a:extLst>
          </p:cNvPr>
          <p:cNvGrpSpPr/>
          <p:nvPr userDrawn="1"/>
        </p:nvGrpSpPr>
        <p:grpSpPr>
          <a:xfrm>
            <a:off x="10014482" y="5839298"/>
            <a:ext cx="1599388" cy="433809"/>
            <a:chOff x="3101010" y="1249096"/>
            <a:chExt cx="3978412" cy="1079079"/>
          </a:xfrm>
          <a:solidFill>
            <a:schemeClr val="tx2"/>
          </a:solidFill>
        </p:grpSpPr>
        <p:sp>
          <p:nvSpPr>
            <p:cNvPr id="4" name="Vrije vorm 3">
              <a:extLst>
                <a:ext uri="{FF2B5EF4-FFF2-40B4-BE49-F238E27FC236}">
                  <a16:creationId xmlns:a16="http://schemas.microsoft.com/office/drawing/2014/main" id="{380C4147-1AAD-BC0A-B4EC-5E1BF1E28731}"/>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67970AEF-9C1C-E0BF-0AB2-D7E0B736F93F}"/>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84411933-F6E6-5A1C-278D-0F2AC93E2462}"/>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23094AAE-E411-FB67-B5C5-CDF9E1FDB5DB}"/>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2E6525B7-4CB3-01C7-F264-B96F3FEBB53E}"/>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85A51975-E367-D2D0-12F6-BB6BB908F9BE}"/>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F9A610A0-47D8-BCBD-8C51-98D26A7C1B28}"/>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9905D9D6-1F3F-516F-0924-728C828B3A4A}"/>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8874180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kst 2 kolommen + kop">
    <p:bg>
      <p:bgPr>
        <a:solidFill>
          <a:schemeClr val="bg1"/>
        </a:solidFill>
        <a:effectLst/>
      </p:bgPr>
    </p:bg>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2083A11-CB10-4A2B-AC8E-382DFEA6B28C}"/>
              </a:ext>
            </a:extLst>
          </p:cNvPr>
          <p:cNvSpPr>
            <a:spLocks noGrp="1"/>
          </p:cNvSpPr>
          <p:nvPr>
            <p:ph type="body" sz="half" idx="14" hasCustomPrompt="1"/>
          </p:nvPr>
        </p:nvSpPr>
        <p:spPr>
          <a:xfrm>
            <a:off x="1139126"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sp>
        <p:nvSpPr>
          <p:cNvPr id="12" name="Text Placeholder 3">
            <a:extLst>
              <a:ext uri="{FF2B5EF4-FFF2-40B4-BE49-F238E27FC236}">
                <a16:creationId xmlns:a16="http://schemas.microsoft.com/office/drawing/2014/main" id="{BD4322EE-9691-472A-BFB9-D03E483F397D}"/>
              </a:ext>
            </a:extLst>
          </p:cNvPr>
          <p:cNvSpPr>
            <a:spLocks noGrp="1"/>
          </p:cNvSpPr>
          <p:nvPr>
            <p:ph type="body" sz="half" idx="15" hasCustomPrompt="1"/>
          </p:nvPr>
        </p:nvSpPr>
        <p:spPr>
          <a:xfrm>
            <a:off x="6503577"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dirty="0"/>
          </a:p>
        </p:txBody>
      </p:sp>
      <p:sp>
        <p:nvSpPr>
          <p:cNvPr id="22" name="Text Placeholder 13">
            <a:extLst>
              <a:ext uri="{FF2B5EF4-FFF2-40B4-BE49-F238E27FC236}">
                <a16:creationId xmlns:a16="http://schemas.microsoft.com/office/drawing/2014/main" id="{351DD9B3-B6F8-575C-F146-D8B11E0E2F00}"/>
              </a:ext>
            </a:extLst>
          </p:cNvPr>
          <p:cNvSpPr>
            <a:spLocks noGrp="1"/>
          </p:cNvSpPr>
          <p:nvPr>
            <p:ph type="body" sz="quarter" idx="18"/>
          </p:nvPr>
        </p:nvSpPr>
        <p:spPr>
          <a:xfrm>
            <a:off x="1139124" y="2559063"/>
            <a:ext cx="4545423" cy="3336923"/>
          </a:xfrm>
        </p:spPr>
        <p:txBody>
          <a:bodyPr/>
          <a:lstStyle>
            <a:lvl1pPr>
              <a:defRPr sz="2400"/>
            </a:lvl1pPr>
            <a:lvl2pPr>
              <a:defRPr sz="2400"/>
            </a:lvl2pPr>
            <a:lvl3pPr>
              <a:defRPr sz="2000"/>
            </a:lvl3pPr>
            <a:lvl4pPr>
              <a:defRPr sz="2000"/>
            </a:lvl4pPr>
            <a:lvl5pPr>
              <a:defRPr sz="20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3" name="Text Placeholder 13">
            <a:extLst>
              <a:ext uri="{FF2B5EF4-FFF2-40B4-BE49-F238E27FC236}">
                <a16:creationId xmlns:a16="http://schemas.microsoft.com/office/drawing/2014/main" id="{447AE6B1-D598-594A-E638-E7AD94B9C07C}"/>
              </a:ext>
            </a:extLst>
          </p:cNvPr>
          <p:cNvSpPr>
            <a:spLocks noGrp="1"/>
          </p:cNvSpPr>
          <p:nvPr>
            <p:ph type="body" sz="quarter" idx="19"/>
          </p:nvPr>
        </p:nvSpPr>
        <p:spPr>
          <a:xfrm>
            <a:off x="6501384" y="2559063"/>
            <a:ext cx="4545424" cy="3336923"/>
          </a:xfrm>
        </p:spPr>
        <p:txBody>
          <a:bodyPr/>
          <a:lstStyle>
            <a:lvl1pPr>
              <a:defRPr sz="2400"/>
            </a:lvl1pPr>
            <a:lvl2pPr>
              <a:defRPr sz="2400"/>
            </a:lvl2pPr>
            <a:lvl3pPr>
              <a:defRPr sz="2000"/>
            </a:lvl3pPr>
            <a:lvl4pPr>
              <a:defRPr sz="2000"/>
            </a:lvl4pPr>
            <a:lvl5pPr>
              <a:defRPr sz="20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grpSp>
        <p:nvGrpSpPr>
          <p:cNvPr id="2" name="Groep 1">
            <a:extLst>
              <a:ext uri="{FF2B5EF4-FFF2-40B4-BE49-F238E27FC236}">
                <a16:creationId xmlns:a16="http://schemas.microsoft.com/office/drawing/2014/main" id="{018001FB-571C-6A33-56FF-18039F4BEED5}"/>
              </a:ext>
            </a:extLst>
          </p:cNvPr>
          <p:cNvGrpSpPr/>
          <p:nvPr userDrawn="1"/>
        </p:nvGrpSpPr>
        <p:grpSpPr>
          <a:xfrm>
            <a:off x="10014482" y="5839298"/>
            <a:ext cx="1599388" cy="433809"/>
            <a:chOff x="3101010" y="1249096"/>
            <a:chExt cx="3978412" cy="1079079"/>
          </a:xfrm>
          <a:solidFill>
            <a:schemeClr val="tx2"/>
          </a:solidFill>
        </p:grpSpPr>
        <p:sp>
          <p:nvSpPr>
            <p:cNvPr id="3" name="Vrije vorm 2">
              <a:extLst>
                <a:ext uri="{FF2B5EF4-FFF2-40B4-BE49-F238E27FC236}">
                  <a16:creationId xmlns:a16="http://schemas.microsoft.com/office/drawing/2014/main" id="{1ADAB990-D70B-E487-DD39-8EB662AE4404}"/>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C4E674C4-35EC-E32B-DD16-74F8DC88DF99}"/>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ED7E33C9-0AFC-FF2A-6FBE-28BBAE9C1B48}"/>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477420AF-B501-F4F3-7742-CC2B9F623723}"/>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A5E05816-C418-A13A-B6AD-9819B2EF549F}"/>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2BD69AEB-BEA7-A196-6DA1-F04E29096F04}"/>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1EB77E87-104F-570F-31FD-5B93BFB4193D}"/>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3D09D907-2713-DD02-A018-C75B7E1E6B68}"/>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6513758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kst / 2 kolommen">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dirty="0"/>
          </a:p>
        </p:txBody>
      </p:sp>
      <p:sp>
        <p:nvSpPr>
          <p:cNvPr id="11" name="Text Placeholder 13">
            <a:extLst>
              <a:ext uri="{FF2B5EF4-FFF2-40B4-BE49-F238E27FC236}">
                <a16:creationId xmlns:a16="http://schemas.microsoft.com/office/drawing/2014/main" id="{671406B8-42F0-6CED-3C85-BD33A019A204}"/>
              </a:ext>
            </a:extLst>
          </p:cNvPr>
          <p:cNvSpPr>
            <a:spLocks noGrp="1"/>
          </p:cNvSpPr>
          <p:nvPr>
            <p:ph type="body" sz="quarter" idx="16"/>
          </p:nvPr>
        </p:nvSpPr>
        <p:spPr>
          <a:xfrm>
            <a:off x="1139125" y="2005200"/>
            <a:ext cx="4545423" cy="3848185"/>
          </a:xfrm>
        </p:spPr>
        <p:txBody>
          <a:bodyPr/>
          <a:lstStyle>
            <a:lvl1pPr>
              <a:defRPr sz="2400"/>
            </a:lvl1pPr>
            <a:lvl2pPr>
              <a:defRPr sz="2400"/>
            </a:lvl2pPr>
            <a:lvl3pPr>
              <a:defRPr sz="20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7" name="Text Placeholder 13">
            <a:extLst>
              <a:ext uri="{FF2B5EF4-FFF2-40B4-BE49-F238E27FC236}">
                <a16:creationId xmlns:a16="http://schemas.microsoft.com/office/drawing/2014/main" id="{9FB715D7-6B7C-D117-C555-DAAFB48A25CD}"/>
              </a:ext>
            </a:extLst>
          </p:cNvPr>
          <p:cNvSpPr>
            <a:spLocks noGrp="1"/>
          </p:cNvSpPr>
          <p:nvPr>
            <p:ph type="body" sz="quarter" idx="17"/>
          </p:nvPr>
        </p:nvSpPr>
        <p:spPr>
          <a:xfrm>
            <a:off x="6501384" y="2005200"/>
            <a:ext cx="4545424" cy="3848185"/>
          </a:xfrm>
        </p:spPr>
        <p:txBody>
          <a:bodyPr/>
          <a:lstStyle>
            <a:lvl1pPr>
              <a:defRPr sz="2400"/>
            </a:lvl1pPr>
            <a:lvl2pPr>
              <a:defRPr sz="2400"/>
            </a:lvl2pPr>
            <a:lvl3pPr>
              <a:defRPr sz="20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grpSp>
        <p:nvGrpSpPr>
          <p:cNvPr id="2" name="Groep 1">
            <a:extLst>
              <a:ext uri="{FF2B5EF4-FFF2-40B4-BE49-F238E27FC236}">
                <a16:creationId xmlns:a16="http://schemas.microsoft.com/office/drawing/2014/main" id="{404A00FE-4243-DEF1-7212-14DD17D14411}"/>
              </a:ext>
            </a:extLst>
          </p:cNvPr>
          <p:cNvGrpSpPr/>
          <p:nvPr userDrawn="1"/>
        </p:nvGrpSpPr>
        <p:grpSpPr>
          <a:xfrm>
            <a:off x="10014482" y="5839298"/>
            <a:ext cx="1599388" cy="433809"/>
            <a:chOff x="3101010" y="1249096"/>
            <a:chExt cx="3978412" cy="1079079"/>
          </a:xfrm>
          <a:solidFill>
            <a:schemeClr val="tx2"/>
          </a:solidFill>
        </p:grpSpPr>
        <p:sp>
          <p:nvSpPr>
            <p:cNvPr id="3" name="Vrije vorm 2">
              <a:extLst>
                <a:ext uri="{FF2B5EF4-FFF2-40B4-BE49-F238E27FC236}">
                  <a16:creationId xmlns:a16="http://schemas.microsoft.com/office/drawing/2014/main" id="{5A21C78F-055A-4422-7B2D-A808C9057046}"/>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BB3EDE27-A728-E00C-82D1-43EC9BB86B80}"/>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5F7174E5-C106-C1CE-C2F3-A19FD33835F1}"/>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63C14F53-C273-E8E5-BC8D-298C7718416C}"/>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920F0599-8BA0-72BB-CAF0-E367359C65C8}"/>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130C314C-706B-C986-D9C6-1641EDB6CD9C}"/>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32E2205F-A0F8-61C6-56D6-E8A13CF740BC}"/>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E8290881-E435-DAC5-5674-280C9266BD28}"/>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9446108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 / Beeld 1/2">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F074158-219E-B689-9936-B3A15631E122}"/>
              </a:ext>
            </a:extLst>
          </p:cNvPr>
          <p:cNvSpPr/>
          <p:nvPr userDrawn="1"/>
        </p:nvSpPr>
        <p:spPr>
          <a:xfrm>
            <a:off x="0" y="0"/>
            <a:ext cx="6244557"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p>
        </p:txBody>
      </p:sp>
      <p:sp>
        <p:nvSpPr>
          <p:cNvPr id="3" name="Title 2">
            <a:extLst>
              <a:ext uri="{FF2B5EF4-FFF2-40B4-BE49-F238E27FC236}">
                <a16:creationId xmlns:a16="http://schemas.microsoft.com/office/drawing/2014/main" id="{18FB2C3B-2209-70F3-09D5-52F99CBE3D5C}"/>
              </a:ext>
            </a:extLst>
          </p:cNvPr>
          <p:cNvSpPr>
            <a:spLocks noGrp="1"/>
          </p:cNvSpPr>
          <p:nvPr>
            <p:ph type="title"/>
          </p:nvPr>
        </p:nvSpPr>
        <p:spPr>
          <a:xfrm>
            <a:off x="1139124" y="595590"/>
            <a:ext cx="4550476" cy="1000736"/>
          </a:xfrm>
        </p:spPr>
        <p:txBody>
          <a:bodyPr/>
          <a:lstStyle>
            <a:lvl1pPr>
              <a:defRPr>
                <a:solidFill>
                  <a:schemeClr val="accent1"/>
                </a:solidFill>
              </a:defRPr>
            </a:lvl1pPr>
          </a:lstStyle>
          <a:p>
            <a:r>
              <a:rPr lang="nl-NL"/>
              <a:t>Klik om stijl te bewerken</a:t>
            </a:r>
            <a:endParaRPr lang="en-US" dirty="0"/>
          </a:p>
        </p:txBody>
      </p:sp>
      <p:sp>
        <p:nvSpPr>
          <p:cNvPr id="15" name="Tijdelijke aanduiding voor afbeelding 14">
            <a:extLst>
              <a:ext uri="{FF2B5EF4-FFF2-40B4-BE49-F238E27FC236}">
                <a16:creationId xmlns:a16="http://schemas.microsoft.com/office/drawing/2014/main" id="{C15A5C28-50F1-62AA-8A14-8AE7DA608F41}"/>
              </a:ext>
            </a:extLst>
          </p:cNvPr>
          <p:cNvSpPr>
            <a:spLocks noGrp="1"/>
          </p:cNvSpPr>
          <p:nvPr>
            <p:ph type="pic" sz="quarter" idx="19"/>
          </p:nvPr>
        </p:nvSpPr>
        <p:spPr>
          <a:xfrm>
            <a:off x="6244558" y="3"/>
            <a:ext cx="5947441" cy="6857998"/>
          </a:xfrm>
          <a:custGeom>
            <a:avLst/>
            <a:gdLst>
              <a:gd name="connsiteX0" fmla="*/ 4676089 w 5947441"/>
              <a:gd name="connsiteY0" fmla="*/ 6207232 h 6857998"/>
              <a:gd name="connsiteX1" fmla="*/ 4695295 w 5947441"/>
              <a:gd name="connsiteY1" fmla="*/ 6227979 h 6857998"/>
              <a:gd name="connsiteX2" fmla="*/ 4676089 w 5947441"/>
              <a:gd name="connsiteY2" fmla="*/ 6248726 h 6857998"/>
              <a:gd name="connsiteX3" fmla="*/ 4656884 w 5947441"/>
              <a:gd name="connsiteY3" fmla="*/ 6227979 h 6857998"/>
              <a:gd name="connsiteX4" fmla="*/ 4676089 w 5947441"/>
              <a:gd name="connsiteY4" fmla="*/ 6207232 h 6857998"/>
              <a:gd name="connsiteX5" fmla="*/ 5109116 w 5947441"/>
              <a:gd name="connsiteY5" fmla="*/ 6206540 h 6857998"/>
              <a:gd name="connsiteX6" fmla="*/ 5128838 w 5947441"/>
              <a:gd name="connsiteY6" fmla="*/ 6227979 h 6857998"/>
              <a:gd name="connsiteX7" fmla="*/ 5109116 w 5947441"/>
              <a:gd name="connsiteY7" fmla="*/ 6249419 h 6857998"/>
              <a:gd name="connsiteX8" fmla="*/ 5089392 w 5947441"/>
              <a:gd name="connsiteY8" fmla="*/ 6227979 h 6857998"/>
              <a:gd name="connsiteX9" fmla="*/ 5109116 w 5947441"/>
              <a:gd name="connsiteY9" fmla="*/ 6206540 h 6857998"/>
              <a:gd name="connsiteX10" fmla="*/ 4405345 w 5947441"/>
              <a:gd name="connsiteY10" fmla="*/ 6206540 h 6857998"/>
              <a:gd name="connsiteX11" fmla="*/ 4425068 w 5947441"/>
              <a:gd name="connsiteY11" fmla="*/ 6227979 h 6857998"/>
              <a:gd name="connsiteX12" fmla="*/ 4405345 w 5947441"/>
              <a:gd name="connsiteY12" fmla="*/ 6249419 h 6857998"/>
              <a:gd name="connsiteX13" fmla="*/ 4385621 w 5947441"/>
              <a:gd name="connsiteY13" fmla="*/ 6227979 h 6857998"/>
              <a:gd name="connsiteX14" fmla="*/ 4405345 w 5947441"/>
              <a:gd name="connsiteY14" fmla="*/ 6206540 h 6857998"/>
              <a:gd name="connsiteX15" fmla="*/ 5008256 w 5947441"/>
              <a:gd name="connsiteY15" fmla="*/ 6204119 h 6857998"/>
              <a:gd name="connsiteX16" fmla="*/ 5026076 w 5947441"/>
              <a:gd name="connsiteY16" fmla="*/ 6217087 h 6857998"/>
              <a:gd name="connsiteX17" fmla="*/ 4989397 w 5947441"/>
              <a:gd name="connsiteY17" fmla="*/ 6217087 h 6857998"/>
              <a:gd name="connsiteX18" fmla="*/ 5008256 w 5947441"/>
              <a:gd name="connsiteY18" fmla="*/ 6204119 h 6857998"/>
              <a:gd name="connsiteX19" fmla="*/ 4304485 w 5947441"/>
              <a:gd name="connsiteY19" fmla="*/ 6204119 h 6857998"/>
              <a:gd name="connsiteX20" fmla="*/ 4322305 w 5947441"/>
              <a:gd name="connsiteY20" fmla="*/ 6217087 h 6857998"/>
              <a:gd name="connsiteX21" fmla="*/ 4285626 w 5947441"/>
              <a:gd name="connsiteY21" fmla="*/ 6217087 h 6857998"/>
              <a:gd name="connsiteX22" fmla="*/ 4304485 w 5947441"/>
              <a:gd name="connsiteY22" fmla="*/ 6204119 h 6857998"/>
              <a:gd name="connsiteX23" fmla="*/ 4470561 w 5947441"/>
              <a:gd name="connsiteY23" fmla="*/ 6184755 h 6857998"/>
              <a:gd name="connsiteX24" fmla="*/ 4470561 w 5947441"/>
              <a:gd name="connsiteY24" fmla="*/ 6271204 h 6857998"/>
              <a:gd name="connsiteX25" fmla="*/ 4496688 w 5947441"/>
              <a:gd name="connsiteY25" fmla="*/ 6271204 h 6857998"/>
              <a:gd name="connsiteX26" fmla="*/ 4496688 w 5947441"/>
              <a:gd name="connsiteY26" fmla="*/ 6207405 h 6857998"/>
              <a:gd name="connsiteX27" fmla="*/ 4525754 w 5947441"/>
              <a:gd name="connsiteY27" fmla="*/ 6207405 h 6857998"/>
              <a:gd name="connsiteX28" fmla="*/ 4525754 w 5947441"/>
              <a:gd name="connsiteY28" fmla="*/ 6184755 h 6857998"/>
              <a:gd name="connsiteX29" fmla="*/ 5103232 w 5947441"/>
              <a:gd name="connsiteY29" fmla="*/ 6182853 h 6857998"/>
              <a:gd name="connsiteX30" fmla="*/ 5063093 w 5947441"/>
              <a:gd name="connsiteY30" fmla="*/ 6227979 h 6857998"/>
              <a:gd name="connsiteX31" fmla="*/ 5103232 w 5947441"/>
              <a:gd name="connsiteY31" fmla="*/ 6273104 h 6857998"/>
              <a:gd name="connsiteX32" fmla="*/ 5126764 w 5947441"/>
              <a:gd name="connsiteY32" fmla="*/ 6262559 h 6857998"/>
              <a:gd name="connsiteX33" fmla="*/ 5126764 w 5947441"/>
              <a:gd name="connsiteY33" fmla="*/ 6271204 h 6857998"/>
              <a:gd name="connsiteX34" fmla="*/ 5152889 w 5947441"/>
              <a:gd name="connsiteY34" fmla="*/ 6271204 h 6857998"/>
              <a:gd name="connsiteX35" fmla="*/ 5152889 w 5947441"/>
              <a:gd name="connsiteY35" fmla="*/ 6184755 h 6857998"/>
              <a:gd name="connsiteX36" fmla="*/ 5126764 w 5947441"/>
              <a:gd name="connsiteY36" fmla="*/ 6184755 h 6857998"/>
              <a:gd name="connsiteX37" fmla="*/ 5126764 w 5947441"/>
              <a:gd name="connsiteY37" fmla="*/ 6193400 h 6857998"/>
              <a:gd name="connsiteX38" fmla="*/ 5103232 w 5947441"/>
              <a:gd name="connsiteY38" fmla="*/ 6182853 h 6857998"/>
              <a:gd name="connsiteX39" fmla="*/ 5008948 w 5947441"/>
              <a:gd name="connsiteY39" fmla="*/ 6182853 h 6857998"/>
              <a:gd name="connsiteX40" fmla="*/ 4963445 w 5947441"/>
              <a:gd name="connsiteY40" fmla="*/ 6227979 h 6857998"/>
              <a:gd name="connsiteX41" fmla="*/ 5009467 w 5947441"/>
              <a:gd name="connsiteY41" fmla="*/ 6273104 h 6857998"/>
              <a:gd name="connsiteX42" fmla="*/ 5050126 w 5947441"/>
              <a:gd name="connsiteY42" fmla="*/ 6254087 h 6857998"/>
              <a:gd name="connsiteX43" fmla="*/ 5030748 w 5947441"/>
              <a:gd name="connsiteY43" fmla="*/ 6239564 h 6857998"/>
              <a:gd name="connsiteX44" fmla="*/ 5009813 w 5947441"/>
              <a:gd name="connsiteY44" fmla="*/ 6249419 h 6857998"/>
              <a:gd name="connsiteX45" fmla="*/ 4988705 w 5947441"/>
              <a:gd name="connsiteY45" fmla="*/ 6234204 h 6857998"/>
              <a:gd name="connsiteX46" fmla="*/ 5051510 w 5947441"/>
              <a:gd name="connsiteY46" fmla="*/ 6234204 h 6857998"/>
              <a:gd name="connsiteX47" fmla="*/ 5052029 w 5947441"/>
              <a:gd name="connsiteY47" fmla="*/ 6225041 h 6857998"/>
              <a:gd name="connsiteX48" fmla="*/ 5008948 w 5947441"/>
              <a:gd name="connsiteY48" fmla="*/ 6182853 h 6857998"/>
              <a:gd name="connsiteX49" fmla="*/ 4676089 w 5947441"/>
              <a:gd name="connsiteY49" fmla="*/ 6182853 h 6857998"/>
              <a:gd name="connsiteX50" fmla="*/ 4630587 w 5947441"/>
              <a:gd name="connsiteY50" fmla="*/ 6227979 h 6857998"/>
              <a:gd name="connsiteX51" fmla="*/ 4676089 w 5947441"/>
              <a:gd name="connsiteY51" fmla="*/ 6273104 h 6857998"/>
              <a:gd name="connsiteX52" fmla="*/ 4721592 w 5947441"/>
              <a:gd name="connsiteY52" fmla="*/ 6227979 h 6857998"/>
              <a:gd name="connsiteX53" fmla="*/ 4676089 w 5947441"/>
              <a:gd name="connsiteY53" fmla="*/ 6182853 h 6857998"/>
              <a:gd name="connsiteX54" fmla="*/ 4399461 w 5947441"/>
              <a:gd name="connsiteY54" fmla="*/ 6182853 h 6857998"/>
              <a:gd name="connsiteX55" fmla="*/ 4359322 w 5947441"/>
              <a:gd name="connsiteY55" fmla="*/ 6227979 h 6857998"/>
              <a:gd name="connsiteX56" fmla="*/ 4399461 w 5947441"/>
              <a:gd name="connsiteY56" fmla="*/ 6273104 h 6857998"/>
              <a:gd name="connsiteX57" fmla="*/ 4422991 w 5947441"/>
              <a:gd name="connsiteY57" fmla="*/ 6262559 h 6857998"/>
              <a:gd name="connsiteX58" fmla="*/ 4422991 w 5947441"/>
              <a:gd name="connsiteY58" fmla="*/ 6271204 h 6857998"/>
              <a:gd name="connsiteX59" fmla="*/ 4449118 w 5947441"/>
              <a:gd name="connsiteY59" fmla="*/ 6271204 h 6857998"/>
              <a:gd name="connsiteX60" fmla="*/ 4449118 w 5947441"/>
              <a:gd name="connsiteY60" fmla="*/ 6184755 h 6857998"/>
              <a:gd name="connsiteX61" fmla="*/ 4422991 w 5947441"/>
              <a:gd name="connsiteY61" fmla="*/ 6184755 h 6857998"/>
              <a:gd name="connsiteX62" fmla="*/ 4422991 w 5947441"/>
              <a:gd name="connsiteY62" fmla="*/ 6193400 h 6857998"/>
              <a:gd name="connsiteX63" fmla="*/ 4399461 w 5947441"/>
              <a:gd name="connsiteY63" fmla="*/ 6182853 h 6857998"/>
              <a:gd name="connsiteX64" fmla="*/ 4305177 w 5947441"/>
              <a:gd name="connsiteY64" fmla="*/ 6182853 h 6857998"/>
              <a:gd name="connsiteX65" fmla="*/ 4259674 w 5947441"/>
              <a:gd name="connsiteY65" fmla="*/ 6227979 h 6857998"/>
              <a:gd name="connsiteX66" fmla="*/ 4305696 w 5947441"/>
              <a:gd name="connsiteY66" fmla="*/ 6273104 h 6857998"/>
              <a:gd name="connsiteX67" fmla="*/ 4346353 w 5947441"/>
              <a:gd name="connsiteY67" fmla="*/ 6254087 h 6857998"/>
              <a:gd name="connsiteX68" fmla="*/ 4326977 w 5947441"/>
              <a:gd name="connsiteY68" fmla="*/ 6239564 h 6857998"/>
              <a:gd name="connsiteX69" fmla="*/ 4306042 w 5947441"/>
              <a:gd name="connsiteY69" fmla="*/ 6249419 h 6857998"/>
              <a:gd name="connsiteX70" fmla="*/ 4284934 w 5947441"/>
              <a:gd name="connsiteY70" fmla="*/ 6234204 h 6857998"/>
              <a:gd name="connsiteX71" fmla="*/ 4347739 w 5947441"/>
              <a:gd name="connsiteY71" fmla="*/ 6234204 h 6857998"/>
              <a:gd name="connsiteX72" fmla="*/ 4348258 w 5947441"/>
              <a:gd name="connsiteY72" fmla="*/ 6225041 h 6857998"/>
              <a:gd name="connsiteX73" fmla="*/ 4305177 w 5947441"/>
              <a:gd name="connsiteY73" fmla="*/ 6182853 h 6857998"/>
              <a:gd name="connsiteX74" fmla="*/ 5248035 w 5947441"/>
              <a:gd name="connsiteY74" fmla="*/ 6157264 h 6857998"/>
              <a:gd name="connsiteX75" fmla="*/ 5221908 w 5947441"/>
              <a:gd name="connsiteY75" fmla="*/ 6184755 h 6857998"/>
              <a:gd name="connsiteX76" fmla="*/ 5221908 w 5947441"/>
              <a:gd name="connsiteY76" fmla="*/ 6271204 h 6857998"/>
              <a:gd name="connsiteX77" fmla="*/ 5248035 w 5947441"/>
              <a:gd name="connsiteY77" fmla="*/ 6271204 h 6857998"/>
              <a:gd name="connsiteX78" fmla="*/ 5248035 w 5947441"/>
              <a:gd name="connsiteY78" fmla="*/ 6207405 h 6857998"/>
              <a:gd name="connsiteX79" fmla="*/ 5272256 w 5947441"/>
              <a:gd name="connsiteY79" fmla="*/ 6207405 h 6857998"/>
              <a:gd name="connsiteX80" fmla="*/ 5272256 w 5947441"/>
              <a:gd name="connsiteY80" fmla="*/ 6184755 h 6857998"/>
              <a:gd name="connsiteX81" fmla="*/ 5248035 w 5947441"/>
              <a:gd name="connsiteY81" fmla="*/ 6184755 h 6857998"/>
              <a:gd name="connsiteX82" fmla="*/ 4566234 w 5947441"/>
              <a:gd name="connsiteY82" fmla="*/ 6157264 h 6857998"/>
              <a:gd name="connsiteX83" fmla="*/ 4540108 w 5947441"/>
              <a:gd name="connsiteY83" fmla="*/ 6184755 h 6857998"/>
              <a:gd name="connsiteX84" fmla="*/ 4540108 w 5947441"/>
              <a:gd name="connsiteY84" fmla="*/ 6271204 h 6857998"/>
              <a:gd name="connsiteX85" fmla="*/ 4566234 w 5947441"/>
              <a:gd name="connsiteY85" fmla="*/ 6271204 h 6857998"/>
              <a:gd name="connsiteX86" fmla="*/ 4566234 w 5947441"/>
              <a:gd name="connsiteY86" fmla="*/ 6207405 h 6857998"/>
              <a:gd name="connsiteX87" fmla="*/ 4590455 w 5947441"/>
              <a:gd name="connsiteY87" fmla="*/ 6207405 h 6857998"/>
              <a:gd name="connsiteX88" fmla="*/ 4590455 w 5947441"/>
              <a:gd name="connsiteY88" fmla="*/ 6184755 h 6857998"/>
              <a:gd name="connsiteX89" fmla="*/ 4566234 w 5947441"/>
              <a:gd name="connsiteY89" fmla="*/ 6184755 h 6857998"/>
              <a:gd name="connsiteX90" fmla="*/ 4843725 w 5947441"/>
              <a:gd name="connsiteY90" fmla="*/ 6148448 h 6857998"/>
              <a:gd name="connsiteX91" fmla="*/ 4843725 w 5947441"/>
              <a:gd name="connsiteY91" fmla="*/ 6271204 h 6857998"/>
              <a:gd name="connsiteX92" fmla="*/ 4871235 w 5947441"/>
              <a:gd name="connsiteY92" fmla="*/ 6271204 h 6857998"/>
              <a:gd name="connsiteX93" fmla="*/ 4871235 w 5947441"/>
              <a:gd name="connsiteY93" fmla="*/ 6222620 h 6857998"/>
              <a:gd name="connsiteX94" fmla="*/ 4920717 w 5947441"/>
              <a:gd name="connsiteY94" fmla="*/ 6222620 h 6857998"/>
              <a:gd name="connsiteX95" fmla="*/ 4920717 w 5947441"/>
              <a:gd name="connsiteY95" fmla="*/ 6271204 h 6857998"/>
              <a:gd name="connsiteX96" fmla="*/ 4948226 w 5947441"/>
              <a:gd name="connsiteY96" fmla="*/ 6271204 h 6857998"/>
              <a:gd name="connsiteX97" fmla="*/ 4948226 w 5947441"/>
              <a:gd name="connsiteY97" fmla="*/ 6148448 h 6857998"/>
              <a:gd name="connsiteX98" fmla="*/ 4920717 w 5947441"/>
              <a:gd name="connsiteY98" fmla="*/ 6148448 h 6857998"/>
              <a:gd name="connsiteX99" fmla="*/ 4920717 w 5947441"/>
              <a:gd name="connsiteY99" fmla="*/ 6196512 h 6857998"/>
              <a:gd name="connsiteX100" fmla="*/ 4871235 w 5947441"/>
              <a:gd name="connsiteY100" fmla="*/ 6196512 h 6857998"/>
              <a:gd name="connsiteX101" fmla="*/ 4871235 w 5947441"/>
              <a:gd name="connsiteY101" fmla="*/ 6148448 h 6857998"/>
              <a:gd name="connsiteX102" fmla="*/ 4139954 w 5947441"/>
              <a:gd name="connsiteY102" fmla="*/ 6148448 h 6857998"/>
              <a:gd name="connsiteX103" fmla="*/ 4139954 w 5947441"/>
              <a:gd name="connsiteY103" fmla="*/ 6232862 h 6857998"/>
              <a:gd name="connsiteX104" fmla="*/ 4167462 w 5947441"/>
              <a:gd name="connsiteY104" fmla="*/ 6260352 h 6857998"/>
              <a:gd name="connsiteX105" fmla="*/ 4167462 w 5947441"/>
              <a:gd name="connsiteY105" fmla="*/ 6222620 h 6857998"/>
              <a:gd name="connsiteX106" fmla="*/ 4216946 w 5947441"/>
              <a:gd name="connsiteY106" fmla="*/ 6222620 h 6857998"/>
              <a:gd name="connsiteX107" fmla="*/ 4216946 w 5947441"/>
              <a:gd name="connsiteY107" fmla="*/ 6271204 h 6857998"/>
              <a:gd name="connsiteX108" fmla="*/ 4244455 w 5947441"/>
              <a:gd name="connsiteY108" fmla="*/ 6271204 h 6857998"/>
              <a:gd name="connsiteX109" fmla="*/ 4244455 w 5947441"/>
              <a:gd name="connsiteY109" fmla="*/ 6148448 h 6857998"/>
              <a:gd name="connsiteX110" fmla="*/ 4216946 w 5947441"/>
              <a:gd name="connsiteY110" fmla="*/ 6148448 h 6857998"/>
              <a:gd name="connsiteX111" fmla="*/ 4216946 w 5947441"/>
              <a:gd name="connsiteY111" fmla="*/ 6196512 h 6857998"/>
              <a:gd name="connsiteX112" fmla="*/ 4167462 w 5947441"/>
              <a:gd name="connsiteY112" fmla="*/ 6196512 h 6857998"/>
              <a:gd name="connsiteX113" fmla="*/ 4167462 w 5947441"/>
              <a:gd name="connsiteY113" fmla="*/ 6148448 h 6857998"/>
              <a:gd name="connsiteX114" fmla="*/ 5285572 w 5947441"/>
              <a:gd name="connsiteY114" fmla="*/ 6141531 h 6857998"/>
              <a:gd name="connsiteX115" fmla="*/ 5285572 w 5947441"/>
              <a:gd name="connsiteY115" fmla="*/ 6271204 h 6857998"/>
              <a:gd name="connsiteX116" fmla="*/ 5311699 w 5947441"/>
              <a:gd name="connsiteY116" fmla="*/ 6271204 h 6857998"/>
              <a:gd name="connsiteX117" fmla="*/ 5311699 w 5947441"/>
              <a:gd name="connsiteY117" fmla="*/ 6229189 h 6857998"/>
              <a:gd name="connsiteX118" fmla="*/ 5329173 w 5947441"/>
              <a:gd name="connsiteY118" fmla="*/ 6206540 h 6857998"/>
              <a:gd name="connsiteX119" fmla="*/ 5343186 w 5947441"/>
              <a:gd name="connsiteY119" fmla="*/ 6225731 h 6857998"/>
              <a:gd name="connsiteX120" fmla="*/ 5343186 w 5947441"/>
              <a:gd name="connsiteY120" fmla="*/ 6271204 h 6857998"/>
              <a:gd name="connsiteX121" fmla="*/ 5369312 w 5947441"/>
              <a:gd name="connsiteY121" fmla="*/ 6271204 h 6857998"/>
              <a:gd name="connsiteX122" fmla="*/ 5369312 w 5947441"/>
              <a:gd name="connsiteY122" fmla="*/ 6221237 h 6857998"/>
              <a:gd name="connsiteX123" fmla="*/ 5335747 w 5947441"/>
              <a:gd name="connsiteY123" fmla="*/ 6182853 h 6857998"/>
              <a:gd name="connsiteX124" fmla="*/ 5311699 w 5947441"/>
              <a:gd name="connsiteY124" fmla="*/ 6193574 h 6857998"/>
              <a:gd name="connsiteX125" fmla="*/ 5311699 w 5947441"/>
              <a:gd name="connsiteY125" fmla="*/ 6141531 h 6857998"/>
              <a:gd name="connsiteX126" fmla="*/ 5174334 w 5947441"/>
              <a:gd name="connsiteY126" fmla="*/ 6141531 h 6857998"/>
              <a:gd name="connsiteX127" fmla="*/ 5174334 w 5947441"/>
              <a:gd name="connsiteY127" fmla="*/ 6271204 h 6857998"/>
              <a:gd name="connsiteX128" fmla="*/ 5200460 w 5947441"/>
              <a:gd name="connsiteY128" fmla="*/ 6271204 h 6857998"/>
              <a:gd name="connsiteX129" fmla="*/ 5200460 w 5947441"/>
              <a:gd name="connsiteY129" fmla="*/ 6141531 h 6857998"/>
              <a:gd name="connsiteX130" fmla="*/ 4780585 w 5947441"/>
              <a:gd name="connsiteY130" fmla="*/ 6140494 h 6857998"/>
              <a:gd name="connsiteX131" fmla="*/ 4745808 w 5947441"/>
              <a:gd name="connsiteY131" fmla="*/ 6175247 h 6857998"/>
              <a:gd name="connsiteX132" fmla="*/ 4745808 w 5947441"/>
              <a:gd name="connsiteY132" fmla="*/ 6184755 h 6857998"/>
              <a:gd name="connsiteX133" fmla="*/ 4728508 w 5947441"/>
              <a:gd name="connsiteY133" fmla="*/ 6184755 h 6857998"/>
              <a:gd name="connsiteX134" fmla="*/ 4728508 w 5947441"/>
              <a:gd name="connsiteY134" fmla="*/ 6207405 h 6857998"/>
              <a:gd name="connsiteX135" fmla="*/ 4745808 w 5947441"/>
              <a:gd name="connsiteY135" fmla="*/ 6207405 h 6857998"/>
              <a:gd name="connsiteX136" fmla="*/ 4745808 w 5947441"/>
              <a:gd name="connsiteY136" fmla="*/ 6271204 h 6857998"/>
              <a:gd name="connsiteX137" fmla="*/ 4771934 w 5947441"/>
              <a:gd name="connsiteY137" fmla="*/ 6271204 h 6857998"/>
              <a:gd name="connsiteX138" fmla="*/ 4771934 w 5947441"/>
              <a:gd name="connsiteY138" fmla="*/ 6207405 h 6857998"/>
              <a:gd name="connsiteX139" fmla="*/ 4796157 w 5947441"/>
              <a:gd name="connsiteY139" fmla="*/ 6207405 h 6857998"/>
              <a:gd name="connsiteX140" fmla="*/ 4796157 w 5947441"/>
              <a:gd name="connsiteY140" fmla="*/ 6184755 h 6857998"/>
              <a:gd name="connsiteX141" fmla="*/ 4771934 w 5947441"/>
              <a:gd name="connsiteY141" fmla="*/ 6184755 h 6857998"/>
              <a:gd name="connsiteX142" fmla="*/ 4771934 w 5947441"/>
              <a:gd name="connsiteY142" fmla="*/ 6178531 h 6857998"/>
              <a:gd name="connsiteX143" fmla="*/ 4786814 w 5947441"/>
              <a:gd name="connsiteY143" fmla="*/ 6163835 h 6857998"/>
              <a:gd name="connsiteX144" fmla="*/ 4796157 w 5947441"/>
              <a:gd name="connsiteY144" fmla="*/ 6165390 h 6857998"/>
              <a:gd name="connsiteX145" fmla="*/ 4796157 w 5947441"/>
              <a:gd name="connsiteY145" fmla="*/ 6142395 h 6857998"/>
              <a:gd name="connsiteX146" fmla="*/ 4780585 w 5947441"/>
              <a:gd name="connsiteY146" fmla="*/ 6140494 h 6857998"/>
              <a:gd name="connsiteX147" fmla="*/ 4314342 w 5947441"/>
              <a:gd name="connsiteY147" fmla="*/ 5948845 h 6857998"/>
              <a:gd name="connsiteX148" fmla="*/ 4353322 w 5947441"/>
              <a:gd name="connsiteY148" fmla="*/ 5975334 h 6857998"/>
              <a:gd name="connsiteX149" fmla="*/ 4273784 w 5947441"/>
              <a:gd name="connsiteY149" fmla="*/ 5975334 h 6857998"/>
              <a:gd name="connsiteX150" fmla="*/ 4314342 w 5947441"/>
              <a:gd name="connsiteY150" fmla="*/ 5948845 h 6857998"/>
              <a:gd name="connsiteX151" fmla="*/ 4314018 w 5947441"/>
              <a:gd name="connsiteY151" fmla="*/ 5896018 h 6857998"/>
              <a:gd name="connsiteX152" fmla="*/ 4213801 w 5947441"/>
              <a:gd name="connsiteY152" fmla="*/ 5997928 h 6857998"/>
              <a:gd name="connsiteX153" fmla="*/ 4314342 w 5947441"/>
              <a:gd name="connsiteY153" fmla="*/ 6098568 h 6857998"/>
              <a:gd name="connsiteX154" fmla="*/ 4390755 w 5947441"/>
              <a:gd name="connsiteY154" fmla="*/ 6069221 h 6857998"/>
              <a:gd name="connsiteX155" fmla="*/ 4353830 w 5947441"/>
              <a:gd name="connsiteY155" fmla="*/ 6032391 h 6857998"/>
              <a:gd name="connsiteX156" fmla="*/ 4316581 w 5947441"/>
              <a:gd name="connsiteY156" fmla="*/ 6045670 h 6857998"/>
              <a:gd name="connsiteX157" fmla="*/ 4281813 w 5947441"/>
              <a:gd name="connsiteY157" fmla="*/ 6030954 h 6857998"/>
              <a:gd name="connsiteX158" fmla="*/ 4276855 w 5947441"/>
              <a:gd name="connsiteY158" fmla="*/ 6024995 h 6857998"/>
              <a:gd name="connsiteX159" fmla="*/ 4275790 w 5947441"/>
              <a:gd name="connsiteY159" fmla="*/ 6023401 h 6857998"/>
              <a:gd name="connsiteX160" fmla="*/ 4275769 w 5947441"/>
              <a:gd name="connsiteY160" fmla="*/ 6023401 h 6857998"/>
              <a:gd name="connsiteX161" fmla="*/ 4271627 w 5947441"/>
              <a:gd name="connsiteY161" fmla="*/ 6015789 h 6857998"/>
              <a:gd name="connsiteX162" fmla="*/ 4410369 w 5947441"/>
              <a:gd name="connsiteY162" fmla="*/ 6015789 h 6857998"/>
              <a:gd name="connsiteX163" fmla="*/ 4412656 w 5947441"/>
              <a:gd name="connsiteY163" fmla="*/ 5995059 h 6857998"/>
              <a:gd name="connsiteX164" fmla="*/ 4314018 w 5947441"/>
              <a:gd name="connsiteY164" fmla="*/ 5896018 h 6857998"/>
              <a:gd name="connsiteX165" fmla="*/ 4110956 w 5947441"/>
              <a:gd name="connsiteY165" fmla="*/ 5896007 h 6857998"/>
              <a:gd name="connsiteX166" fmla="*/ 4110956 w 5947441"/>
              <a:gd name="connsiteY166" fmla="*/ 6096898 h 6857998"/>
              <a:gd name="connsiteX167" fmla="*/ 4167419 w 5947441"/>
              <a:gd name="connsiteY167" fmla="*/ 6096898 h 6857998"/>
              <a:gd name="connsiteX168" fmla="*/ 4167419 w 5947441"/>
              <a:gd name="connsiteY168" fmla="*/ 5947559 h 6857998"/>
              <a:gd name="connsiteX169" fmla="*/ 4212811 w 5947441"/>
              <a:gd name="connsiteY169" fmla="*/ 5947559 h 6857998"/>
              <a:gd name="connsiteX170" fmla="*/ 4212811 w 5947441"/>
              <a:gd name="connsiteY170" fmla="*/ 5896007 h 6857998"/>
              <a:gd name="connsiteX171" fmla="*/ 4529422 w 5947441"/>
              <a:gd name="connsiteY171" fmla="*/ 5895985 h 6857998"/>
              <a:gd name="connsiteX172" fmla="*/ 4528470 w 5947441"/>
              <a:gd name="connsiteY172" fmla="*/ 5896050 h 6857998"/>
              <a:gd name="connsiteX173" fmla="*/ 4428372 w 5947441"/>
              <a:gd name="connsiteY173" fmla="*/ 5996690 h 6857998"/>
              <a:gd name="connsiteX174" fmla="*/ 4529811 w 5947441"/>
              <a:gd name="connsiteY174" fmla="*/ 6098600 h 6857998"/>
              <a:gd name="connsiteX175" fmla="*/ 4609549 w 5947441"/>
              <a:gd name="connsiteY175" fmla="*/ 6061403 h 6857998"/>
              <a:gd name="connsiteX176" fmla="*/ 4613733 w 5947441"/>
              <a:gd name="connsiteY176" fmla="*/ 6056497 h 6857998"/>
              <a:gd name="connsiteX177" fmla="*/ 4577722 w 5947441"/>
              <a:gd name="connsiteY177" fmla="*/ 6020456 h 6857998"/>
              <a:gd name="connsiteX178" fmla="*/ 4572624 w 5947441"/>
              <a:gd name="connsiteY178" fmla="*/ 6025594 h 6857998"/>
              <a:gd name="connsiteX179" fmla="*/ 4530741 w 5947441"/>
              <a:gd name="connsiteY179" fmla="*/ 6045762 h 6857998"/>
              <a:gd name="connsiteX180" fmla="*/ 4484846 w 5947441"/>
              <a:gd name="connsiteY180" fmla="*/ 5997333 h 6857998"/>
              <a:gd name="connsiteX181" fmla="*/ 4529611 w 5947441"/>
              <a:gd name="connsiteY181" fmla="*/ 5948855 h 6857998"/>
              <a:gd name="connsiteX182" fmla="*/ 4530573 w 5947441"/>
              <a:gd name="connsiteY182" fmla="*/ 5948790 h 6857998"/>
              <a:gd name="connsiteX183" fmla="*/ 4572602 w 5947441"/>
              <a:gd name="connsiteY183" fmla="*/ 5968948 h 6857998"/>
              <a:gd name="connsiteX184" fmla="*/ 4577700 w 5947441"/>
              <a:gd name="connsiteY184" fmla="*/ 5974064 h 6857998"/>
              <a:gd name="connsiteX185" fmla="*/ 4613733 w 5947441"/>
              <a:gd name="connsiteY185" fmla="*/ 5938061 h 6857998"/>
              <a:gd name="connsiteX186" fmla="*/ 4609538 w 5947441"/>
              <a:gd name="connsiteY186" fmla="*/ 5933145 h 6857998"/>
              <a:gd name="connsiteX187" fmla="*/ 4529422 w 5947441"/>
              <a:gd name="connsiteY187" fmla="*/ 5895985 h 6857998"/>
              <a:gd name="connsiteX188" fmla="*/ 3912831 w 5947441"/>
              <a:gd name="connsiteY188" fmla="*/ 5863028 h 6857998"/>
              <a:gd name="connsiteX189" fmla="*/ 3912831 w 5947441"/>
              <a:gd name="connsiteY189" fmla="*/ 5990061 h 6857998"/>
              <a:gd name="connsiteX190" fmla="*/ 3911858 w 5947441"/>
              <a:gd name="connsiteY190" fmla="*/ 6004922 h 6857998"/>
              <a:gd name="connsiteX191" fmla="*/ 3911858 w 5947441"/>
              <a:gd name="connsiteY191" fmla="*/ 6004922 h 6857998"/>
              <a:gd name="connsiteX192" fmla="*/ 3911858 w 5947441"/>
              <a:gd name="connsiteY192" fmla="*/ 6004923 h 6857998"/>
              <a:gd name="connsiteX193" fmla="*/ 3769924 w 5947441"/>
              <a:gd name="connsiteY193" fmla="*/ 5863087 h 6857998"/>
              <a:gd name="connsiteX194" fmla="*/ 3769924 w 5947441"/>
              <a:gd name="connsiteY194" fmla="*/ 5990060 h 6857998"/>
              <a:gd name="connsiteX195" fmla="*/ 3787489 w 5947441"/>
              <a:gd name="connsiteY195" fmla="*/ 6058013 h 6857998"/>
              <a:gd name="connsiteX196" fmla="*/ 3871536 w 5947441"/>
              <a:gd name="connsiteY196" fmla="*/ 6098501 h 6857998"/>
              <a:gd name="connsiteX197" fmla="*/ 3955583 w 5947441"/>
              <a:gd name="connsiteY197" fmla="*/ 6058013 h 6857998"/>
              <a:gd name="connsiteX198" fmla="*/ 3959335 w 5947441"/>
              <a:gd name="connsiteY198" fmla="*/ 6052367 h 6857998"/>
              <a:gd name="connsiteX199" fmla="*/ 3959334 w 5947441"/>
              <a:gd name="connsiteY199" fmla="*/ 6052365 h 6857998"/>
              <a:gd name="connsiteX200" fmla="*/ 3959336 w 5947441"/>
              <a:gd name="connsiteY200" fmla="*/ 6052367 h 6857998"/>
              <a:gd name="connsiteX201" fmla="*/ 3973148 w 5947441"/>
              <a:gd name="connsiteY201" fmla="*/ 5990060 h 6857998"/>
              <a:gd name="connsiteX202" fmla="*/ 3973148 w 5947441"/>
              <a:gd name="connsiteY202" fmla="*/ 5863028 h 6857998"/>
              <a:gd name="connsiteX203" fmla="*/ 4056543 w 5947441"/>
              <a:gd name="connsiteY203" fmla="*/ 5839377 h 6857998"/>
              <a:gd name="connsiteX204" fmla="*/ 4000068 w 5947441"/>
              <a:gd name="connsiteY204" fmla="*/ 5896018 h 6857998"/>
              <a:gd name="connsiteX205" fmla="*/ 4000068 w 5947441"/>
              <a:gd name="connsiteY205" fmla="*/ 6096899 h 6857998"/>
              <a:gd name="connsiteX206" fmla="*/ 4056543 w 5947441"/>
              <a:gd name="connsiteY206" fmla="*/ 6096899 h 6857998"/>
              <a:gd name="connsiteX207" fmla="*/ 4056543 w 5947441"/>
              <a:gd name="connsiteY207" fmla="*/ 5947559 h 6857998"/>
              <a:gd name="connsiteX208" fmla="*/ 4093208 w 5947441"/>
              <a:gd name="connsiteY208" fmla="*/ 5947559 h 6857998"/>
              <a:gd name="connsiteX209" fmla="*/ 4093208 w 5947441"/>
              <a:gd name="connsiteY209" fmla="*/ 5896008 h 6857998"/>
              <a:gd name="connsiteX210" fmla="*/ 4056543 w 5947441"/>
              <a:gd name="connsiteY210" fmla="*/ 5896008 h 6857998"/>
              <a:gd name="connsiteX211" fmla="*/ 4690438 w 5947441"/>
              <a:gd name="connsiteY211" fmla="*/ 5839296 h 6857998"/>
              <a:gd name="connsiteX212" fmla="*/ 4633974 w 5947441"/>
              <a:gd name="connsiteY212" fmla="*/ 5896019 h 6857998"/>
              <a:gd name="connsiteX213" fmla="*/ 4633974 w 5947441"/>
              <a:gd name="connsiteY213" fmla="*/ 6096898 h 6857998"/>
              <a:gd name="connsiteX214" fmla="*/ 4690438 w 5947441"/>
              <a:gd name="connsiteY214" fmla="*/ 6096898 h 6857998"/>
              <a:gd name="connsiteX215" fmla="*/ 4690438 w 5947441"/>
              <a:gd name="connsiteY215" fmla="*/ 5996167 h 6857998"/>
              <a:gd name="connsiteX216" fmla="*/ 4719194 w 5947441"/>
              <a:gd name="connsiteY216" fmla="*/ 5948996 h 6857998"/>
              <a:gd name="connsiteX217" fmla="*/ 4748594 w 5947441"/>
              <a:gd name="connsiteY217" fmla="*/ 5995529 h 6857998"/>
              <a:gd name="connsiteX218" fmla="*/ 4748594 w 5947441"/>
              <a:gd name="connsiteY218" fmla="*/ 6096898 h 6857998"/>
              <a:gd name="connsiteX219" fmla="*/ 4805057 w 5947441"/>
              <a:gd name="connsiteY219" fmla="*/ 6096898 h 6857998"/>
              <a:gd name="connsiteX220" fmla="*/ 4805057 w 5947441"/>
              <a:gd name="connsiteY220" fmla="*/ 5986296 h 6857998"/>
              <a:gd name="connsiteX221" fmla="*/ 4789514 w 5947441"/>
              <a:gd name="connsiteY221" fmla="*/ 5925917 h 6857998"/>
              <a:gd name="connsiteX222" fmla="*/ 4729407 w 5947441"/>
              <a:gd name="connsiteY222" fmla="*/ 5896164 h 6857998"/>
              <a:gd name="connsiteX223" fmla="*/ 4690438 w 5947441"/>
              <a:gd name="connsiteY223" fmla="*/ 5907142 h 6857998"/>
              <a:gd name="connsiteX224" fmla="*/ 4889213 w 5947441"/>
              <a:gd name="connsiteY224" fmla="*/ 5839295 h 6857998"/>
              <a:gd name="connsiteX225" fmla="*/ 4832749 w 5947441"/>
              <a:gd name="connsiteY225" fmla="*/ 5896018 h 6857998"/>
              <a:gd name="connsiteX226" fmla="*/ 4832749 w 5947441"/>
              <a:gd name="connsiteY226" fmla="*/ 6096897 h 6857998"/>
              <a:gd name="connsiteX227" fmla="*/ 4889213 w 5947441"/>
              <a:gd name="connsiteY227" fmla="*/ 6096897 h 6857998"/>
              <a:gd name="connsiteX228" fmla="*/ 4889213 w 5947441"/>
              <a:gd name="connsiteY228" fmla="*/ 5947483 h 6857998"/>
              <a:gd name="connsiteX229" fmla="*/ 4925889 w 5947441"/>
              <a:gd name="connsiteY229" fmla="*/ 5947483 h 6857998"/>
              <a:gd name="connsiteX230" fmla="*/ 4925889 w 5947441"/>
              <a:gd name="connsiteY230" fmla="*/ 5895931 h 6857998"/>
              <a:gd name="connsiteX231" fmla="*/ 4889213 w 5947441"/>
              <a:gd name="connsiteY231" fmla="*/ 5895931 h 6857998"/>
              <a:gd name="connsiteX232" fmla="*/ 0 w 5947441"/>
              <a:gd name="connsiteY232" fmla="*/ 0 h 6857998"/>
              <a:gd name="connsiteX233" fmla="*/ 5947441 w 5947441"/>
              <a:gd name="connsiteY233" fmla="*/ 0 h 6857998"/>
              <a:gd name="connsiteX234" fmla="*/ 5947441 w 5947441"/>
              <a:gd name="connsiteY234" fmla="*/ 6857998 h 6857998"/>
              <a:gd name="connsiteX235" fmla="*/ 0 w 5947441"/>
              <a:gd name="connsiteY23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5947441" h="6857998">
                <a:moveTo>
                  <a:pt x="4676089" y="6207232"/>
                </a:moveTo>
                <a:cubicBezTo>
                  <a:pt x="4686990" y="6207232"/>
                  <a:pt x="4695295" y="6215704"/>
                  <a:pt x="4695295" y="6227979"/>
                </a:cubicBezTo>
                <a:cubicBezTo>
                  <a:pt x="4695295" y="6240255"/>
                  <a:pt x="4686990" y="6248726"/>
                  <a:pt x="4676089" y="6248726"/>
                </a:cubicBezTo>
                <a:cubicBezTo>
                  <a:pt x="4665190" y="6248726"/>
                  <a:pt x="4656884" y="6240255"/>
                  <a:pt x="4656884" y="6227979"/>
                </a:cubicBezTo>
                <a:cubicBezTo>
                  <a:pt x="4656884" y="6215704"/>
                  <a:pt x="4665190" y="6207232"/>
                  <a:pt x="4676089" y="6207232"/>
                </a:cubicBezTo>
                <a:close/>
                <a:moveTo>
                  <a:pt x="5109116" y="6206540"/>
                </a:moveTo>
                <a:cubicBezTo>
                  <a:pt x="5120881" y="6206540"/>
                  <a:pt x="5128838" y="6215531"/>
                  <a:pt x="5128838" y="6227979"/>
                </a:cubicBezTo>
                <a:cubicBezTo>
                  <a:pt x="5128838" y="6240428"/>
                  <a:pt x="5120881" y="6249419"/>
                  <a:pt x="5109116" y="6249419"/>
                </a:cubicBezTo>
                <a:cubicBezTo>
                  <a:pt x="5097350" y="6249419"/>
                  <a:pt x="5089392" y="6240428"/>
                  <a:pt x="5089392" y="6227979"/>
                </a:cubicBezTo>
                <a:cubicBezTo>
                  <a:pt x="5089392" y="6215531"/>
                  <a:pt x="5097350" y="6206540"/>
                  <a:pt x="5109116" y="6206540"/>
                </a:cubicBezTo>
                <a:close/>
                <a:moveTo>
                  <a:pt x="4405345" y="6206540"/>
                </a:moveTo>
                <a:cubicBezTo>
                  <a:pt x="4417110" y="6206540"/>
                  <a:pt x="4425068" y="6215531"/>
                  <a:pt x="4425068" y="6227979"/>
                </a:cubicBezTo>
                <a:cubicBezTo>
                  <a:pt x="4425068" y="6240428"/>
                  <a:pt x="4417110" y="6249419"/>
                  <a:pt x="4405345" y="6249419"/>
                </a:cubicBezTo>
                <a:cubicBezTo>
                  <a:pt x="4393579" y="6249419"/>
                  <a:pt x="4385621" y="6240428"/>
                  <a:pt x="4385621" y="6227979"/>
                </a:cubicBezTo>
                <a:cubicBezTo>
                  <a:pt x="4385621" y="6215531"/>
                  <a:pt x="4393579" y="6206540"/>
                  <a:pt x="4405345" y="6206540"/>
                </a:cubicBezTo>
                <a:close/>
                <a:moveTo>
                  <a:pt x="5008256" y="6204119"/>
                </a:moveTo>
                <a:cubicBezTo>
                  <a:pt x="5015868" y="6204119"/>
                  <a:pt x="5023828" y="6207923"/>
                  <a:pt x="5026076" y="6217087"/>
                </a:cubicBezTo>
                <a:lnTo>
                  <a:pt x="4989397" y="6217087"/>
                </a:lnTo>
                <a:cubicBezTo>
                  <a:pt x="4991646" y="6207577"/>
                  <a:pt x="5000643" y="6204119"/>
                  <a:pt x="5008256" y="6204119"/>
                </a:cubicBezTo>
                <a:close/>
                <a:moveTo>
                  <a:pt x="4304485" y="6204119"/>
                </a:moveTo>
                <a:cubicBezTo>
                  <a:pt x="4312097" y="6204119"/>
                  <a:pt x="4320057" y="6207923"/>
                  <a:pt x="4322305" y="6217087"/>
                </a:cubicBezTo>
                <a:lnTo>
                  <a:pt x="4285626" y="6217087"/>
                </a:lnTo>
                <a:cubicBezTo>
                  <a:pt x="4287875" y="6207577"/>
                  <a:pt x="4296872" y="6204119"/>
                  <a:pt x="4304485" y="6204119"/>
                </a:cubicBezTo>
                <a:close/>
                <a:moveTo>
                  <a:pt x="4470561" y="6184755"/>
                </a:moveTo>
                <a:lnTo>
                  <a:pt x="4470561" y="6271204"/>
                </a:lnTo>
                <a:lnTo>
                  <a:pt x="4496688" y="6271204"/>
                </a:lnTo>
                <a:lnTo>
                  <a:pt x="4496688" y="6207405"/>
                </a:lnTo>
                <a:lnTo>
                  <a:pt x="4525754" y="6207405"/>
                </a:lnTo>
                <a:lnTo>
                  <a:pt x="4525754" y="6184755"/>
                </a:lnTo>
                <a:close/>
                <a:moveTo>
                  <a:pt x="5103232" y="6182853"/>
                </a:moveTo>
                <a:cubicBezTo>
                  <a:pt x="5080568" y="6182853"/>
                  <a:pt x="5063093" y="6203429"/>
                  <a:pt x="5063093" y="6227979"/>
                </a:cubicBezTo>
                <a:cubicBezTo>
                  <a:pt x="5063093" y="6252531"/>
                  <a:pt x="5080568" y="6273104"/>
                  <a:pt x="5103232" y="6273104"/>
                </a:cubicBezTo>
                <a:cubicBezTo>
                  <a:pt x="5114824" y="6273104"/>
                  <a:pt x="5123302" y="6267228"/>
                  <a:pt x="5126764" y="6262559"/>
                </a:cubicBezTo>
                <a:lnTo>
                  <a:pt x="5126764" y="6271204"/>
                </a:lnTo>
                <a:lnTo>
                  <a:pt x="5152889" y="6271204"/>
                </a:lnTo>
                <a:lnTo>
                  <a:pt x="5152889" y="6184755"/>
                </a:lnTo>
                <a:lnTo>
                  <a:pt x="5126764" y="6184755"/>
                </a:lnTo>
                <a:lnTo>
                  <a:pt x="5126764" y="6193400"/>
                </a:lnTo>
                <a:cubicBezTo>
                  <a:pt x="5123302" y="6188732"/>
                  <a:pt x="5114824" y="6182853"/>
                  <a:pt x="5103232" y="6182853"/>
                </a:cubicBezTo>
                <a:close/>
                <a:moveTo>
                  <a:pt x="5008948" y="6182853"/>
                </a:moveTo>
                <a:cubicBezTo>
                  <a:pt x="4982649" y="6182853"/>
                  <a:pt x="4963445" y="6202218"/>
                  <a:pt x="4963445" y="6227979"/>
                </a:cubicBezTo>
                <a:cubicBezTo>
                  <a:pt x="4963445" y="6255816"/>
                  <a:pt x="4984033" y="6273104"/>
                  <a:pt x="5009467" y="6273104"/>
                </a:cubicBezTo>
                <a:cubicBezTo>
                  <a:pt x="5027634" y="6273104"/>
                  <a:pt x="5041993" y="6265498"/>
                  <a:pt x="5050126" y="6254087"/>
                </a:cubicBezTo>
                <a:lnTo>
                  <a:pt x="5030748" y="6239564"/>
                </a:lnTo>
                <a:cubicBezTo>
                  <a:pt x="5027460" y="6244577"/>
                  <a:pt x="5019847" y="6249419"/>
                  <a:pt x="5009813" y="6249419"/>
                </a:cubicBezTo>
                <a:cubicBezTo>
                  <a:pt x="4999951" y="6249419"/>
                  <a:pt x="4990262" y="6244577"/>
                  <a:pt x="4988705" y="6234204"/>
                </a:cubicBezTo>
                <a:lnTo>
                  <a:pt x="5051510" y="6234204"/>
                </a:lnTo>
                <a:cubicBezTo>
                  <a:pt x="5052029" y="6230053"/>
                  <a:pt x="5052029" y="6227288"/>
                  <a:pt x="5052029" y="6225041"/>
                </a:cubicBezTo>
                <a:cubicBezTo>
                  <a:pt x="5052029" y="6197031"/>
                  <a:pt x="5031785" y="6182853"/>
                  <a:pt x="5008948" y="6182853"/>
                </a:cubicBezTo>
                <a:close/>
                <a:moveTo>
                  <a:pt x="4676089" y="6182853"/>
                </a:moveTo>
                <a:cubicBezTo>
                  <a:pt x="4651176" y="6182853"/>
                  <a:pt x="4630587" y="6202564"/>
                  <a:pt x="4630587" y="6227979"/>
                </a:cubicBezTo>
                <a:cubicBezTo>
                  <a:pt x="4630587" y="6253395"/>
                  <a:pt x="4651176" y="6273104"/>
                  <a:pt x="4676089" y="6273104"/>
                </a:cubicBezTo>
                <a:cubicBezTo>
                  <a:pt x="4701004" y="6273104"/>
                  <a:pt x="4721592" y="6253395"/>
                  <a:pt x="4721592" y="6227979"/>
                </a:cubicBezTo>
                <a:cubicBezTo>
                  <a:pt x="4721592" y="6202564"/>
                  <a:pt x="4701004" y="6182853"/>
                  <a:pt x="4676089" y="6182853"/>
                </a:cubicBezTo>
                <a:close/>
                <a:moveTo>
                  <a:pt x="4399461" y="6182853"/>
                </a:moveTo>
                <a:cubicBezTo>
                  <a:pt x="4376797" y="6182853"/>
                  <a:pt x="4359322" y="6203429"/>
                  <a:pt x="4359322" y="6227979"/>
                </a:cubicBezTo>
                <a:cubicBezTo>
                  <a:pt x="4359322" y="6252531"/>
                  <a:pt x="4376797" y="6273104"/>
                  <a:pt x="4399461" y="6273104"/>
                </a:cubicBezTo>
                <a:cubicBezTo>
                  <a:pt x="4411053" y="6273104"/>
                  <a:pt x="4419531" y="6267228"/>
                  <a:pt x="4422991" y="6262559"/>
                </a:cubicBezTo>
                <a:lnTo>
                  <a:pt x="4422991" y="6271204"/>
                </a:lnTo>
                <a:lnTo>
                  <a:pt x="4449118" y="6271204"/>
                </a:lnTo>
                <a:lnTo>
                  <a:pt x="4449118" y="6184755"/>
                </a:lnTo>
                <a:lnTo>
                  <a:pt x="4422991" y="6184755"/>
                </a:lnTo>
                <a:lnTo>
                  <a:pt x="4422991" y="6193400"/>
                </a:lnTo>
                <a:cubicBezTo>
                  <a:pt x="4419531" y="6188732"/>
                  <a:pt x="4411053" y="6182853"/>
                  <a:pt x="4399461" y="6182853"/>
                </a:cubicBezTo>
                <a:close/>
                <a:moveTo>
                  <a:pt x="4305177" y="6182853"/>
                </a:moveTo>
                <a:cubicBezTo>
                  <a:pt x="4278879" y="6182853"/>
                  <a:pt x="4259674" y="6202218"/>
                  <a:pt x="4259674" y="6227979"/>
                </a:cubicBezTo>
                <a:cubicBezTo>
                  <a:pt x="4259674" y="6255816"/>
                  <a:pt x="4280262" y="6273104"/>
                  <a:pt x="4305696" y="6273104"/>
                </a:cubicBezTo>
                <a:cubicBezTo>
                  <a:pt x="4323861" y="6273104"/>
                  <a:pt x="4338222" y="6265498"/>
                  <a:pt x="4346353" y="6254087"/>
                </a:cubicBezTo>
                <a:lnTo>
                  <a:pt x="4326977" y="6239564"/>
                </a:lnTo>
                <a:cubicBezTo>
                  <a:pt x="4323689" y="6244577"/>
                  <a:pt x="4316076" y="6249419"/>
                  <a:pt x="4306042" y="6249419"/>
                </a:cubicBezTo>
                <a:cubicBezTo>
                  <a:pt x="4296179" y="6249419"/>
                  <a:pt x="4286491" y="6244577"/>
                  <a:pt x="4284934" y="6234204"/>
                </a:cubicBezTo>
                <a:lnTo>
                  <a:pt x="4347739" y="6234204"/>
                </a:lnTo>
                <a:cubicBezTo>
                  <a:pt x="4348258" y="6230053"/>
                  <a:pt x="4348258" y="6227288"/>
                  <a:pt x="4348258" y="6225041"/>
                </a:cubicBezTo>
                <a:cubicBezTo>
                  <a:pt x="4348258" y="6197031"/>
                  <a:pt x="4328014" y="6182853"/>
                  <a:pt x="4305177" y="6182853"/>
                </a:cubicBezTo>
                <a:close/>
                <a:moveTo>
                  <a:pt x="5248035" y="6157264"/>
                </a:moveTo>
                <a:lnTo>
                  <a:pt x="5221908" y="6184755"/>
                </a:lnTo>
                <a:lnTo>
                  <a:pt x="5221908" y="6271204"/>
                </a:lnTo>
                <a:lnTo>
                  <a:pt x="5248035" y="6271204"/>
                </a:lnTo>
                <a:lnTo>
                  <a:pt x="5248035" y="6207405"/>
                </a:lnTo>
                <a:lnTo>
                  <a:pt x="5272256" y="6207405"/>
                </a:lnTo>
                <a:lnTo>
                  <a:pt x="5272256" y="6184755"/>
                </a:lnTo>
                <a:lnTo>
                  <a:pt x="5248035" y="6184755"/>
                </a:lnTo>
                <a:close/>
                <a:moveTo>
                  <a:pt x="4566234" y="6157264"/>
                </a:moveTo>
                <a:lnTo>
                  <a:pt x="4540108" y="6184755"/>
                </a:lnTo>
                <a:lnTo>
                  <a:pt x="4540108" y="6271204"/>
                </a:lnTo>
                <a:lnTo>
                  <a:pt x="4566234" y="6271204"/>
                </a:lnTo>
                <a:lnTo>
                  <a:pt x="4566234" y="6207405"/>
                </a:lnTo>
                <a:lnTo>
                  <a:pt x="4590455" y="6207405"/>
                </a:lnTo>
                <a:lnTo>
                  <a:pt x="4590455" y="6184755"/>
                </a:lnTo>
                <a:lnTo>
                  <a:pt x="4566234" y="6184755"/>
                </a:lnTo>
                <a:close/>
                <a:moveTo>
                  <a:pt x="4843725" y="6148448"/>
                </a:moveTo>
                <a:lnTo>
                  <a:pt x="4843725" y="6271204"/>
                </a:lnTo>
                <a:lnTo>
                  <a:pt x="4871235" y="6271204"/>
                </a:lnTo>
                <a:lnTo>
                  <a:pt x="4871235" y="6222620"/>
                </a:lnTo>
                <a:lnTo>
                  <a:pt x="4920717" y="6222620"/>
                </a:lnTo>
                <a:lnTo>
                  <a:pt x="4920717" y="6271204"/>
                </a:lnTo>
                <a:lnTo>
                  <a:pt x="4948226" y="6271204"/>
                </a:lnTo>
                <a:lnTo>
                  <a:pt x="4948226" y="6148448"/>
                </a:lnTo>
                <a:lnTo>
                  <a:pt x="4920717" y="6148448"/>
                </a:lnTo>
                <a:lnTo>
                  <a:pt x="4920717" y="6196512"/>
                </a:lnTo>
                <a:lnTo>
                  <a:pt x="4871235" y="6196512"/>
                </a:lnTo>
                <a:lnTo>
                  <a:pt x="4871235" y="6148448"/>
                </a:lnTo>
                <a:close/>
                <a:moveTo>
                  <a:pt x="4139954" y="6148448"/>
                </a:moveTo>
                <a:lnTo>
                  <a:pt x="4139954" y="6232862"/>
                </a:lnTo>
                <a:lnTo>
                  <a:pt x="4167462" y="6260352"/>
                </a:lnTo>
                <a:lnTo>
                  <a:pt x="4167462" y="6222620"/>
                </a:lnTo>
                <a:lnTo>
                  <a:pt x="4216946" y="6222620"/>
                </a:lnTo>
                <a:lnTo>
                  <a:pt x="4216946" y="6271204"/>
                </a:lnTo>
                <a:lnTo>
                  <a:pt x="4244455" y="6271204"/>
                </a:lnTo>
                <a:lnTo>
                  <a:pt x="4244455" y="6148448"/>
                </a:lnTo>
                <a:lnTo>
                  <a:pt x="4216946" y="6148448"/>
                </a:lnTo>
                <a:lnTo>
                  <a:pt x="4216946" y="6196512"/>
                </a:lnTo>
                <a:lnTo>
                  <a:pt x="4167462" y="6196512"/>
                </a:lnTo>
                <a:lnTo>
                  <a:pt x="4167462" y="6148448"/>
                </a:lnTo>
                <a:close/>
                <a:moveTo>
                  <a:pt x="5285572" y="6141531"/>
                </a:moveTo>
                <a:lnTo>
                  <a:pt x="5285572" y="6271204"/>
                </a:lnTo>
                <a:lnTo>
                  <a:pt x="5311699" y="6271204"/>
                </a:lnTo>
                <a:lnTo>
                  <a:pt x="5311699" y="6229189"/>
                </a:lnTo>
                <a:cubicBezTo>
                  <a:pt x="5311699" y="6213630"/>
                  <a:pt x="5319310" y="6206540"/>
                  <a:pt x="5329173" y="6206540"/>
                </a:cubicBezTo>
                <a:cubicBezTo>
                  <a:pt x="5338516" y="6206540"/>
                  <a:pt x="5343186" y="6213802"/>
                  <a:pt x="5343186" y="6225731"/>
                </a:cubicBezTo>
                <a:lnTo>
                  <a:pt x="5343186" y="6271204"/>
                </a:lnTo>
                <a:lnTo>
                  <a:pt x="5369312" y="6271204"/>
                </a:lnTo>
                <a:lnTo>
                  <a:pt x="5369312" y="6221237"/>
                </a:lnTo>
                <a:cubicBezTo>
                  <a:pt x="5369312" y="6198586"/>
                  <a:pt x="5357028" y="6182853"/>
                  <a:pt x="5335747" y="6182853"/>
                </a:cubicBezTo>
                <a:cubicBezTo>
                  <a:pt x="5324502" y="6182853"/>
                  <a:pt x="5315850" y="6187695"/>
                  <a:pt x="5311699" y="6193574"/>
                </a:cubicBezTo>
                <a:lnTo>
                  <a:pt x="5311699" y="6141531"/>
                </a:lnTo>
                <a:close/>
                <a:moveTo>
                  <a:pt x="5174334" y="6141531"/>
                </a:moveTo>
                <a:lnTo>
                  <a:pt x="5174334" y="6271204"/>
                </a:lnTo>
                <a:lnTo>
                  <a:pt x="5200460" y="6271204"/>
                </a:lnTo>
                <a:lnTo>
                  <a:pt x="5200460" y="6141531"/>
                </a:lnTo>
                <a:close/>
                <a:moveTo>
                  <a:pt x="4780585" y="6140494"/>
                </a:moveTo>
                <a:cubicBezTo>
                  <a:pt x="4761380" y="6140494"/>
                  <a:pt x="4745808" y="6153288"/>
                  <a:pt x="4745808" y="6175247"/>
                </a:cubicBezTo>
                <a:lnTo>
                  <a:pt x="4745808" y="6184755"/>
                </a:lnTo>
                <a:lnTo>
                  <a:pt x="4728508" y="6184755"/>
                </a:lnTo>
                <a:lnTo>
                  <a:pt x="4728508" y="6207405"/>
                </a:lnTo>
                <a:lnTo>
                  <a:pt x="4745808" y="6207405"/>
                </a:lnTo>
                <a:lnTo>
                  <a:pt x="4745808" y="6271204"/>
                </a:lnTo>
                <a:lnTo>
                  <a:pt x="4771934" y="6271204"/>
                </a:lnTo>
                <a:lnTo>
                  <a:pt x="4771934" y="6207405"/>
                </a:lnTo>
                <a:lnTo>
                  <a:pt x="4796157" y="6207405"/>
                </a:lnTo>
                <a:lnTo>
                  <a:pt x="4796157" y="6184755"/>
                </a:lnTo>
                <a:lnTo>
                  <a:pt x="4771934" y="6184755"/>
                </a:lnTo>
                <a:lnTo>
                  <a:pt x="4771934" y="6178531"/>
                </a:lnTo>
                <a:cubicBezTo>
                  <a:pt x="4771934" y="6168157"/>
                  <a:pt x="4776260" y="6163835"/>
                  <a:pt x="4786814" y="6163835"/>
                </a:cubicBezTo>
                <a:cubicBezTo>
                  <a:pt x="4790620" y="6163835"/>
                  <a:pt x="4793388" y="6164354"/>
                  <a:pt x="4796157" y="6165390"/>
                </a:cubicBezTo>
                <a:lnTo>
                  <a:pt x="4796157" y="6142395"/>
                </a:lnTo>
                <a:cubicBezTo>
                  <a:pt x="4792350" y="6141185"/>
                  <a:pt x="4787505" y="6140494"/>
                  <a:pt x="4780585" y="6140494"/>
                </a:cubicBezTo>
                <a:close/>
                <a:moveTo>
                  <a:pt x="4314342" y="5948845"/>
                </a:moveTo>
                <a:cubicBezTo>
                  <a:pt x="4333989" y="5948845"/>
                  <a:pt x="4347629" y="5958197"/>
                  <a:pt x="4353322" y="5975334"/>
                </a:cubicBezTo>
                <a:lnTo>
                  <a:pt x="4273784" y="5975334"/>
                </a:lnTo>
                <a:cubicBezTo>
                  <a:pt x="4283099" y="5952465"/>
                  <a:pt x="4302832" y="5948845"/>
                  <a:pt x="4314342" y="5948845"/>
                </a:cubicBezTo>
                <a:close/>
                <a:moveTo>
                  <a:pt x="4314018" y="5896018"/>
                </a:moveTo>
                <a:cubicBezTo>
                  <a:pt x="4251288" y="5896018"/>
                  <a:pt x="4213801" y="5947840"/>
                  <a:pt x="4213801" y="5997928"/>
                </a:cubicBezTo>
                <a:cubicBezTo>
                  <a:pt x="4213801" y="6054363"/>
                  <a:pt x="4257965" y="6098568"/>
                  <a:pt x="4314342" y="6098568"/>
                </a:cubicBezTo>
                <a:cubicBezTo>
                  <a:pt x="4343596" y="6098568"/>
                  <a:pt x="4370860" y="6087984"/>
                  <a:pt x="4390755" y="6069221"/>
                </a:cubicBezTo>
                <a:lnTo>
                  <a:pt x="4353830" y="6032391"/>
                </a:lnTo>
                <a:cubicBezTo>
                  <a:pt x="4342433" y="6041921"/>
                  <a:pt x="4332286" y="6045379"/>
                  <a:pt x="4316581" y="6045670"/>
                </a:cubicBezTo>
                <a:cubicBezTo>
                  <a:pt x="4302940" y="6045541"/>
                  <a:pt x="4290657" y="6039928"/>
                  <a:pt x="4281813" y="6030954"/>
                </a:cubicBezTo>
                <a:cubicBezTo>
                  <a:pt x="4279996" y="6029101"/>
                  <a:pt x="4278358" y="6027107"/>
                  <a:pt x="4276855" y="6024995"/>
                </a:cubicBezTo>
                <a:cubicBezTo>
                  <a:pt x="4276509" y="6024460"/>
                  <a:pt x="4276103" y="6023925"/>
                  <a:pt x="4275790" y="6023401"/>
                </a:cubicBezTo>
                <a:lnTo>
                  <a:pt x="4275769" y="6023401"/>
                </a:lnTo>
                <a:cubicBezTo>
                  <a:pt x="4274184" y="6020986"/>
                  <a:pt x="4272757" y="6018463"/>
                  <a:pt x="4271627" y="6015789"/>
                </a:cubicBezTo>
                <a:lnTo>
                  <a:pt x="4410369" y="6015789"/>
                </a:lnTo>
                <a:cubicBezTo>
                  <a:pt x="4411456" y="6010581"/>
                  <a:pt x="4412656" y="6003438"/>
                  <a:pt x="4412656" y="5995059"/>
                </a:cubicBezTo>
                <a:cubicBezTo>
                  <a:pt x="4412656" y="5946376"/>
                  <a:pt x="4375769" y="5896018"/>
                  <a:pt x="4314018" y="5896018"/>
                </a:cubicBezTo>
                <a:close/>
                <a:moveTo>
                  <a:pt x="4110956" y="5896007"/>
                </a:moveTo>
                <a:lnTo>
                  <a:pt x="4110956" y="6096898"/>
                </a:lnTo>
                <a:lnTo>
                  <a:pt x="4167419" y="6096898"/>
                </a:lnTo>
                <a:lnTo>
                  <a:pt x="4167419" y="5947559"/>
                </a:lnTo>
                <a:lnTo>
                  <a:pt x="4212811" y="5947559"/>
                </a:lnTo>
                <a:lnTo>
                  <a:pt x="4212811" y="5896007"/>
                </a:lnTo>
                <a:close/>
                <a:moveTo>
                  <a:pt x="4529422" y="5895985"/>
                </a:moveTo>
                <a:lnTo>
                  <a:pt x="4528470" y="5896050"/>
                </a:lnTo>
                <a:cubicBezTo>
                  <a:pt x="4473201" y="5896471"/>
                  <a:pt x="4428372" y="5941448"/>
                  <a:pt x="4428372" y="5996690"/>
                </a:cubicBezTo>
                <a:cubicBezTo>
                  <a:pt x="4428372" y="6059636"/>
                  <a:pt x="4480905" y="6098600"/>
                  <a:pt x="4529811" y="6098600"/>
                </a:cubicBezTo>
                <a:cubicBezTo>
                  <a:pt x="4561611" y="6098600"/>
                  <a:pt x="4588432" y="6086087"/>
                  <a:pt x="4609549" y="6061403"/>
                </a:cubicBezTo>
                <a:lnTo>
                  <a:pt x="4613733" y="6056497"/>
                </a:lnTo>
                <a:lnTo>
                  <a:pt x="4577722" y="6020456"/>
                </a:lnTo>
                <a:lnTo>
                  <a:pt x="4572624" y="6025594"/>
                </a:lnTo>
                <a:cubicBezTo>
                  <a:pt x="4556826" y="6041359"/>
                  <a:pt x="4549825" y="6045638"/>
                  <a:pt x="4530741" y="6045762"/>
                </a:cubicBezTo>
                <a:cubicBezTo>
                  <a:pt x="4504574" y="6045540"/>
                  <a:pt x="4484846" y="6024719"/>
                  <a:pt x="4484846" y="5997333"/>
                </a:cubicBezTo>
                <a:cubicBezTo>
                  <a:pt x="4484846" y="5964053"/>
                  <a:pt x="4508056" y="5948877"/>
                  <a:pt x="4529611" y="5948855"/>
                </a:cubicBezTo>
                <a:lnTo>
                  <a:pt x="4530573" y="5948790"/>
                </a:lnTo>
                <a:cubicBezTo>
                  <a:pt x="4549771" y="5948899"/>
                  <a:pt x="4556918" y="5953285"/>
                  <a:pt x="4572602" y="5968948"/>
                </a:cubicBezTo>
                <a:lnTo>
                  <a:pt x="4577700" y="5974064"/>
                </a:lnTo>
                <a:lnTo>
                  <a:pt x="4613733" y="5938061"/>
                </a:lnTo>
                <a:lnTo>
                  <a:pt x="4609538" y="5933145"/>
                </a:lnTo>
                <a:cubicBezTo>
                  <a:pt x="4588334" y="5908347"/>
                  <a:pt x="4561314" y="5895807"/>
                  <a:pt x="4529422" y="5895985"/>
                </a:cubicBezTo>
                <a:close/>
                <a:moveTo>
                  <a:pt x="3912831" y="5863028"/>
                </a:moveTo>
                <a:lnTo>
                  <a:pt x="3912831" y="5990061"/>
                </a:lnTo>
                <a:cubicBezTo>
                  <a:pt x="3912831" y="5994795"/>
                  <a:pt x="3912526" y="5999870"/>
                  <a:pt x="3911858" y="6004922"/>
                </a:cubicBezTo>
                <a:lnTo>
                  <a:pt x="3911858" y="6004922"/>
                </a:lnTo>
                <a:lnTo>
                  <a:pt x="3911858" y="6004923"/>
                </a:lnTo>
                <a:lnTo>
                  <a:pt x="3769924" y="5863087"/>
                </a:lnTo>
                <a:lnTo>
                  <a:pt x="3769924" y="5990060"/>
                </a:lnTo>
                <a:cubicBezTo>
                  <a:pt x="3769924" y="6026733"/>
                  <a:pt x="3779406" y="6047268"/>
                  <a:pt x="3787489" y="6058013"/>
                </a:cubicBezTo>
                <a:cubicBezTo>
                  <a:pt x="3802091" y="6077587"/>
                  <a:pt x="3831837" y="6098501"/>
                  <a:pt x="3871536" y="6098501"/>
                </a:cubicBezTo>
                <a:cubicBezTo>
                  <a:pt x="3911235" y="6098501"/>
                  <a:pt x="3940980" y="6077587"/>
                  <a:pt x="3955583" y="6058013"/>
                </a:cubicBezTo>
                <a:cubicBezTo>
                  <a:pt x="3956814" y="6056376"/>
                  <a:pt x="3958077" y="6054481"/>
                  <a:pt x="3959335" y="6052367"/>
                </a:cubicBezTo>
                <a:lnTo>
                  <a:pt x="3959334" y="6052365"/>
                </a:lnTo>
                <a:lnTo>
                  <a:pt x="3959336" y="6052367"/>
                </a:lnTo>
                <a:cubicBezTo>
                  <a:pt x="3966334" y="6040605"/>
                  <a:pt x="3973148" y="6021145"/>
                  <a:pt x="3973148" y="5990060"/>
                </a:cubicBezTo>
                <a:lnTo>
                  <a:pt x="3973148" y="5863028"/>
                </a:lnTo>
                <a:close/>
                <a:moveTo>
                  <a:pt x="4056543" y="5839377"/>
                </a:moveTo>
                <a:lnTo>
                  <a:pt x="4000068" y="5896018"/>
                </a:lnTo>
                <a:lnTo>
                  <a:pt x="4000068" y="6096899"/>
                </a:lnTo>
                <a:lnTo>
                  <a:pt x="4056543" y="6096899"/>
                </a:lnTo>
                <a:lnTo>
                  <a:pt x="4056543" y="5947559"/>
                </a:lnTo>
                <a:lnTo>
                  <a:pt x="4093208" y="5947559"/>
                </a:lnTo>
                <a:lnTo>
                  <a:pt x="4093208" y="5896008"/>
                </a:lnTo>
                <a:lnTo>
                  <a:pt x="4056543" y="5896008"/>
                </a:lnTo>
                <a:close/>
                <a:moveTo>
                  <a:pt x="4690438" y="5839296"/>
                </a:moveTo>
                <a:lnTo>
                  <a:pt x="4633974" y="5896019"/>
                </a:lnTo>
                <a:cubicBezTo>
                  <a:pt x="4633974" y="5896019"/>
                  <a:pt x="4633499" y="6090529"/>
                  <a:pt x="4633974" y="6096898"/>
                </a:cubicBezTo>
                <a:lnTo>
                  <a:pt x="4690438" y="6096898"/>
                </a:lnTo>
                <a:lnTo>
                  <a:pt x="4690438" y="5996167"/>
                </a:lnTo>
                <a:cubicBezTo>
                  <a:pt x="4690438" y="5963103"/>
                  <a:pt x="4699029" y="5948996"/>
                  <a:pt x="4719194" y="5948996"/>
                </a:cubicBezTo>
                <a:cubicBezTo>
                  <a:pt x="4740349" y="5948996"/>
                  <a:pt x="4748594" y="5962038"/>
                  <a:pt x="4748594" y="5995529"/>
                </a:cubicBezTo>
                <a:lnTo>
                  <a:pt x="4748594" y="6096898"/>
                </a:lnTo>
                <a:lnTo>
                  <a:pt x="4805057" y="6096898"/>
                </a:lnTo>
                <a:lnTo>
                  <a:pt x="4805057" y="5986296"/>
                </a:lnTo>
                <a:cubicBezTo>
                  <a:pt x="4805057" y="5972092"/>
                  <a:pt x="4805057" y="5945647"/>
                  <a:pt x="4789514" y="5925917"/>
                </a:cubicBezTo>
                <a:cubicBezTo>
                  <a:pt x="4775522" y="5908120"/>
                  <a:pt x="4751373" y="5896164"/>
                  <a:pt x="4729407" y="5896164"/>
                </a:cubicBezTo>
                <a:cubicBezTo>
                  <a:pt x="4714891" y="5896164"/>
                  <a:pt x="4701824" y="5899849"/>
                  <a:pt x="4690438" y="5907142"/>
                </a:cubicBezTo>
                <a:close/>
                <a:moveTo>
                  <a:pt x="4889213" y="5839295"/>
                </a:moveTo>
                <a:lnTo>
                  <a:pt x="4832749" y="5896018"/>
                </a:lnTo>
                <a:lnTo>
                  <a:pt x="4832749" y="6096897"/>
                </a:lnTo>
                <a:lnTo>
                  <a:pt x="4889213" y="6096897"/>
                </a:lnTo>
                <a:lnTo>
                  <a:pt x="4889213" y="5947483"/>
                </a:lnTo>
                <a:lnTo>
                  <a:pt x="4925889" y="5947483"/>
                </a:lnTo>
                <a:lnTo>
                  <a:pt x="4925889" y="5895931"/>
                </a:lnTo>
                <a:lnTo>
                  <a:pt x="4889213" y="5895931"/>
                </a:lnTo>
                <a:close/>
                <a:moveTo>
                  <a:pt x="0" y="0"/>
                </a:moveTo>
                <a:lnTo>
                  <a:pt x="5947441" y="0"/>
                </a:lnTo>
                <a:lnTo>
                  <a:pt x="5947441" y="6857998"/>
                </a:lnTo>
                <a:lnTo>
                  <a:pt x="0" y="6857998"/>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6" name="Text Placeholder 3">
            <a:extLst>
              <a:ext uri="{FF2B5EF4-FFF2-40B4-BE49-F238E27FC236}">
                <a16:creationId xmlns:a16="http://schemas.microsoft.com/office/drawing/2014/main" id="{0B553010-FC8D-055B-FDC2-FCCD05240F7E}"/>
              </a:ext>
            </a:extLst>
          </p:cNvPr>
          <p:cNvSpPr>
            <a:spLocks noGrp="1"/>
          </p:cNvSpPr>
          <p:nvPr>
            <p:ph type="body" sz="quarter" idx="10"/>
          </p:nvPr>
        </p:nvSpPr>
        <p:spPr>
          <a:xfrm>
            <a:off x="1139124" y="2003728"/>
            <a:ext cx="4550476" cy="3650247"/>
          </a:xfrm>
        </p:spPr>
        <p:txBody>
          <a:bodyPr/>
          <a:lstStyle>
            <a:lvl1pPr>
              <a:spcAft>
                <a:spcPts val="600"/>
              </a:spcAft>
              <a:defRPr>
                <a:solidFill>
                  <a:schemeClr val="accent1"/>
                </a:solidFill>
              </a:defRPr>
            </a:lvl1pPr>
            <a:lvl2pPr>
              <a:spcAft>
                <a:spcPts val="600"/>
              </a:spcAft>
              <a:defRPr>
                <a:solidFill>
                  <a:schemeClr val="accent1"/>
                </a:solidFill>
              </a:defRPr>
            </a:lvl2pPr>
            <a:lvl3pPr>
              <a:spcAft>
                <a:spcPts val="600"/>
              </a:spcAft>
              <a:defRPr>
                <a:solidFill>
                  <a:schemeClr val="accent1"/>
                </a:solidFill>
              </a:defRPr>
            </a:lvl3pPr>
            <a:lvl4pPr>
              <a:spcAft>
                <a:spcPts val="600"/>
              </a:spcAft>
              <a:defRPr>
                <a:solidFill>
                  <a:schemeClr val="accent1"/>
                </a:solidFill>
              </a:defRPr>
            </a:lvl4pPr>
            <a:lvl5pPr>
              <a:spcAft>
                <a:spcPts val="600"/>
              </a:spcAft>
              <a:defRPr>
                <a:solidFill>
                  <a:schemeClr val="accent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Tree>
    <p:extLst>
      <p:ext uri="{BB962C8B-B14F-4D97-AF65-F5344CB8AC3E}">
        <p14:creationId xmlns:p14="http://schemas.microsoft.com/office/powerpoint/2010/main" val="33308272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 Beeld rechts">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dirty="0"/>
          </a:p>
        </p:txBody>
      </p:sp>
      <p:sp>
        <p:nvSpPr>
          <p:cNvPr id="11" name="Text Placeholder 13">
            <a:extLst>
              <a:ext uri="{FF2B5EF4-FFF2-40B4-BE49-F238E27FC236}">
                <a16:creationId xmlns:a16="http://schemas.microsoft.com/office/drawing/2014/main" id="{671406B8-42F0-6CED-3C85-BD33A019A204}"/>
              </a:ext>
            </a:extLst>
          </p:cNvPr>
          <p:cNvSpPr>
            <a:spLocks noGrp="1"/>
          </p:cNvSpPr>
          <p:nvPr>
            <p:ph type="body" sz="quarter" idx="16"/>
          </p:nvPr>
        </p:nvSpPr>
        <p:spPr>
          <a:xfrm>
            <a:off x="1139125" y="2005200"/>
            <a:ext cx="4545423" cy="3848185"/>
          </a:xfrm>
        </p:spPr>
        <p:txBody>
          <a:bodyPr/>
          <a:lstStyle>
            <a:lvl1pPr>
              <a:defRPr sz="2400"/>
            </a:lvl1pPr>
            <a:lvl2pPr>
              <a:defRPr sz="2400"/>
            </a:lvl2pPr>
            <a:lvl3pPr>
              <a:defRPr sz="20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5" name="Tijdelijke aanduiding voor afbeelding 14">
            <a:extLst>
              <a:ext uri="{FF2B5EF4-FFF2-40B4-BE49-F238E27FC236}">
                <a16:creationId xmlns:a16="http://schemas.microsoft.com/office/drawing/2014/main" id="{7E7220D7-4BCB-1010-5FFD-1BEF18ECF4F1}"/>
              </a:ext>
            </a:extLst>
          </p:cNvPr>
          <p:cNvSpPr>
            <a:spLocks noGrp="1"/>
          </p:cNvSpPr>
          <p:nvPr>
            <p:ph type="pic" sz="quarter" idx="17"/>
          </p:nvPr>
        </p:nvSpPr>
        <p:spPr>
          <a:xfrm>
            <a:off x="6096000" y="1163155"/>
            <a:ext cx="6096000" cy="5694845"/>
          </a:xfrm>
          <a:custGeom>
            <a:avLst/>
            <a:gdLst>
              <a:gd name="connsiteX0" fmla="*/ 4824647 w 6096000"/>
              <a:gd name="connsiteY0" fmla="*/ 5044080 h 5694845"/>
              <a:gd name="connsiteX1" fmla="*/ 4843853 w 6096000"/>
              <a:gd name="connsiteY1" fmla="*/ 5064827 h 5694845"/>
              <a:gd name="connsiteX2" fmla="*/ 4824647 w 6096000"/>
              <a:gd name="connsiteY2" fmla="*/ 5085574 h 5694845"/>
              <a:gd name="connsiteX3" fmla="*/ 4805442 w 6096000"/>
              <a:gd name="connsiteY3" fmla="*/ 5064827 h 5694845"/>
              <a:gd name="connsiteX4" fmla="*/ 4824647 w 6096000"/>
              <a:gd name="connsiteY4" fmla="*/ 5044080 h 5694845"/>
              <a:gd name="connsiteX5" fmla="*/ 5257674 w 6096000"/>
              <a:gd name="connsiteY5" fmla="*/ 5043388 h 5694845"/>
              <a:gd name="connsiteX6" fmla="*/ 5277396 w 6096000"/>
              <a:gd name="connsiteY6" fmla="*/ 5064827 h 5694845"/>
              <a:gd name="connsiteX7" fmla="*/ 5257674 w 6096000"/>
              <a:gd name="connsiteY7" fmla="*/ 5086267 h 5694845"/>
              <a:gd name="connsiteX8" fmla="*/ 5237950 w 6096000"/>
              <a:gd name="connsiteY8" fmla="*/ 5064827 h 5694845"/>
              <a:gd name="connsiteX9" fmla="*/ 5257674 w 6096000"/>
              <a:gd name="connsiteY9" fmla="*/ 5043388 h 5694845"/>
              <a:gd name="connsiteX10" fmla="*/ 4553903 w 6096000"/>
              <a:gd name="connsiteY10" fmla="*/ 5043388 h 5694845"/>
              <a:gd name="connsiteX11" fmla="*/ 4573626 w 6096000"/>
              <a:gd name="connsiteY11" fmla="*/ 5064827 h 5694845"/>
              <a:gd name="connsiteX12" fmla="*/ 4553903 w 6096000"/>
              <a:gd name="connsiteY12" fmla="*/ 5086267 h 5694845"/>
              <a:gd name="connsiteX13" fmla="*/ 4534179 w 6096000"/>
              <a:gd name="connsiteY13" fmla="*/ 5064827 h 5694845"/>
              <a:gd name="connsiteX14" fmla="*/ 4553903 w 6096000"/>
              <a:gd name="connsiteY14" fmla="*/ 5043388 h 5694845"/>
              <a:gd name="connsiteX15" fmla="*/ 5156814 w 6096000"/>
              <a:gd name="connsiteY15" fmla="*/ 5040967 h 5694845"/>
              <a:gd name="connsiteX16" fmla="*/ 5174634 w 6096000"/>
              <a:gd name="connsiteY16" fmla="*/ 5053935 h 5694845"/>
              <a:gd name="connsiteX17" fmla="*/ 5137955 w 6096000"/>
              <a:gd name="connsiteY17" fmla="*/ 5053935 h 5694845"/>
              <a:gd name="connsiteX18" fmla="*/ 5156814 w 6096000"/>
              <a:gd name="connsiteY18" fmla="*/ 5040967 h 5694845"/>
              <a:gd name="connsiteX19" fmla="*/ 4453043 w 6096000"/>
              <a:gd name="connsiteY19" fmla="*/ 5040967 h 5694845"/>
              <a:gd name="connsiteX20" fmla="*/ 4470863 w 6096000"/>
              <a:gd name="connsiteY20" fmla="*/ 5053935 h 5694845"/>
              <a:gd name="connsiteX21" fmla="*/ 4434184 w 6096000"/>
              <a:gd name="connsiteY21" fmla="*/ 5053935 h 5694845"/>
              <a:gd name="connsiteX22" fmla="*/ 4453043 w 6096000"/>
              <a:gd name="connsiteY22" fmla="*/ 5040967 h 5694845"/>
              <a:gd name="connsiteX23" fmla="*/ 4619119 w 6096000"/>
              <a:gd name="connsiteY23" fmla="*/ 5021603 h 5694845"/>
              <a:gd name="connsiteX24" fmla="*/ 4619119 w 6096000"/>
              <a:gd name="connsiteY24" fmla="*/ 5108052 h 5694845"/>
              <a:gd name="connsiteX25" fmla="*/ 4645246 w 6096000"/>
              <a:gd name="connsiteY25" fmla="*/ 5108052 h 5694845"/>
              <a:gd name="connsiteX26" fmla="*/ 4645246 w 6096000"/>
              <a:gd name="connsiteY26" fmla="*/ 5044253 h 5694845"/>
              <a:gd name="connsiteX27" fmla="*/ 4674312 w 6096000"/>
              <a:gd name="connsiteY27" fmla="*/ 5044253 h 5694845"/>
              <a:gd name="connsiteX28" fmla="*/ 4674312 w 6096000"/>
              <a:gd name="connsiteY28" fmla="*/ 5021603 h 5694845"/>
              <a:gd name="connsiteX29" fmla="*/ 5251790 w 6096000"/>
              <a:gd name="connsiteY29" fmla="*/ 5019701 h 5694845"/>
              <a:gd name="connsiteX30" fmla="*/ 5211651 w 6096000"/>
              <a:gd name="connsiteY30" fmla="*/ 5064827 h 5694845"/>
              <a:gd name="connsiteX31" fmla="*/ 5251790 w 6096000"/>
              <a:gd name="connsiteY31" fmla="*/ 5109952 h 5694845"/>
              <a:gd name="connsiteX32" fmla="*/ 5275322 w 6096000"/>
              <a:gd name="connsiteY32" fmla="*/ 5099407 h 5694845"/>
              <a:gd name="connsiteX33" fmla="*/ 5275322 w 6096000"/>
              <a:gd name="connsiteY33" fmla="*/ 5108052 h 5694845"/>
              <a:gd name="connsiteX34" fmla="*/ 5301447 w 6096000"/>
              <a:gd name="connsiteY34" fmla="*/ 5108052 h 5694845"/>
              <a:gd name="connsiteX35" fmla="*/ 5301447 w 6096000"/>
              <a:gd name="connsiteY35" fmla="*/ 5021603 h 5694845"/>
              <a:gd name="connsiteX36" fmla="*/ 5275322 w 6096000"/>
              <a:gd name="connsiteY36" fmla="*/ 5021603 h 5694845"/>
              <a:gd name="connsiteX37" fmla="*/ 5275322 w 6096000"/>
              <a:gd name="connsiteY37" fmla="*/ 5030248 h 5694845"/>
              <a:gd name="connsiteX38" fmla="*/ 5251790 w 6096000"/>
              <a:gd name="connsiteY38" fmla="*/ 5019701 h 5694845"/>
              <a:gd name="connsiteX39" fmla="*/ 5157506 w 6096000"/>
              <a:gd name="connsiteY39" fmla="*/ 5019701 h 5694845"/>
              <a:gd name="connsiteX40" fmla="*/ 5112003 w 6096000"/>
              <a:gd name="connsiteY40" fmla="*/ 5064827 h 5694845"/>
              <a:gd name="connsiteX41" fmla="*/ 5158025 w 6096000"/>
              <a:gd name="connsiteY41" fmla="*/ 5109952 h 5694845"/>
              <a:gd name="connsiteX42" fmla="*/ 5198684 w 6096000"/>
              <a:gd name="connsiteY42" fmla="*/ 5090935 h 5694845"/>
              <a:gd name="connsiteX43" fmla="*/ 5179306 w 6096000"/>
              <a:gd name="connsiteY43" fmla="*/ 5076412 h 5694845"/>
              <a:gd name="connsiteX44" fmla="*/ 5158371 w 6096000"/>
              <a:gd name="connsiteY44" fmla="*/ 5086267 h 5694845"/>
              <a:gd name="connsiteX45" fmla="*/ 5137263 w 6096000"/>
              <a:gd name="connsiteY45" fmla="*/ 5071052 h 5694845"/>
              <a:gd name="connsiteX46" fmla="*/ 5200068 w 6096000"/>
              <a:gd name="connsiteY46" fmla="*/ 5071052 h 5694845"/>
              <a:gd name="connsiteX47" fmla="*/ 5200587 w 6096000"/>
              <a:gd name="connsiteY47" fmla="*/ 5061889 h 5694845"/>
              <a:gd name="connsiteX48" fmla="*/ 5157506 w 6096000"/>
              <a:gd name="connsiteY48" fmla="*/ 5019701 h 5694845"/>
              <a:gd name="connsiteX49" fmla="*/ 4824647 w 6096000"/>
              <a:gd name="connsiteY49" fmla="*/ 5019701 h 5694845"/>
              <a:gd name="connsiteX50" fmla="*/ 4779145 w 6096000"/>
              <a:gd name="connsiteY50" fmla="*/ 5064827 h 5694845"/>
              <a:gd name="connsiteX51" fmla="*/ 4824647 w 6096000"/>
              <a:gd name="connsiteY51" fmla="*/ 5109952 h 5694845"/>
              <a:gd name="connsiteX52" fmla="*/ 4870150 w 6096000"/>
              <a:gd name="connsiteY52" fmla="*/ 5064827 h 5694845"/>
              <a:gd name="connsiteX53" fmla="*/ 4824647 w 6096000"/>
              <a:gd name="connsiteY53" fmla="*/ 5019701 h 5694845"/>
              <a:gd name="connsiteX54" fmla="*/ 4548019 w 6096000"/>
              <a:gd name="connsiteY54" fmla="*/ 5019701 h 5694845"/>
              <a:gd name="connsiteX55" fmla="*/ 4507880 w 6096000"/>
              <a:gd name="connsiteY55" fmla="*/ 5064827 h 5694845"/>
              <a:gd name="connsiteX56" fmla="*/ 4548019 w 6096000"/>
              <a:gd name="connsiteY56" fmla="*/ 5109952 h 5694845"/>
              <a:gd name="connsiteX57" fmla="*/ 4571549 w 6096000"/>
              <a:gd name="connsiteY57" fmla="*/ 5099407 h 5694845"/>
              <a:gd name="connsiteX58" fmla="*/ 4571549 w 6096000"/>
              <a:gd name="connsiteY58" fmla="*/ 5108052 h 5694845"/>
              <a:gd name="connsiteX59" fmla="*/ 4597676 w 6096000"/>
              <a:gd name="connsiteY59" fmla="*/ 5108052 h 5694845"/>
              <a:gd name="connsiteX60" fmla="*/ 4597676 w 6096000"/>
              <a:gd name="connsiteY60" fmla="*/ 5021603 h 5694845"/>
              <a:gd name="connsiteX61" fmla="*/ 4571549 w 6096000"/>
              <a:gd name="connsiteY61" fmla="*/ 5021603 h 5694845"/>
              <a:gd name="connsiteX62" fmla="*/ 4571549 w 6096000"/>
              <a:gd name="connsiteY62" fmla="*/ 5030248 h 5694845"/>
              <a:gd name="connsiteX63" fmla="*/ 4548019 w 6096000"/>
              <a:gd name="connsiteY63" fmla="*/ 5019701 h 5694845"/>
              <a:gd name="connsiteX64" fmla="*/ 4453735 w 6096000"/>
              <a:gd name="connsiteY64" fmla="*/ 5019701 h 5694845"/>
              <a:gd name="connsiteX65" fmla="*/ 4408232 w 6096000"/>
              <a:gd name="connsiteY65" fmla="*/ 5064827 h 5694845"/>
              <a:gd name="connsiteX66" fmla="*/ 4454254 w 6096000"/>
              <a:gd name="connsiteY66" fmla="*/ 5109952 h 5694845"/>
              <a:gd name="connsiteX67" fmla="*/ 4494911 w 6096000"/>
              <a:gd name="connsiteY67" fmla="*/ 5090935 h 5694845"/>
              <a:gd name="connsiteX68" fmla="*/ 4475535 w 6096000"/>
              <a:gd name="connsiteY68" fmla="*/ 5076412 h 5694845"/>
              <a:gd name="connsiteX69" fmla="*/ 4454600 w 6096000"/>
              <a:gd name="connsiteY69" fmla="*/ 5086267 h 5694845"/>
              <a:gd name="connsiteX70" fmla="*/ 4433492 w 6096000"/>
              <a:gd name="connsiteY70" fmla="*/ 5071052 h 5694845"/>
              <a:gd name="connsiteX71" fmla="*/ 4496297 w 6096000"/>
              <a:gd name="connsiteY71" fmla="*/ 5071052 h 5694845"/>
              <a:gd name="connsiteX72" fmla="*/ 4496816 w 6096000"/>
              <a:gd name="connsiteY72" fmla="*/ 5061889 h 5694845"/>
              <a:gd name="connsiteX73" fmla="*/ 4453735 w 6096000"/>
              <a:gd name="connsiteY73" fmla="*/ 5019701 h 5694845"/>
              <a:gd name="connsiteX74" fmla="*/ 5396593 w 6096000"/>
              <a:gd name="connsiteY74" fmla="*/ 4994112 h 5694845"/>
              <a:gd name="connsiteX75" fmla="*/ 5370466 w 6096000"/>
              <a:gd name="connsiteY75" fmla="*/ 5021603 h 5694845"/>
              <a:gd name="connsiteX76" fmla="*/ 5370466 w 6096000"/>
              <a:gd name="connsiteY76" fmla="*/ 5108052 h 5694845"/>
              <a:gd name="connsiteX77" fmla="*/ 5396593 w 6096000"/>
              <a:gd name="connsiteY77" fmla="*/ 5108052 h 5694845"/>
              <a:gd name="connsiteX78" fmla="*/ 5396593 w 6096000"/>
              <a:gd name="connsiteY78" fmla="*/ 5044253 h 5694845"/>
              <a:gd name="connsiteX79" fmla="*/ 5420814 w 6096000"/>
              <a:gd name="connsiteY79" fmla="*/ 5044253 h 5694845"/>
              <a:gd name="connsiteX80" fmla="*/ 5420814 w 6096000"/>
              <a:gd name="connsiteY80" fmla="*/ 5021603 h 5694845"/>
              <a:gd name="connsiteX81" fmla="*/ 5396593 w 6096000"/>
              <a:gd name="connsiteY81" fmla="*/ 5021603 h 5694845"/>
              <a:gd name="connsiteX82" fmla="*/ 4714792 w 6096000"/>
              <a:gd name="connsiteY82" fmla="*/ 4994112 h 5694845"/>
              <a:gd name="connsiteX83" fmla="*/ 4688666 w 6096000"/>
              <a:gd name="connsiteY83" fmla="*/ 5021603 h 5694845"/>
              <a:gd name="connsiteX84" fmla="*/ 4688666 w 6096000"/>
              <a:gd name="connsiteY84" fmla="*/ 5108052 h 5694845"/>
              <a:gd name="connsiteX85" fmla="*/ 4714792 w 6096000"/>
              <a:gd name="connsiteY85" fmla="*/ 5108052 h 5694845"/>
              <a:gd name="connsiteX86" fmla="*/ 4714792 w 6096000"/>
              <a:gd name="connsiteY86" fmla="*/ 5044253 h 5694845"/>
              <a:gd name="connsiteX87" fmla="*/ 4739013 w 6096000"/>
              <a:gd name="connsiteY87" fmla="*/ 5044253 h 5694845"/>
              <a:gd name="connsiteX88" fmla="*/ 4739013 w 6096000"/>
              <a:gd name="connsiteY88" fmla="*/ 5021603 h 5694845"/>
              <a:gd name="connsiteX89" fmla="*/ 4714792 w 6096000"/>
              <a:gd name="connsiteY89" fmla="*/ 5021603 h 5694845"/>
              <a:gd name="connsiteX90" fmla="*/ 4992283 w 6096000"/>
              <a:gd name="connsiteY90" fmla="*/ 4985296 h 5694845"/>
              <a:gd name="connsiteX91" fmla="*/ 4992283 w 6096000"/>
              <a:gd name="connsiteY91" fmla="*/ 5108052 h 5694845"/>
              <a:gd name="connsiteX92" fmla="*/ 5019793 w 6096000"/>
              <a:gd name="connsiteY92" fmla="*/ 5108052 h 5694845"/>
              <a:gd name="connsiteX93" fmla="*/ 5019793 w 6096000"/>
              <a:gd name="connsiteY93" fmla="*/ 5059468 h 5694845"/>
              <a:gd name="connsiteX94" fmla="*/ 5069275 w 6096000"/>
              <a:gd name="connsiteY94" fmla="*/ 5059468 h 5694845"/>
              <a:gd name="connsiteX95" fmla="*/ 5069275 w 6096000"/>
              <a:gd name="connsiteY95" fmla="*/ 5108052 h 5694845"/>
              <a:gd name="connsiteX96" fmla="*/ 5096784 w 6096000"/>
              <a:gd name="connsiteY96" fmla="*/ 5108052 h 5694845"/>
              <a:gd name="connsiteX97" fmla="*/ 5096784 w 6096000"/>
              <a:gd name="connsiteY97" fmla="*/ 4985296 h 5694845"/>
              <a:gd name="connsiteX98" fmla="*/ 5069275 w 6096000"/>
              <a:gd name="connsiteY98" fmla="*/ 4985296 h 5694845"/>
              <a:gd name="connsiteX99" fmla="*/ 5069275 w 6096000"/>
              <a:gd name="connsiteY99" fmla="*/ 5033360 h 5694845"/>
              <a:gd name="connsiteX100" fmla="*/ 5019793 w 6096000"/>
              <a:gd name="connsiteY100" fmla="*/ 5033360 h 5694845"/>
              <a:gd name="connsiteX101" fmla="*/ 5019793 w 6096000"/>
              <a:gd name="connsiteY101" fmla="*/ 4985296 h 5694845"/>
              <a:gd name="connsiteX102" fmla="*/ 4288512 w 6096000"/>
              <a:gd name="connsiteY102" fmla="*/ 4985296 h 5694845"/>
              <a:gd name="connsiteX103" fmla="*/ 4288512 w 6096000"/>
              <a:gd name="connsiteY103" fmla="*/ 5069710 h 5694845"/>
              <a:gd name="connsiteX104" fmla="*/ 4316020 w 6096000"/>
              <a:gd name="connsiteY104" fmla="*/ 5097200 h 5694845"/>
              <a:gd name="connsiteX105" fmla="*/ 4316020 w 6096000"/>
              <a:gd name="connsiteY105" fmla="*/ 5059468 h 5694845"/>
              <a:gd name="connsiteX106" fmla="*/ 4365504 w 6096000"/>
              <a:gd name="connsiteY106" fmla="*/ 5059468 h 5694845"/>
              <a:gd name="connsiteX107" fmla="*/ 4365504 w 6096000"/>
              <a:gd name="connsiteY107" fmla="*/ 5108052 h 5694845"/>
              <a:gd name="connsiteX108" fmla="*/ 4393013 w 6096000"/>
              <a:gd name="connsiteY108" fmla="*/ 5108052 h 5694845"/>
              <a:gd name="connsiteX109" fmla="*/ 4393013 w 6096000"/>
              <a:gd name="connsiteY109" fmla="*/ 4985296 h 5694845"/>
              <a:gd name="connsiteX110" fmla="*/ 4365504 w 6096000"/>
              <a:gd name="connsiteY110" fmla="*/ 4985296 h 5694845"/>
              <a:gd name="connsiteX111" fmla="*/ 4365504 w 6096000"/>
              <a:gd name="connsiteY111" fmla="*/ 5033360 h 5694845"/>
              <a:gd name="connsiteX112" fmla="*/ 4316020 w 6096000"/>
              <a:gd name="connsiteY112" fmla="*/ 5033360 h 5694845"/>
              <a:gd name="connsiteX113" fmla="*/ 4316020 w 6096000"/>
              <a:gd name="connsiteY113" fmla="*/ 4985296 h 5694845"/>
              <a:gd name="connsiteX114" fmla="*/ 5434130 w 6096000"/>
              <a:gd name="connsiteY114" fmla="*/ 4978379 h 5694845"/>
              <a:gd name="connsiteX115" fmla="*/ 5434130 w 6096000"/>
              <a:gd name="connsiteY115" fmla="*/ 5108052 h 5694845"/>
              <a:gd name="connsiteX116" fmla="*/ 5460257 w 6096000"/>
              <a:gd name="connsiteY116" fmla="*/ 5108052 h 5694845"/>
              <a:gd name="connsiteX117" fmla="*/ 5460257 w 6096000"/>
              <a:gd name="connsiteY117" fmla="*/ 5066037 h 5694845"/>
              <a:gd name="connsiteX118" fmla="*/ 5477731 w 6096000"/>
              <a:gd name="connsiteY118" fmla="*/ 5043388 h 5694845"/>
              <a:gd name="connsiteX119" fmla="*/ 5491744 w 6096000"/>
              <a:gd name="connsiteY119" fmla="*/ 5062579 h 5694845"/>
              <a:gd name="connsiteX120" fmla="*/ 5491744 w 6096000"/>
              <a:gd name="connsiteY120" fmla="*/ 5108052 h 5694845"/>
              <a:gd name="connsiteX121" fmla="*/ 5517870 w 6096000"/>
              <a:gd name="connsiteY121" fmla="*/ 5108052 h 5694845"/>
              <a:gd name="connsiteX122" fmla="*/ 5517870 w 6096000"/>
              <a:gd name="connsiteY122" fmla="*/ 5058085 h 5694845"/>
              <a:gd name="connsiteX123" fmla="*/ 5484305 w 6096000"/>
              <a:gd name="connsiteY123" fmla="*/ 5019701 h 5694845"/>
              <a:gd name="connsiteX124" fmla="*/ 5460257 w 6096000"/>
              <a:gd name="connsiteY124" fmla="*/ 5030422 h 5694845"/>
              <a:gd name="connsiteX125" fmla="*/ 5460257 w 6096000"/>
              <a:gd name="connsiteY125" fmla="*/ 4978379 h 5694845"/>
              <a:gd name="connsiteX126" fmla="*/ 5322892 w 6096000"/>
              <a:gd name="connsiteY126" fmla="*/ 4978379 h 5694845"/>
              <a:gd name="connsiteX127" fmla="*/ 5322892 w 6096000"/>
              <a:gd name="connsiteY127" fmla="*/ 5108052 h 5694845"/>
              <a:gd name="connsiteX128" fmla="*/ 5349018 w 6096000"/>
              <a:gd name="connsiteY128" fmla="*/ 5108052 h 5694845"/>
              <a:gd name="connsiteX129" fmla="*/ 5349018 w 6096000"/>
              <a:gd name="connsiteY129" fmla="*/ 4978379 h 5694845"/>
              <a:gd name="connsiteX130" fmla="*/ 4929143 w 6096000"/>
              <a:gd name="connsiteY130" fmla="*/ 4977342 h 5694845"/>
              <a:gd name="connsiteX131" fmla="*/ 4894366 w 6096000"/>
              <a:gd name="connsiteY131" fmla="*/ 5012095 h 5694845"/>
              <a:gd name="connsiteX132" fmla="*/ 4894366 w 6096000"/>
              <a:gd name="connsiteY132" fmla="*/ 5021603 h 5694845"/>
              <a:gd name="connsiteX133" fmla="*/ 4877066 w 6096000"/>
              <a:gd name="connsiteY133" fmla="*/ 5021603 h 5694845"/>
              <a:gd name="connsiteX134" fmla="*/ 4877066 w 6096000"/>
              <a:gd name="connsiteY134" fmla="*/ 5044253 h 5694845"/>
              <a:gd name="connsiteX135" fmla="*/ 4894366 w 6096000"/>
              <a:gd name="connsiteY135" fmla="*/ 5044253 h 5694845"/>
              <a:gd name="connsiteX136" fmla="*/ 4894366 w 6096000"/>
              <a:gd name="connsiteY136" fmla="*/ 5108052 h 5694845"/>
              <a:gd name="connsiteX137" fmla="*/ 4920492 w 6096000"/>
              <a:gd name="connsiteY137" fmla="*/ 5108052 h 5694845"/>
              <a:gd name="connsiteX138" fmla="*/ 4920492 w 6096000"/>
              <a:gd name="connsiteY138" fmla="*/ 5044253 h 5694845"/>
              <a:gd name="connsiteX139" fmla="*/ 4944715 w 6096000"/>
              <a:gd name="connsiteY139" fmla="*/ 5044253 h 5694845"/>
              <a:gd name="connsiteX140" fmla="*/ 4944715 w 6096000"/>
              <a:gd name="connsiteY140" fmla="*/ 5021603 h 5694845"/>
              <a:gd name="connsiteX141" fmla="*/ 4920492 w 6096000"/>
              <a:gd name="connsiteY141" fmla="*/ 5021603 h 5694845"/>
              <a:gd name="connsiteX142" fmla="*/ 4920492 w 6096000"/>
              <a:gd name="connsiteY142" fmla="*/ 5015379 h 5694845"/>
              <a:gd name="connsiteX143" fmla="*/ 4935372 w 6096000"/>
              <a:gd name="connsiteY143" fmla="*/ 5000683 h 5694845"/>
              <a:gd name="connsiteX144" fmla="*/ 4944715 w 6096000"/>
              <a:gd name="connsiteY144" fmla="*/ 5002238 h 5694845"/>
              <a:gd name="connsiteX145" fmla="*/ 4944715 w 6096000"/>
              <a:gd name="connsiteY145" fmla="*/ 4979243 h 5694845"/>
              <a:gd name="connsiteX146" fmla="*/ 4929143 w 6096000"/>
              <a:gd name="connsiteY146" fmla="*/ 4977342 h 5694845"/>
              <a:gd name="connsiteX147" fmla="*/ 4462900 w 6096000"/>
              <a:gd name="connsiteY147" fmla="*/ 4785693 h 5694845"/>
              <a:gd name="connsiteX148" fmla="*/ 4501880 w 6096000"/>
              <a:gd name="connsiteY148" fmla="*/ 4812182 h 5694845"/>
              <a:gd name="connsiteX149" fmla="*/ 4422342 w 6096000"/>
              <a:gd name="connsiteY149" fmla="*/ 4812182 h 5694845"/>
              <a:gd name="connsiteX150" fmla="*/ 4462900 w 6096000"/>
              <a:gd name="connsiteY150" fmla="*/ 4785693 h 5694845"/>
              <a:gd name="connsiteX151" fmla="*/ 4462576 w 6096000"/>
              <a:gd name="connsiteY151" fmla="*/ 4732866 h 5694845"/>
              <a:gd name="connsiteX152" fmla="*/ 4362359 w 6096000"/>
              <a:gd name="connsiteY152" fmla="*/ 4834776 h 5694845"/>
              <a:gd name="connsiteX153" fmla="*/ 4462900 w 6096000"/>
              <a:gd name="connsiteY153" fmla="*/ 4935416 h 5694845"/>
              <a:gd name="connsiteX154" fmla="*/ 4539313 w 6096000"/>
              <a:gd name="connsiteY154" fmla="*/ 4906069 h 5694845"/>
              <a:gd name="connsiteX155" fmla="*/ 4502388 w 6096000"/>
              <a:gd name="connsiteY155" fmla="*/ 4869239 h 5694845"/>
              <a:gd name="connsiteX156" fmla="*/ 4465139 w 6096000"/>
              <a:gd name="connsiteY156" fmla="*/ 4882518 h 5694845"/>
              <a:gd name="connsiteX157" fmla="*/ 4430371 w 6096000"/>
              <a:gd name="connsiteY157" fmla="*/ 4867802 h 5694845"/>
              <a:gd name="connsiteX158" fmla="*/ 4425413 w 6096000"/>
              <a:gd name="connsiteY158" fmla="*/ 4861843 h 5694845"/>
              <a:gd name="connsiteX159" fmla="*/ 4424348 w 6096000"/>
              <a:gd name="connsiteY159" fmla="*/ 4860249 h 5694845"/>
              <a:gd name="connsiteX160" fmla="*/ 4424327 w 6096000"/>
              <a:gd name="connsiteY160" fmla="*/ 4860249 h 5694845"/>
              <a:gd name="connsiteX161" fmla="*/ 4420185 w 6096000"/>
              <a:gd name="connsiteY161" fmla="*/ 4852637 h 5694845"/>
              <a:gd name="connsiteX162" fmla="*/ 4558927 w 6096000"/>
              <a:gd name="connsiteY162" fmla="*/ 4852637 h 5694845"/>
              <a:gd name="connsiteX163" fmla="*/ 4561214 w 6096000"/>
              <a:gd name="connsiteY163" fmla="*/ 4831907 h 5694845"/>
              <a:gd name="connsiteX164" fmla="*/ 4462576 w 6096000"/>
              <a:gd name="connsiteY164" fmla="*/ 4732866 h 5694845"/>
              <a:gd name="connsiteX165" fmla="*/ 4259514 w 6096000"/>
              <a:gd name="connsiteY165" fmla="*/ 4732855 h 5694845"/>
              <a:gd name="connsiteX166" fmla="*/ 4259514 w 6096000"/>
              <a:gd name="connsiteY166" fmla="*/ 4933746 h 5694845"/>
              <a:gd name="connsiteX167" fmla="*/ 4315977 w 6096000"/>
              <a:gd name="connsiteY167" fmla="*/ 4933746 h 5694845"/>
              <a:gd name="connsiteX168" fmla="*/ 4315977 w 6096000"/>
              <a:gd name="connsiteY168" fmla="*/ 4784407 h 5694845"/>
              <a:gd name="connsiteX169" fmla="*/ 4361369 w 6096000"/>
              <a:gd name="connsiteY169" fmla="*/ 4784407 h 5694845"/>
              <a:gd name="connsiteX170" fmla="*/ 4361369 w 6096000"/>
              <a:gd name="connsiteY170" fmla="*/ 4732855 h 5694845"/>
              <a:gd name="connsiteX171" fmla="*/ 4677980 w 6096000"/>
              <a:gd name="connsiteY171" fmla="*/ 4732833 h 5694845"/>
              <a:gd name="connsiteX172" fmla="*/ 4677028 w 6096000"/>
              <a:gd name="connsiteY172" fmla="*/ 4732898 h 5694845"/>
              <a:gd name="connsiteX173" fmla="*/ 4576930 w 6096000"/>
              <a:gd name="connsiteY173" fmla="*/ 4833538 h 5694845"/>
              <a:gd name="connsiteX174" fmla="*/ 4678369 w 6096000"/>
              <a:gd name="connsiteY174" fmla="*/ 4935448 h 5694845"/>
              <a:gd name="connsiteX175" fmla="*/ 4758107 w 6096000"/>
              <a:gd name="connsiteY175" fmla="*/ 4898251 h 5694845"/>
              <a:gd name="connsiteX176" fmla="*/ 4762291 w 6096000"/>
              <a:gd name="connsiteY176" fmla="*/ 4893345 h 5694845"/>
              <a:gd name="connsiteX177" fmla="*/ 4726280 w 6096000"/>
              <a:gd name="connsiteY177" fmla="*/ 4857304 h 5694845"/>
              <a:gd name="connsiteX178" fmla="*/ 4721182 w 6096000"/>
              <a:gd name="connsiteY178" fmla="*/ 4862442 h 5694845"/>
              <a:gd name="connsiteX179" fmla="*/ 4679299 w 6096000"/>
              <a:gd name="connsiteY179" fmla="*/ 4882610 h 5694845"/>
              <a:gd name="connsiteX180" fmla="*/ 4633404 w 6096000"/>
              <a:gd name="connsiteY180" fmla="*/ 4834181 h 5694845"/>
              <a:gd name="connsiteX181" fmla="*/ 4678169 w 6096000"/>
              <a:gd name="connsiteY181" fmla="*/ 4785703 h 5694845"/>
              <a:gd name="connsiteX182" fmla="*/ 4679131 w 6096000"/>
              <a:gd name="connsiteY182" fmla="*/ 4785638 h 5694845"/>
              <a:gd name="connsiteX183" fmla="*/ 4721160 w 6096000"/>
              <a:gd name="connsiteY183" fmla="*/ 4805796 h 5694845"/>
              <a:gd name="connsiteX184" fmla="*/ 4726258 w 6096000"/>
              <a:gd name="connsiteY184" fmla="*/ 4810912 h 5694845"/>
              <a:gd name="connsiteX185" fmla="*/ 4762291 w 6096000"/>
              <a:gd name="connsiteY185" fmla="*/ 4774909 h 5694845"/>
              <a:gd name="connsiteX186" fmla="*/ 4758096 w 6096000"/>
              <a:gd name="connsiteY186" fmla="*/ 4769993 h 5694845"/>
              <a:gd name="connsiteX187" fmla="*/ 4677980 w 6096000"/>
              <a:gd name="connsiteY187" fmla="*/ 4732833 h 5694845"/>
              <a:gd name="connsiteX188" fmla="*/ 4061389 w 6096000"/>
              <a:gd name="connsiteY188" fmla="*/ 4699876 h 5694845"/>
              <a:gd name="connsiteX189" fmla="*/ 4061389 w 6096000"/>
              <a:gd name="connsiteY189" fmla="*/ 4826909 h 5694845"/>
              <a:gd name="connsiteX190" fmla="*/ 4060416 w 6096000"/>
              <a:gd name="connsiteY190" fmla="*/ 4841770 h 5694845"/>
              <a:gd name="connsiteX191" fmla="*/ 4060416 w 6096000"/>
              <a:gd name="connsiteY191" fmla="*/ 4841770 h 5694845"/>
              <a:gd name="connsiteX192" fmla="*/ 4060416 w 6096000"/>
              <a:gd name="connsiteY192" fmla="*/ 4841771 h 5694845"/>
              <a:gd name="connsiteX193" fmla="*/ 3918482 w 6096000"/>
              <a:gd name="connsiteY193" fmla="*/ 4699935 h 5694845"/>
              <a:gd name="connsiteX194" fmla="*/ 3918482 w 6096000"/>
              <a:gd name="connsiteY194" fmla="*/ 4826908 h 5694845"/>
              <a:gd name="connsiteX195" fmla="*/ 3936047 w 6096000"/>
              <a:gd name="connsiteY195" fmla="*/ 4894861 h 5694845"/>
              <a:gd name="connsiteX196" fmla="*/ 4020094 w 6096000"/>
              <a:gd name="connsiteY196" fmla="*/ 4935349 h 5694845"/>
              <a:gd name="connsiteX197" fmla="*/ 4104141 w 6096000"/>
              <a:gd name="connsiteY197" fmla="*/ 4894861 h 5694845"/>
              <a:gd name="connsiteX198" fmla="*/ 4107893 w 6096000"/>
              <a:gd name="connsiteY198" fmla="*/ 4889215 h 5694845"/>
              <a:gd name="connsiteX199" fmla="*/ 4107892 w 6096000"/>
              <a:gd name="connsiteY199" fmla="*/ 4889213 h 5694845"/>
              <a:gd name="connsiteX200" fmla="*/ 4107894 w 6096000"/>
              <a:gd name="connsiteY200" fmla="*/ 4889215 h 5694845"/>
              <a:gd name="connsiteX201" fmla="*/ 4121706 w 6096000"/>
              <a:gd name="connsiteY201" fmla="*/ 4826908 h 5694845"/>
              <a:gd name="connsiteX202" fmla="*/ 4121706 w 6096000"/>
              <a:gd name="connsiteY202" fmla="*/ 4699876 h 5694845"/>
              <a:gd name="connsiteX203" fmla="*/ 4205101 w 6096000"/>
              <a:gd name="connsiteY203" fmla="*/ 4676225 h 5694845"/>
              <a:gd name="connsiteX204" fmla="*/ 4148626 w 6096000"/>
              <a:gd name="connsiteY204" fmla="*/ 4732866 h 5694845"/>
              <a:gd name="connsiteX205" fmla="*/ 4148626 w 6096000"/>
              <a:gd name="connsiteY205" fmla="*/ 4933747 h 5694845"/>
              <a:gd name="connsiteX206" fmla="*/ 4205101 w 6096000"/>
              <a:gd name="connsiteY206" fmla="*/ 4933747 h 5694845"/>
              <a:gd name="connsiteX207" fmla="*/ 4205101 w 6096000"/>
              <a:gd name="connsiteY207" fmla="*/ 4784407 h 5694845"/>
              <a:gd name="connsiteX208" fmla="*/ 4241766 w 6096000"/>
              <a:gd name="connsiteY208" fmla="*/ 4784407 h 5694845"/>
              <a:gd name="connsiteX209" fmla="*/ 4241766 w 6096000"/>
              <a:gd name="connsiteY209" fmla="*/ 4732856 h 5694845"/>
              <a:gd name="connsiteX210" fmla="*/ 4205101 w 6096000"/>
              <a:gd name="connsiteY210" fmla="*/ 4732856 h 5694845"/>
              <a:gd name="connsiteX211" fmla="*/ 4838996 w 6096000"/>
              <a:gd name="connsiteY211" fmla="*/ 4676144 h 5694845"/>
              <a:gd name="connsiteX212" fmla="*/ 4782532 w 6096000"/>
              <a:gd name="connsiteY212" fmla="*/ 4732867 h 5694845"/>
              <a:gd name="connsiteX213" fmla="*/ 4782532 w 6096000"/>
              <a:gd name="connsiteY213" fmla="*/ 4933746 h 5694845"/>
              <a:gd name="connsiteX214" fmla="*/ 4838996 w 6096000"/>
              <a:gd name="connsiteY214" fmla="*/ 4933746 h 5694845"/>
              <a:gd name="connsiteX215" fmla="*/ 4838996 w 6096000"/>
              <a:gd name="connsiteY215" fmla="*/ 4833015 h 5694845"/>
              <a:gd name="connsiteX216" fmla="*/ 4867752 w 6096000"/>
              <a:gd name="connsiteY216" fmla="*/ 4785844 h 5694845"/>
              <a:gd name="connsiteX217" fmla="*/ 4897152 w 6096000"/>
              <a:gd name="connsiteY217" fmla="*/ 4832377 h 5694845"/>
              <a:gd name="connsiteX218" fmla="*/ 4897152 w 6096000"/>
              <a:gd name="connsiteY218" fmla="*/ 4933746 h 5694845"/>
              <a:gd name="connsiteX219" fmla="*/ 4953615 w 6096000"/>
              <a:gd name="connsiteY219" fmla="*/ 4933746 h 5694845"/>
              <a:gd name="connsiteX220" fmla="*/ 4953615 w 6096000"/>
              <a:gd name="connsiteY220" fmla="*/ 4823144 h 5694845"/>
              <a:gd name="connsiteX221" fmla="*/ 4938072 w 6096000"/>
              <a:gd name="connsiteY221" fmla="*/ 4762765 h 5694845"/>
              <a:gd name="connsiteX222" fmla="*/ 4877965 w 6096000"/>
              <a:gd name="connsiteY222" fmla="*/ 4733012 h 5694845"/>
              <a:gd name="connsiteX223" fmla="*/ 4838996 w 6096000"/>
              <a:gd name="connsiteY223" fmla="*/ 4743990 h 5694845"/>
              <a:gd name="connsiteX224" fmla="*/ 5037771 w 6096000"/>
              <a:gd name="connsiteY224" fmla="*/ 4676143 h 5694845"/>
              <a:gd name="connsiteX225" fmla="*/ 4981307 w 6096000"/>
              <a:gd name="connsiteY225" fmla="*/ 4732866 h 5694845"/>
              <a:gd name="connsiteX226" fmla="*/ 4981307 w 6096000"/>
              <a:gd name="connsiteY226" fmla="*/ 4933745 h 5694845"/>
              <a:gd name="connsiteX227" fmla="*/ 5037771 w 6096000"/>
              <a:gd name="connsiteY227" fmla="*/ 4933745 h 5694845"/>
              <a:gd name="connsiteX228" fmla="*/ 5037771 w 6096000"/>
              <a:gd name="connsiteY228" fmla="*/ 4784331 h 5694845"/>
              <a:gd name="connsiteX229" fmla="*/ 5074447 w 6096000"/>
              <a:gd name="connsiteY229" fmla="*/ 4784331 h 5694845"/>
              <a:gd name="connsiteX230" fmla="*/ 5074447 w 6096000"/>
              <a:gd name="connsiteY230" fmla="*/ 4732779 h 5694845"/>
              <a:gd name="connsiteX231" fmla="*/ 5037771 w 6096000"/>
              <a:gd name="connsiteY231" fmla="*/ 4732779 h 5694845"/>
              <a:gd name="connsiteX232" fmla="*/ 4656824 w 6096000"/>
              <a:gd name="connsiteY232" fmla="*/ 0 h 5694845"/>
              <a:gd name="connsiteX233" fmla="*/ 6096000 w 6096000"/>
              <a:gd name="connsiteY233" fmla="*/ 0 h 5694845"/>
              <a:gd name="connsiteX234" fmla="*/ 6096000 w 6096000"/>
              <a:gd name="connsiteY234" fmla="*/ 3891478 h 5694845"/>
              <a:gd name="connsiteX235" fmla="*/ 6096000 w 6096000"/>
              <a:gd name="connsiteY235" fmla="*/ 4014054 h 5694845"/>
              <a:gd name="connsiteX236" fmla="*/ 6096000 w 6096000"/>
              <a:gd name="connsiteY236" fmla="*/ 5694845 h 5694845"/>
              <a:gd name="connsiteX237" fmla="*/ 4415318 w 6096000"/>
              <a:gd name="connsiteY237" fmla="*/ 5694845 h 5694845"/>
              <a:gd name="connsiteX238" fmla="*/ 4276814 w 6096000"/>
              <a:gd name="connsiteY238" fmla="*/ 5694845 h 5694845"/>
              <a:gd name="connsiteX239" fmla="*/ 194959 w 6096000"/>
              <a:gd name="connsiteY239" fmla="*/ 5694845 h 5694845"/>
              <a:gd name="connsiteX240" fmla="*/ 153490 w 6096000"/>
              <a:gd name="connsiteY240" fmla="*/ 5555204 h 5694845"/>
              <a:gd name="connsiteX241" fmla="*/ 0 w 6096000"/>
              <a:gd name="connsiteY241" fmla="*/ 4360902 h 5694845"/>
              <a:gd name="connsiteX242" fmla="*/ 1738674 w 6096000"/>
              <a:gd name="connsiteY242" fmla="*/ 754023 h 5694845"/>
              <a:gd name="connsiteX243" fmla="*/ 4656824 w 6096000"/>
              <a:gd name="connsiteY243" fmla="*/ 0 h 569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6096000" h="5694845">
                <a:moveTo>
                  <a:pt x="4824647" y="5044080"/>
                </a:moveTo>
                <a:cubicBezTo>
                  <a:pt x="4835548" y="5044080"/>
                  <a:pt x="4843853" y="5052552"/>
                  <a:pt x="4843853" y="5064827"/>
                </a:cubicBezTo>
                <a:cubicBezTo>
                  <a:pt x="4843853" y="5077103"/>
                  <a:pt x="4835548" y="5085574"/>
                  <a:pt x="4824647" y="5085574"/>
                </a:cubicBezTo>
                <a:cubicBezTo>
                  <a:pt x="4813748" y="5085574"/>
                  <a:pt x="4805442" y="5077103"/>
                  <a:pt x="4805442" y="5064827"/>
                </a:cubicBezTo>
                <a:cubicBezTo>
                  <a:pt x="4805442" y="5052552"/>
                  <a:pt x="4813748" y="5044080"/>
                  <a:pt x="4824647" y="5044080"/>
                </a:cubicBezTo>
                <a:close/>
                <a:moveTo>
                  <a:pt x="5257674" y="5043388"/>
                </a:moveTo>
                <a:cubicBezTo>
                  <a:pt x="5269439" y="5043388"/>
                  <a:pt x="5277396" y="5052379"/>
                  <a:pt x="5277396" y="5064827"/>
                </a:cubicBezTo>
                <a:cubicBezTo>
                  <a:pt x="5277396" y="5077276"/>
                  <a:pt x="5269439" y="5086267"/>
                  <a:pt x="5257674" y="5086267"/>
                </a:cubicBezTo>
                <a:cubicBezTo>
                  <a:pt x="5245908" y="5086267"/>
                  <a:pt x="5237950" y="5077276"/>
                  <a:pt x="5237950" y="5064827"/>
                </a:cubicBezTo>
                <a:cubicBezTo>
                  <a:pt x="5237950" y="5052379"/>
                  <a:pt x="5245908" y="5043388"/>
                  <a:pt x="5257674" y="5043388"/>
                </a:cubicBezTo>
                <a:close/>
                <a:moveTo>
                  <a:pt x="4553903" y="5043388"/>
                </a:moveTo>
                <a:cubicBezTo>
                  <a:pt x="4565668" y="5043388"/>
                  <a:pt x="4573626" y="5052379"/>
                  <a:pt x="4573626" y="5064827"/>
                </a:cubicBezTo>
                <a:cubicBezTo>
                  <a:pt x="4573626" y="5077276"/>
                  <a:pt x="4565668" y="5086267"/>
                  <a:pt x="4553903" y="5086267"/>
                </a:cubicBezTo>
                <a:cubicBezTo>
                  <a:pt x="4542137" y="5086267"/>
                  <a:pt x="4534179" y="5077276"/>
                  <a:pt x="4534179" y="5064827"/>
                </a:cubicBezTo>
                <a:cubicBezTo>
                  <a:pt x="4534179" y="5052379"/>
                  <a:pt x="4542137" y="5043388"/>
                  <a:pt x="4553903" y="5043388"/>
                </a:cubicBezTo>
                <a:close/>
                <a:moveTo>
                  <a:pt x="5156814" y="5040967"/>
                </a:moveTo>
                <a:cubicBezTo>
                  <a:pt x="5164426" y="5040967"/>
                  <a:pt x="5172386" y="5044771"/>
                  <a:pt x="5174634" y="5053935"/>
                </a:cubicBezTo>
                <a:lnTo>
                  <a:pt x="5137955" y="5053935"/>
                </a:lnTo>
                <a:cubicBezTo>
                  <a:pt x="5140204" y="5044425"/>
                  <a:pt x="5149201" y="5040967"/>
                  <a:pt x="5156814" y="5040967"/>
                </a:cubicBezTo>
                <a:close/>
                <a:moveTo>
                  <a:pt x="4453043" y="5040967"/>
                </a:moveTo>
                <a:cubicBezTo>
                  <a:pt x="4460655" y="5040967"/>
                  <a:pt x="4468615" y="5044771"/>
                  <a:pt x="4470863" y="5053935"/>
                </a:cubicBezTo>
                <a:lnTo>
                  <a:pt x="4434184" y="5053935"/>
                </a:lnTo>
                <a:cubicBezTo>
                  <a:pt x="4436433" y="5044425"/>
                  <a:pt x="4445430" y="5040967"/>
                  <a:pt x="4453043" y="5040967"/>
                </a:cubicBezTo>
                <a:close/>
                <a:moveTo>
                  <a:pt x="4619119" y="5021603"/>
                </a:moveTo>
                <a:lnTo>
                  <a:pt x="4619119" y="5108052"/>
                </a:lnTo>
                <a:lnTo>
                  <a:pt x="4645246" y="5108052"/>
                </a:lnTo>
                <a:lnTo>
                  <a:pt x="4645246" y="5044253"/>
                </a:lnTo>
                <a:lnTo>
                  <a:pt x="4674312" y="5044253"/>
                </a:lnTo>
                <a:lnTo>
                  <a:pt x="4674312" y="5021603"/>
                </a:lnTo>
                <a:close/>
                <a:moveTo>
                  <a:pt x="5251790" y="5019701"/>
                </a:moveTo>
                <a:cubicBezTo>
                  <a:pt x="5229126" y="5019701"/>
                  <a:pt x="5211651" y="5040277"/>
                  <a:pt x="5211651" y="5064827"/>
                </a:cubicBezTo>
                <a:cubicBezTo>
                  <a:pt x="5211651" y="5089379"/>
                  <a:pt x="5229126" y="5109952"/>
                  <a:pt x="5251790" y="5109952"/>
                </a:cubicBezTo>
                <a:cubicBezTo>
                  <a:pt x="5263382" y="5109952"/>
                  <a:pt x="5271860" y="5104076"/>
                  <a:pt x="5275322" y="5099407"/>
                </a:cubicBezTo>
                <a:lnTo>
                  <a:pt x="5275322" y="5108052"/>
                </a:lnTo>
                <a:lnTo>
                  <a:pt x="5301447" y="5108052"/>
                </a:lnTo>
                <a:lnTo>
                  <a:pt x="5301447" y="5021603"/>
                </a:lnTo>
                <a:lnTo>
                  <a:pt x="5275322" y="5021603"/>
                </a:lnTo>
                <a:lnTo>
                  <a:pt x="5275322" y="5030248"/>
                </a:lnTo>
                <a:cubicBezTo>
                  <a:pt x="5271860" y="5025580"/>
                  <a:pt x="5263382" y="5019701"/>
                  <a:pt x="5251790" y="5019701"/>
                </a:cubicBezTo>
                <a:close/>
                <a:moveTo>
                  <a:pt x="5157506" y="5019701"/>
                </a:moveTo>
                <a:cubicBezTo>
                  <a:pt x="5131207" y="5019701"/>
                  <a:pt x="5112003" y="5039066"/>
                  <a:pt x="5112003" y="5064827"/>
                </a:cubicBezTo>
                <a:cubicBezTo>
                  <a:pt x="5112003" y="5092664"/>
                  <a:pt x="5132591" y="5109952"/>
                  <a:pt x="5158025" y="5109952"/>
                </a:cubicBezTo>
                <a:cubicBezTo>
                  <a:pt x="5176192" y="5109952"/>
                  <a:pt x="5190551" y="5102346"/>
                  <a:pt x="5198684" y="5090935"/>
                </a:cubicBezTo>
                <a:lnTo>
                  <a:pt x="5179306" y="5076412"/>
                </a:lnTo>
                <a:cubicBezTo>
                  <a:pt x="5176018" y="5081425"/>
                  <a:pt x="5168405" y="5086267"/>
                  <a:pt x="5158371" y="5086267"/>
                </a:cubicBezTo>
                <a:cubicBezTo>
                  <a:pt x="5148509" y="5086267"/>
                  <a:pt x="5138820" y="5081425"/>
                  <a:pt x="5137263" y="5071052"/>
                </a:cubicBezTo>
                <a:lnTo>
                  <a:pt x="5200068" y="5071052"/>
                </a:lnTo>
                <a:cubicBezTo>
                  <a:pt x="5200587" y="5066901"/>
                  <a:pt x="5200587" y="5064136"/>
                  <a:pt x="5200587" y="5061889"/>
                </a:cubicBezTo>
                <a:cubicBezTo>
                  <a:pt x="5200587" y="5033879"/>
                  <a:pt x="5180343" y="5019701"/>
                  <a:pt x="5157506" y="5019701"/>
                </a:cubicBezTo>
                <a:close/>
                <a:moveTo>
                  <a:pt x="4824647" y="5019701"/>
                </a:moveTo>
                <a:cubicBezTo>
                  <a:pt x="4799734" y="5019701"/>
                  <a:pt x="4779145" y="5039412"/>
                  <a:pt x="4779145" y="5064827"/>
                </a:cubicBezTo>
                <a:cubicBezTo>
                  <a:pt x="4779145" y="5090243"/>
                  <a:pt x="4799734" y="5109952"/>
                  <a:pt x="4824647" y="5109952"/>
                </a:cubicBezTo>
                <a:cubicBezTo>
                  <a:pt x="4849562" y="5109952"/>
                  <a:pt x="4870150" y="5090243"/>
                  <a:pt x="4870150" y="5064827"/>
                </a:cubicBezTo>
                <a:cubicBezTo>
                  <a:pt x="4870150" y="5039412"/>
                  <a:pt x="4849562" y="5019701"/>
                  <a:pt x="4824647" y="5019701"/>
                </a:cubicBezTo>
                <a:close/>
                <a:moveTo>
                  <a:pt x="4548019" y="5019701"/>
                </a:moveTo>
                <a:cubicBezTo>
                  <a:pt x="4525355" y="5019701"/>
                  <a:pt x="4507880" y="5040277"/>
                  <a:pt x="4507880" y="5064827"/>
                </a:cubicBezTo>
                <a:cubicBezTo>
                  <a:pt x="4507880" y="5089379"/>
                  <a:pt x="4525355" y="5109952"/>
                  <a:pt x="4548019" y="5109952"/>
                </a:cubicBezTo>
                <a:cubicBezTo>
                  <a:pt x="4559611" y="5109952"/>
                  <a:pt x="4568089" y="5104076"/>
                  <a:pt x="4571549" y="5099407"/>
                </a:cubicBezTo>
                <a:lnTo>
                  <a:pt x="4571549" y="5108052"/>
                </a:lnTo>
                <a:lnTo>
                  <a:pt x="4597676" y="5108052"/>
                </a:lnTo>
                <a:lnTo>
                  <a:pt x="4597676" y="5021603"/>
                </a:lnTo>
                <a:lnTo>
                  <a:pt x="4571549" y="5021603"/>
                </a:lnTo>
                <a:lnTo>
                  <a:pt x="4571549" y="5030248"/>
                </a:lnTo>
                <a:cubicBezTo>
                  <a:pt x="4568089" y="5025580"/>
                  <a:pt x="4559611" y="5019701"/>
                  <a:pt x="4548019" y="5019701"/>
                </a:cubicBezTo>
                <a:close/>
                <a:moveTo>
                  <a:pt x="4453735" y="5019701"/>
                </a:moveTo>
                <a:cubicBezTo>
                  <a:pt x="4427437" y="5019701"/>
                  <a:pt x="4408232" y="5039066"/>
                  <a:pt x="4408232" y="5064827"/>
                </a:cubicBezTo>
                <a:cubicBezTo>
                  <a:pt x="4408232" y="5092664"/>
                  <a:pt x="4428820" y="5109952"/>
                  <a:pt x="4454254" y="5109952"/>
                </a:cubicBezTo>
                <a:cubicBezTo>
                  <a:pt x="4472419" y="5109952"/>
                  <a:pt x="4486780" y="5102346"/>
                  <a:pt x="4494911" y="5090935"/>
                </a:cubicBezTo>
                <a:lnTo>
                  <a:pt x="4475535" y="5076412"/>
                </a:lnTo>
                <a:cubicBezTo>
                  <a:pt x="4472247" y="5081425"/>
                  <a:pt x="4464634" y="5086267"/>
                  <a:pt x="4454600" y="5086267"/>
                </a:cubicBezTo>
                <a:cubicBezTo>
                  <a:pt x="4444737" y="5086267"/>
                  <a:pt x="4435049" y="5081425"/>
                  <a:pt x="4433492" y="5071052"/>
                </a:cubicBezTo>
                <a:lnTo>
                  <a:pt x="4496297" y="5071052"/>
                </a:lnTo>
                <a:cubicBezTo>
                  <a:pt x="4496816" y="5066901"/>
                  <a:pt x="4496816" y="5064136"/>
                  <a:pt x="4496816" y="5061889"/>
                </a:cubicBezTo>
                <a:cubicBezTo>
                  <a:pt x="4496816" y="5033879"/>
                  <a:pt x="4476572" y="5019701"/>
                  <a:pt x="4453735" y="5019701"/>
                </a:cubicBezTo>
                <a:close/>
                <a:moveTo>
                  <a:pt x="5396593" y="4994112"/>
                </a:moveTo>
                <a:lnTo>
                  <a:pt x="5370466" y="5021603"/>
                </a:lnTo>
                <a:lnTo>
                  <a:pt x="5370466" y="5108052"/>
                </a:lnTo>
                <a:lnTo>
                  <a:pt x="5396593" y="5108052"/>
                </a:lnTo>
                <a:lnTo>
                  <a:pt x="5396593" y="5044253"/>
                </a:lnTo>
                <a:lnTo>
                  <a:pt x="5420814" y="5044253"/>
                </a:lnTo>
                <a:lnTo>
                  <a:pt x="5420814" y="5021603"/>
                </a:lnTo>
                <a:lnTo>
                  <a:pt x="5396593" y="5021603"/>
                </a:lnTo>
                <a:close/>
                <a:moveTo>
                  <a:pt x="4714792" y="4994112"/>
                </a:moveTo>
                <a:lnTo>
                  <a:pt x="4688666" y="5021603"/>
                </a:lnTo>
                <a:lnTo>
                  <a:pt x="4688666" y="5108052"/>
                </a:lnTo>
                <a:lnTo>
                  <a:pt x="4714792" y="5108052"/>
                </a:lnTo>
                <a:lnTo>
                  <a:pt x="4714792" y="5044253"/>
                </a:lnTo>
                <a:lnTo>
                  <a:pt x="4739013" y="5044253"/>
                </a:lnTo>
                <a:lnTo>
                  <a:pt x="4739013" y="5021603"/>
                </a:lnTo>
                <a:lnTo>
                  <a:pt x="4714792" y="5021603"/>
                </a:lnTo>
                <a:close/>
                <a:moveTo>
                  <a:pt x="4992283" y="4985296"/>
                </a:moveTo>
                <a:lnTo>
                  <a:pt x="4992283" y="5108052"/>
                </a:lnTo>
                <a:lnTo>
                  <a:pt x="5019793" y="5108052"/>
                </a:lnTo>
                <a:lnTo>
                  <a:pt x="5019793" y="5059468"/>
                </a:lnTo>
                <a:lnTo>
                  <a:pt x="5069275" y="5059468"/>
                </a:lnTo>
                <a:lnTo>
                  <a:pt x="5069275" y="5108052"/>
                </a:lnTo>
                <a:lnTo>
                  <a:pt x="5096784" y="5108052"/>
                </a:lnTo>
                <a:lnTo>
                  <a:pt x="5096784" y="4985296"/>
                </a:lnTo>
                <a:lnTo>
                  <a:pt x="5069275" y="4985296"/>
                </a:lnTo>
                <a:lnTo>
                  <a:pt x="5069275" y="5033360"/>
                </a:lnTo>
                <a:lnTo>
                  <a:pt x="5019793" y="5033360"/>
                </a:lnTo>
                <a:lnTo>
                  <a:pt x="5019793" y="4985296"/>
                </a:lnTo>
                <a:close/>
                <a:moveTo>
                  <a:pt x="4288512" y="4985296"/>
                </a:moveTo>
                <a:lnTo>
                  <a:pt x="4288512" y="5069710"/>
                </a:lnTo>
                <a:lnTo>
                  <a:pt x="4316020" y="5097200"/>
                </a:lnTo>
                <a:lnTo>
                  <a:pt x="4316020" y="5059468"/>
                </a:lnTo>
                <a:lnTo>
                  <a:pt x="4365504" y="5059468"/>
                </a:lnTo>
                <a:lnTo>
                  <a:pt x="4365504" y="5108052"/>
                </a:lnTo>
                <a:lnTo>
                  <a:pt x="4393013" y="5108052"/>
                </a:lnTo>
                <a:lnTo>
                  <a:pt x="4393013" y="4985296"/>
                </a:lnTo>
                <a:lnTo>
                  <a:pt x="4365504" y="4985296"/>
                </a:lnTo>
                <a:lnTo>
                  <a:pt x="4365504" y="5033360"/>
                </a:lnTo>
                <a:lnTo>
                  <a:pt x="4316020" y="5033360"/>
                </a:lnTo>
                <a:lnTo>
                  <a:pt x="4316020" y="4985296"/>
                </a:lnTo>
                <a:close/>
                <a:moveTo>
                  <a:pt x="5434130" y="4978379"/>
                </a:moveTo>
                <a:lnTo>
                  <a:pt x="5434130" y="5108052"/>
                </a:lnTo>
                <a:lnTo>
                  <a:pt x="5460257" y="5108052"/>
                </a:lnTo>
                <a:lnTo>
                  <a:pt x="5460257" y="5066037"/>
                </a:lnTo>
                <a:cubicBezTo>
                  <a:pt x="5460257" y="5050478"/>
                  <a:pt x="5467868" y="5043388"/>
                  <a:pt x="5477731" y="5043388"/>
                </a:cubicBezTo>
                <a:cubicBezTo>
                  <a:pt x="5487074" y="5043388"/>
                  <a:pt x="5491744" y="5050650"/>
                  <a:pt x="5491744" y="5062579"/>
                </a:cubicBezTo>
                <a:lnTo>
                  <a:pt x="5491744" y="5108052"/>
                </a:lnTo>
                <a:lnTo>
                  <a:pt x="5517870" y="5108052"/>
                </a:lnTo>
                <a:lnTo>
                  <a:pt x="5517870" y="5058085"/>
                </a:lnTo>
                <a:cubicBezTo>
                  <a:pt x="5517870" y="5035434"/>
                  <a:pt x="5505586" y="5019701"/>
                  <a:pt x="5484305" y="5019701"/>
                </a:cubicBezTo>
                <a:cubicBezTo>
                  <a:pt x="5473060" y="5019701"/>
                  <a:pt x="5464408" y="5024543"/>
                  <a:pt x="5460257" y="5030422"/>
                </a:cubicBezTo>
                <a:lnTo>
                  <a:pt x="5460257" y="4978379"/>
                </a:lnTo>
                <a:close/>
                <a:moveTo>
                  <a:pt x="5322892" y="4978379"/>
                </a:moveTo>
                <a:lnTo>
                  <a:pt x="5322892" y="5108052"/>
                </a:lnTo>
                <a:lnTo>
                  <a:pt x="5349018" y="5108052"/>
                </a:lnTo>
                <a:lnTo>
                  <a:pt x="5349018" y="4978379"/>
                </a:lnTo>
                <a:close/>
                <a:moveTo>
                  <a:pt x="4929143" y="4977342"/>
                </a:moveTo>
                <a:cubicBezTo>
                  <a:pt x="4909938" y="4977342"/>
                  <a:pt x="4894366" y="4990136"/>
                  <a:pt x="4894366" y="5012095"/>
                </a:cubicBezTo>
                <a:lnTo>
                  <a:pt x="4894366" y="5021603"/>
                </a:lnTo>
                <a:lnTo>
                  <a:pt x="4877066" y="5021603"/>
                </a:lnTo>
                <a:lnTo>
                  <a:pt x="4877066" y="5044253"/>
                </a:lnTo>
                <a:lnTo>
                  <a:pt x="4894366" y="5044253"/>
                </a:lnTo>
                <a:lnTo>
                  <a:pt x="4894366" y="5108052"/>
                </a:lnTo>
                <a:lnTo>
                  <a:pt x="4920492" y="5108052"/>
                </a:lnTo>
                <a:lnTo>
                  <a:pt x="4920492" y="5044253"/>
                </a:lnTo>
                <a:lnTo>
                  <a:pt x="4944715" y="5044253"/>
                </a:lnTo>
                <a:lnTo>
                  <a:pt x="4944715" y="5021603"/>
                </a:lnTo>
                <a:lnTo>
                  <a:pt x="4920492" y="5021603"/>
                </a:lnTo>
                <a:lnTo>
                  <a:pt x="4920492" y="5015379"/>
                </a:lnTo>
                <a:cubicBezTo>
                  <a:pt x="4920492" y="5005005"/>
                  <a:pt x="4924818" y="5000683"/>
                  <a:pt x="4935372" y="5000683"/>
                </a:cubicBezTo>
                <a:cubicBezTo>
                  <a:pt x="4939178" y="5000683"/>
                  <a:pt x="4941946" y="5001202"/>
                  <a:pt x="4944715" y="5002238"/>
                </a:cubicBezTo>
                <a:lnTo>
                  <a:pt x="4944715" y="4979243"/>
                </a:lnTo>
                <a:cubicBezTo>
                  <a:pt x="4940908" y="4978033"/>
                  <a:pt x="4936063" y="4977342"/>
                  <a:pt x="4929143" y="4977342"/>
                </a:cubicBezTo>
                <a:close/>
                <a:moveTo>
                  <a:pt x="4462900" y="4785693"/>
                </a:moveTo>
                <a:cubicBezTo>
                  <a:pt x="4482547" y="4785693"/>
                  <a:pt x="4496187" y="4795045"/>
                  <a:pt x="4501880" y="4812182"/>
                </a:cubicBezTo>
                <a:lnTo>
                  <a:pt x="4422342" y="4812182"/>
                </a:lnTo>
                <a:cubicBezTo>
                  <a:pt x="4431657" y="4789313"/>
                  <a:pt x="4451390" y="4785693"/>
                  <a:pt x="4462900" y="4785693"/>
                </a:cubicBezTo>
                <a:close/>
                <a:moveTo>
                  <a:pt x="4462576" y="4732866"/>
                </a:moveTo>
                <a:cubicBezTo>
                  <a:pt x="4399846" y="4732866"/>
                  <a:pt x="4362359" y="4784688"/>
                  <a:pt x="4362359" y="4834776"/>
                </a:cubicBezTo>
                <a:cubicBezTo>
                  <a:pt x="4362359" y="4891211"/>
                  <a:pt x="4406523" y="4935416"/>
                  <a:pt x="4462900" y="4935416"/>
                </a:cubicBezTo>
                <a:cubicBezTo>
                  <a:pt x="4492154" y="4935416"/>
                  <a:pt x="4519418" y="4924832"/>
                  <a:pt x="4539313" y="4906069"/>
                </a:cubicBezTo>
                <a:lnTo>
                  <a:pt x="4502388" y="4869239"/>
                </a:lnTo>
                <a:cubicBezTo>
                  <a:pt x="4490991" y="4878769"/>
                  <a:pt x="4480844" y="4882227"/>
                  <a:pt x="4465139" y="4882518"/>
                </a:cubicBezTo>
                <a:cubicBezTo>
                  <a:pt x="4451498" y="4882389"/>
                  <a:pt x="4439215" y="4876776"/>
                  <a:pt x="4430371" y="4867802"/>
                </a:cubicBezTo>
                <a:cubicBezTo>
                  <a:pt x="4428554" y="4865949"/>
                  <a:pt x="4426916" y="4863955"/>
                  <a:pt x="4425413" y="4861843"/>
                </a:cubicBezTo>
                <a:cubicBezTo>
                  <a:pt x="4425067" y="4861308"/>
                  <a:pt x="4424661" y="4860773"/>
                  <a:pt x="4424348" y="4860249"/>
                </a:cubicBezTo>
                <a:lnTo>
                  <a:pt x="4424327" y="4860249"/>
                </a:lnTo>
                <a:cubicBezTo>
                  <a:pt x="4422742" y="4857834"/>
                  <a:pt x="4421315" y="4855311"/>
                  <a:pt x="4420185" y="4852637"/>
                </a:cubicBezTo>
                <a:lnTo>
                  <a:pt x="4558927" y="4852637"/>
                </a:lnTo>
                <a:cubicBezTo>
                  <a:pt x="4560014" y="4847429"/>
                  <a:pt x="4561214" y="4840286"/>
                  <a:pt x="4561214" y="4831907"/>
                </a:cubicBezTo>
                <a:cubicBezTo>
                  <a:pt x="4561214" y="4783224"/>
                  <a:pt x="4524327" y="4732866"/>
                  <a:pt x="4462576" y="4732866"/>
                </a:cubicBezTo>
                <a:close/>
                <a:moveTo>
                  <a:pt x="4259514" y="4732855"/>
                </a:moveTo>
                <a:lnTo>
                  <a:pt x="4259514" y="4933746"/>
                </a:lnTo>
                <a:lnTo>
                  <a:pt x="4315977" y="4933746"/>
                </a:lnTo>
                <a:lnTo>
                  <a:pt x="4315977" y="4784407"/>
                </a:lnTo>
                <a:lnTo>
                  <a:pt x="4361369" y="4784407"/>
                </a:lnTo>
                <a:lnTo>
                  <a:pt x="4361369" y="4732855"/>
                </a:lnTo>
                <a:close/>
                <a:moveTo>
                  <a:pt x="4677980" y="4732833"/>
                </a:moveTo>
                <a:lnTo>
                  <a:pt x="4677028" y="4732898"/>
                </a:lnTo>
                <a:cubicBezTo>
                  <a:pt x="4621759" y="4733319"/>
                  <a:pt x="4576930" y="4778296"/>
                  <a:pt x="4576930" y="4833538"/>
                </a:cubicBezTo>
                <a:cubicBezTo>
                  <a:pt x="4576930" y="4896484"/>
                  <a:pt x="4629463" y="4935448"/>
                  <a:pt x="4678369" y="4935448"/>
                </a:cubicBezTo>
                <a:cubicBezTo>
                  <a:pt x="4710169" y="4935448"/>
                  <a:pt x="4736990" y="4922935"/>
                  <a:pt x="4758107" y="4898251"/>
                </a:cubicBezTo>
                <a:lnTo>
                  <a:pt x="4762291" y="4893345"/>
                </a:lnTo>
                <a:lnTo>
                  <a:pt x="4726280" y="4857304"/>
                </a:lnTo>
                <a:lnTo>
                  <a:pt x="4721182" y="4862442"/>
                </a:lnTo>
                <a:cubicBezTo>
                  <a:pt x="4705384" y="4878207"/>
                  <a:pt x="4698383" y="4882486"/>
                  <a:pt x="4679299" y="4882610"/>
                </a:cubicBezTo>
                <a:cubicBezTo>
                  <a:pt x="4653132" y="4882388"/>
                  <a:pt x="4633404" y="4861567"/>
                  <a:pt x="4633404" y="4834181"/>
                </a:cubicBezTo>
                <a:cubicBezTo>
                  <a:pt x="4633404" y="4800901"/>
                  <a:pt x="4656614" y="4785725"/>
                  <a:pt x="4678169" y="4785703"/>
                </a:cubicBezTo>
                <a:lnTo>
                  <a:pt x="4679131" y="4785638"/>
                </a:lnTo>
                <a:cubicBezTo>
                  <a:pt x="4698329" y="4785747"/>
                  <a:pt x="4705476" y="4790133"/>
                  <a:pt x="4721160" y="4805796"/>
                </a:cubicBezTo>
                <a:lnTo>
                  <a:pt x="4726258" y="4810912"/>
                </a:lnTo>
                <a:lnTo>
                  <a:pt x="4762291" y="4774909"/>
                </a:lnTo>
                <a:lnTo>
                  <a:pt x="4758096" y="4769993"/>
                </a:lnTo>
                <a:cubicBezTo>
                  <a:pt x="4736892" y="4745195"/>
                  <a:pt x="4709872" y="4732655"/>
                  <a:pt x="4677980" y="4732833"/>
                </a:cubicBezTo>
                <a:close/>
                <a:moveTo>
                  <a:pt x="4061389" y="4699876"/>
                </a:moveTo>
                <a:lnTo>
                  <a:pt x="4061389" y="4826909"/>
                </a:lnTo>
                <a:cubicBezTo>
                  <a:pt x="4061389" y="4831643"/>
                  <a:pt x="4061084" y="4836718"/>
                  <a:pt x="4060416" y="4841770"/>
                </a:cubicBezTo>
                <a:lnTo>
                  <a:pt x="4060416" y="4841770"/>
                </a:lnTo>
                <a:lnTo>
                  <a:pt x="4060416" y="4841771"/>
                </a:lnTo>
                <a:lnTo>
                  <a:pt x="3918482" y="4699935"/>
                </a:lnTo>
                <a:lnTo>
                  <a:pt x="3918482" y="4826908"/>
                </a:lnTo>
                <a:cubicBezTo>
                  <a:pt x="3918482" y="4863581"/>
                  <a:pt x="3927964" y="4884116"/>
                  <a:pt x="3936047" y="4894861"/>
                </a:cubicBezTo>
                <a:cubicBezTo>
                  <a:pt x="3950649" y="4914435"/>
                  <a:pt x="3980395" y="4935349"/>
                  <a:pt x="4020094" y="4935349"/>
                </a:cubicBezTo>
                <a:cubicBezTo>
                  <a:pt x="4059793" y="4935349"/>
                  <a:pt x="4089538" y="4914435"/>
                  <a:pt x="4104141" y="4894861"/>
                </a:cubicBezTo>
                <a:cubicBezTo>
                  <a:pt x="4105372" y="4893224"/>
                  <a:pt x="4106635" y="4891329"/>
                  <a:pt x="4107893" y="4889215"/>
                </a:cubicBezTo>
                <a:lnTo>
                  <a:pt x="4107892" y="4889213"/>
                </a:lnTo>
                <a:lnTo>
                  <a:pt x="4107894" y="4889215"/>
                </a:lnTo>
                <a:cubicBezTo>
                  <a:pt x="4114892" y="4877453"/>
                  <a:pt x="4121706" y="4857993"/>
                  <a:pt x="4121706" y="4826908"/>
                </a:cubicBezTo>
                <a:lnTo>
                  <a:pt x="4121706" y="4699876"/>
                </a:lnTo>
                <a:close/>
                <a:moveTo>
                  <a:pt x="4205101" y="4676225"/>
                </a:moveTo>
                <a:lnTo>
                  <a:pt x="4148626" y="4732866"/>
                </a:lnTo>
                <a:lnTo>
                  <a:pt x="4148626" y="4933747"/>
                </a:lnTo>
                <a:lnTo>
                  <a:pt x="4205101" y="4933747"/>
                </a:lnTo>
                <a:lnTo>
                  <a:pt x="4205101" y="4784407"/>
                </a:lnTo>
                <a:lnTo>
                  <a:pt x="4241766" y="4784407"/>
                </a:lnTo>
                <a:lnTo>
                  <a:pt x="4241766" y="4732856"/>
                </a:lnTo>
                <a:lnTo>
                  <a:pt x="4205101" y="4732856"/>
                </a:lnTo>
                <a:close/>
                <a:moveTo>
                  <a:pt x="4838996" y="4676144"/>
                </a:moveTo>
                <a:lnTo>
                  <a:pt x="4782532" y="4732867"/>
                </a:lnTo>
                <a:cubicBezTo>
                  <a:pt x="4782532" y="4732867"/>
                  <a:pt x="4782057" y="4927377"/>
                  <a:pt x="4782532" y="4933746"/>
                </a:cubicBezTo>
                <a:lnTo>
                  <a:pt x="4838996" y="4933746"/>
                </a:lnTo>
                <a:lnTo>
                  <a:pt x="4838996" y="4833015"/>
                </a:lnTo>
                <a:cubicBezTo>
                  <a:pt x="4838996" y="4799951"/>
                  <a:pt x="4847587" y="4785844"/>
                  <a:pt x="4867752" y="4785844"/>
                </a:cubicBezTo>
                <a:cubicBezTo>
                  <a:pt x="4888907" y="4785844"/>
                  <a:pt x="4897152" y="4798886"/>
                  <a:pt x="4897152" y="4832377"/>
                </a:cubicBezTo>
                <a:lnTo>
                  <a:pt x="4897152" y="4933746"/>
                </a:lnTo>
                <a:lnTo>
                  <a:pt x="4953615" y="4933746"/>
                </a:lnTo>
                <a:lnTo>
                  <a:pt x="4953615" y="4823144"/>
                </a:lnTo>
                <a:cubicBezTo>
                  <a:pt x="4953615" y="4808940"/>
                  <a:pt x="4953615" y="4782495"/>
                  <a:pt x="4938072" y="4762765"/>
                </a:cubicBezTo>
                <a:cubicBezTo>
                  <a:pt x="4924080" y="4744968"/>
                  <a:pt x="4899931" y="4733012"/>
                  <a:pt x="4877965" y="4733012"/>
                </a:cubicBezTo>
                <a:cubicBezTo>
                  <a:pt x="4863449" y="4733012"/>
                  <a:pt x="4850382" y="4736697"/>
                  <a:pt x="4838996" y="4743990"/>
                </a:cubicBezTo>
                <a:close/>
                <a:moveTo>
                  <a:pt x="5037771" y="4676143"/>
                </a:moveTo>
                <a:lnTo>
                  <a:pt x="4981307" y="4732866"/>
                </a:lnTo>
                <a:lnTo>
                  <a:pt x="4981307" y="4933745"/>
                </a:lnTo>
                <a:lnTo>
                  <a:pt x="5037771" y="4933745"/>
                </a:lnTo>
                <a:lnTo>
                  <a:pt x="5037771" y="4784331"/>
                </a:lnTo>
                <a:lnTo>
                  <a:pt x="5074447" y="4784331"/>
                </a:lnTo>
                <a:lnTo>
                  <a:pt x="5074447" y="4732779"/>
                </a:lnTo>
                <a:lnTo>
                  <a:pt x="5037771" y="4732779"/>
                </a:lnTo>
                <a:close/>
                <a:moveTo>
                  <a:pt x="4656824" y="0"/>
                </a:moveTo>
                <a:lnTo>
                  <a:pt x="6096000" y="0"/>
                </a:lnTo>
                <a:lnTo>
                  <a:pt x="6096000" y="3891478"/>
                </a:lnTo>
                <a:lnTo>
                  <a:pt x="6096000" y="4014054"/>
                </a:lnTo>
                <a:lnTo>
                  <a:pt x="6096000" y="5694845"/>
                </a:lnTo>
                <a:lnTo>
                  <a:pt x="4415318" y="5694845"/>
                </a:lnTo>
                <a:lnTo>
                  <a:pt x="4276814" y="5694845"/>
                </a:lnTo>
                <a:lnTo>
                  <a:pt x="194959" y="5694845"/>
                </a:lnTo>
                <a:lnTo>
                  <a:pt x="153490" y="5555204"/>
                </a:lnTo>
                <a:cubicBezTo>
                  <a:pt x="56144" y="5186140"/>
                  <a:pt x="0" y="4786883"/>
                  <a:pt x="0" y="4360902"/>
                </a:cubicBezTo>
                <a:cubicBezTo>
                  <a:pt x="0" y="2656980"/>
                  <a:pt x="898297" y="1380619"/>
                  <a:pt x="1738674" y="754023"/>
                </a:cubicBezTo>
                <a:cubicBezTo>
                  <a:pt x="2199933" y="407026"/>
                  <a:pt x="3081907" y="0"/>
                  <a:pt x="4656824" y="0"/>
                </a:cubicBezTo>
                <a:close/>
              </a:path>
            </a:pathLst>
          </a:custGeom>
          <a:solidFill>
            <a:schemeClr val="bg1">
              <a:lumMod val="95000"/>
            </a:schemeClr>
          </a:solidFill>
        </p:spPr>
        <p:txBody>
          <a:bodyPr wrap="square" tIns="1097280" anchor="ctr" anchorCtr="0">
            <a:noAutofit/>
          </a:bodyPr>
          <a:lstStyle>
            <a:lvl1pPr algn="ctr">
              <a:defRPr sz="1200"/>
            </a:lvl1pPr>
          </a:lstStyle>
          <a:p>
            <a:r>
              <a:rPr lang="nl-NL"/>
              <a:t>Klik op het pictogram als u een afbeelding wilt toevoegen</a:t>
            </a:r>
            <a:endParaRPr lang="en-GB"/>
          </a:p>
        </p:txBody>
      </p:sp>
    </p:spTree>
    <p:extLst>
      <p:ext uri="{BB962C8B-B14F-4D97-AF65-F5344CB8AC3E}">
        <p14:creationId xmlns:p14="http://schemas.microsoft.com/office/powerpoint/2010/main" val="34152910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afiek I / 2 kolommen + kop">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dirty="0"/>
          </a:p>
        </p:txBody>
      </p:sp>
      <p:sp>
        <p:nvSpPr>
          <p:cNvPr id="14" name="Chart Placeholder 2">
            <a:extLst>
              <a:ext uri="{FF2B5EF4-FFF2-40B4-BE49-F238E27FC236}">
                <a16:creationId xmlns:a16="http://schemas.microsoft.com/office/drawing/2014/main" id="{449B2FBB-9F5F-9ADE-2491-164C9A70C11C}"/>
              </a:ext>
            </a:extLst>
          </p:cNvPr>
          <p:cNvSpPr>
            <a:spLocks noGrp="1"/>
          </p:cNvSpPr>
          <p:nvPr>
            <p:ph type="chart" sz="quarter" idx="18" hasCustomPrompt="1"/>
          </p:nvPr>
        </p:nvSpPr>
        <p:spPr>
          <a:xfrm>
            <a:off x="1137600" y="2559600"/>
            <a:ext cx="4545013" cy="3240000"/>
          </a:xfrm>
        </p:spPr>
        <p:txBody>
          <a:bodyPr tIns="914400"/>
          <a:lstStyle>
            <a:lvl1pPr algn="ctr">
              <a:defRPr sz="1800"/>
            </a:lvl1pPr>
          </a:lstStyle>
          <a:p>
            <a:r>
              <a:rPr lang="nl-NL" dirty="0"/>
              <a:t>Grafiek</a:t>
            </a:r>
            <a:endParaRPr lang="en-US" dirty="0"/>
          </a:p>
        </p:txBody>
      </p:sp>
      <p:sp>
        <p:nvSpPr>
          <p:cNvPr id="16" name="Chart Placeholder 2">
            <a:extLst>
              <a:ext uri="{FF2B5EF4-FFF2-40B4-BE49-F238E27FC236}">
                <a16:creationId xmlns:a16="http://schemas.microsoft.com/office/drawing/2014/main" id="{C06F400B-114A-344F-4B0F-C2B8FE165BA6}"/>
              </a:ext>
            </a:extLst>
          </p:cNvPr>
          <p:cNvSpPr>
            <a:spLocks noGrp="1"/>
          </p:cNvSpPr>
          <p:nvPr>
            <p:ph type="chart" sz="quarter" idx="19" hasCustomPrompt="1"/>
          </p:nvPr>
        </p:nvSpPr>
        <p:spPr>
          <a:xfrm>
            <a:off x="6517477" y="2559600"/>
            <a:ext cx="4545013" cy="3240000"/>
          </a:xfrm>
        </p:spPr>
        <p:txBody>
          <a:bodyPr tIns="914400"/>
          <a:lstStyle>
            <a:lvl1pPr algn="ctr">
              <a:defRPr sz="1800"/>
            </a:lvl1pPr>
          </a:lstStyle>
          <a:p>
            <a:r>
              <a:rPr lang="nl-NL" dirty="0"/>
              <a:t>Grafiek</a:t>
            </a:r>
            <a:endParaRPr lang="en-US" dirty="0"/>
          </a:p>
        </p:txBody>
      </p:sp>
      <p:sp>
        <p:nvSpPr>
          <p:cNvPr id="24" name="Text Placeholder 3">
            <a:extLst>
              <a:ext uri="{FF2B5EF4-FFF2-40B4-BE49-F238E27FC236}">
                <a16:creationId xmlns:a16="http://schemas.microsoft.com/office/drawing/2014/main" id="{D0E36D55-2B5D-9460-ABD2-C26548661260}"/>
              </a:ext>
            </a:extLst>
          </p:cNvPr>
          <p:cNvSpPr>
            <a:spLocks noGrp="1"/>
          </p:cNvSpPr>
          <p:nvPr>
            <p:ph type="body" sz="half" idx="14" hasCustomPrompt="1"/>
          </p:nvPr>
        </p:nvSpPr>
        <p:spPr>
          <a:xfrm>
            <a:off x="1139126"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sp>
        <p:nvSpPr>
          <p:cNvPr id="25" name="Text Placeholder 3">
            <a:extLst>
              <a:ext uri="{FF2B5EF4-FFF2-40B4-BE49-F238E27FC236}">
                <a16:creationId xmlns:a16="http://schemas.microsoft.com/office/drawing/2014/main" id="{FAF0E0CE-9D75-49A1-C314-92D1CCB47921}"/>
              </a:ext>
            </a:extLst>
          </p:cNvPr>
          <p:cNvSpPr>
            <a:spLocks noGrp="1"/>
          </p:cNvSpPr>
          <p:nvPr>
            <p:ph type="body" sz="half" idx="15" hasCustomPrompt="1"/>
          </p:nvPr>
        </p:nvSpPr>
        <p:spPr>
          <a:xfrm>
            <a:off x="6503577"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grpSp>
        <p:nvGrpSpPr>
          <p:cNvPr id="2" name="Groep 1">
            <a:extLst>
              <a:ext uri="{FF2B5EF4-FFF2-40B4-BE49-F238E27FC236}">
                <a16:creationId xmlns:a16="http://schemas.microsoft.com/office/drawing/2014/main" id="{87828BF9-ACE5-1758-AF22-4AD73C60F006}"/>
              </a:ext>
            </a:extLst>
          </p:cNvPr>
          <p:cNvGrpSpPr/>
          <p:nvPr userDrawn="1"/>
        </p:nvGrpSpPr>
        <p:grpSpPr>
          <a:xfrm>
            <a:off x="10014482" y="5839298"/>
            <a:ext cx="1599388" cy="433809"/>
            <a:chOff x="3101010" y="1249096"/>
            <a:chExt cx="3978412" cy="1079079"/>
          </a:xfrm>
          <a:solidFill>
            <a:schemeClr val="tx2"/>
          </a:solidFill>
        </p:grpSpPr>
        <p:sp>
          <p:nvSpPr>
            <p:cNvPr id="10" name="Vrije vorm 9">
              <a:extLst>
                <a:ext uri="{FF2B5EF4-FFF2-40B4-BE49-F238E27FC236}">
                  <a16:creationId xmlns:a16="http://schemas.microsoft.com/office/drawing/2014/main" id="{5FB51F46-A8B6-9D72-8041-1611A14AB157}"/>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8204482F-C248-250A-B8A6-5F799D7FE001}"/>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C95017F0-49F6-9BF5-5D06-618DCD77DB4A}"/>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12C6C92F-32B7-AD56-C66D-E7032F3BE191}"/>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2CC7FD93-2D94-178B-AD65-3CB8FDC41C35}"/>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2D578CA8-C847-D67B-12F3-8A428274C529}"/>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B3E3E832-9F5F-53FD-E11F-A1A890234549}"/>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053F6E5A-6F07-1478-2F34-B4B9982421A2}"/>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8830032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Grafiek II / 2 kolommen">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20" name="Text Placeholder 13">
            <a:extLst>
              <a:ext uri="{FF2B5EF4-FFF2-40B4-BE49-F238E27FC236}">
                <a16:creationId xmlns:a16="http://schemas.microsoft.com/office/drawing/2014/main" id="{03AB347D-8882-2FD0-E079-612958D2016B}"/>
              </a:ext>
            </a:extLst>
          </p:cNvPr>
          <p:cNvSpPr>
            <a:spLocks noGrp="1"/>
          </p:cNvSpPr>
          <p:nvPr>
            <p:ph type="body" sz="quarter" idx="16"/>
          </p:nvPr>
        </p:nvSpPr>
        <p:spPr>
          <a:xfrm>
            <a:off x="1139125" y="2005200"/>
            <a:ext cx="4545423" cy="3848185"/>
          </a:xfrm>
        </p:spPr>
        <p:txBody>
          <a:bodyPr/>
          <a:lstStyle>
            <a:lvl1pPr>
              <a:defRPr sz="2400"/>
            </a:lvl1pPr>
            <a:lvl2pPr>
              <a:defRPr sz="2400"/>
            </a:lvl2pPr>
            <a:lvl3pPr>
              <a:defRPr sz="20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1" name="Chart Placeholder 2">
            <a:extLst>
              <a:ext uri="{FF2B5EF4-FFF2-40B4-BE49-F238E27FC236}">
                <a16:creationId xmlns:a16="http://schemas.microsoft.com/office/drawing/2014/main" id="{F56E271C-9600-82DF-0D31-989B97DD9B31}"/>
              </a:ext>
            </a:extLst>
          </p:cNvPr>
          <p:cNvSpPr>
            <a:spLocks noGrp="1"/>
          </p:cNvSpPr>
          <p:nvPr>
            <p:ph type="chart" sz="quarter" idx="19" hasCustomPrompt="1"/>
          </p:nvPr>
        </p:nvSpPr>
        <p:spPr>
          <a:xfrm>
            <a:off x="6517477" y="2557464"/>
            <a:ext cx="4545013" cy="3240000"/>
          </a:xfrm>
        </p:spPr>
        <p:txBody>
          <a:bodyPr tIns="914400"/>
          <a:lstStyle>
            <a:lvl1pPr algn="ctr">
              <a:defRPr sz="1800"/>
            </a:lvl1pPr>
          </a:lstStyle>
          <a:p>
            <a:r>
              <a:rPr lang="nl-NL" dirty="0"/>
              <a:t>Grafiek</a:t>
            </a:r>
            <a:endParaRPr lang="en-US" dirty="0"/>
          </a:p>
        </p:txBody>
      </p:sp>
      <p:sp>
        <p:nvSpPr>
          <p:cNvPr id="22" name="Text Placeholder 3">
            <a:extLst>
              <a:ext uri="{FF2B5EF4-FFF2-40B4-BE49-F238E27FC236}">
                <a16:creationId xmlns:a16="http://schemas.microsoft.com/office/drawing/2014/main" id="{5E8C067A-D518-F570-029F-B1C5ABC77397}"/>
              </a:ext>
            </a:extLst>
          </p:cNvPr>
          <p:cNvSpPr>
            <a:spLocks noGrp="1"/>
          </p:cNvSpPr>
          <p:nvPr>
            <p:ph type="body" sz="half" idx="15" hasCustomPrompt="1"/>
          </p:nvPr>
        </p:nvSpPr>
        <p:spPr>
          <a:xfrm>
            <a:off x="6503577"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grpSp>
        <p:nvGrpSpPr>
          <p:cNvPr id="2" name="Groep 1">
            <a:extLst>
              <a:ext uri="{FF2B5EF4-FFF2-40B4-BE49-F238E27FC236}">
                <a16:creationId xmlns:a16="http://schemas.microsoft.com/office/drawing/2014/main" id="{2C6C5860-6860-97DE-A845-0145ECD5181C}"/>
              </a:ext>
            </a:extLst>
          </p:cNvPr>
          <p:cNvGrpSpPr/>
          <p:nvPr userDrawn="1"/>
        </p:nvGrpSpPr>
        <p:grpSpPr>
          <a:xfrm>
            <a:off x="10014482" y="5839298"/>
            <a:ext cx="1599388" cy="433809"/>
            <a:chOff x="3101010" y="1249096"/>
            <a:chExt cx="3978412" cy="1079079"/>
          </a:xfrm>
          <a:solidFill>
            <a:schemeClr val="tx2"/>
          </a:solidFill>
        </p:grpSpPr>
        <p:sp>
          <p:nvSpPr>
            <p:cNvPr id="10" name="Vrije vorm 9">
              <a:extLst>
                <a:ext uri="{FF2B5EF4-FFF2-40B4-BE49-F238E27FC236}">
                  <a16:creationId xmlns:a16="http://schemas.microsoft.com/office/drawing/2014/main" id="{057CBD5F-1B83-722B-4664-9B19874A40EE}"/>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06B4CE77-6D08-55C4-67F9-A9EFC9DE9DE5}"/>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0EAFBE9A-8298-11EC-C7CF-0C9A1C79771D}"/>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5A8F342F-8F73-639E-C5D4-6DADD79E33D2}"/>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923C9F98-1294-2AAC-A7D3-C7563397A018}"/>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25DC6592-E1B6-EF33-0F99-40EA66DC84F0}"/>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AF7E8616-B8A3-E54B-6F4A-B04A689C6831}"/>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4DBDCC78-7047-0A1C-5088-5A73202723CB}"/>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1453211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lm ">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27" name="Media Placeholder 25">
            <a:extLst>
              <a:ext uri="{FF2B5EF4-FFF2-40B4-BE49-F238E27FC236}">
                <a16:creationId xmlns:a16="http://schemas.microsoft.com/office/drawing/2014/main" id="{7A64372C-BA04-29DD-614E-7D229BE32CA8}"/>
              </a:ext>
            </a:extLst>
          </p:cNvPr>
          <p:cNvSpPr>
            <a:spLocks noGrp="1"/>
          </p:cNvSpPr>
          <p:nvPr>
            <p:ph type="media" sz="quarter" idx="15" hasCustomPrompt="1"/>
          </p:nvPr>
        </p:nvSpPr>
        <p:spPr>
          <a:xfrm>
            <a:off x="2682875" y="2058988"/>
            <a:ext cx="6826250" cy="3856037"/>
          </a:xfrm>
          <a:noFill/>
        </p:spPr>
        <p:txBody>
          <a:bodyPr tIns="914400"/>
          <a:lstStyle>
            <a:lvl1pPr algn="ctr">
              <a:defRPr sz="1800"/>
            </a:lvl1pPr>
          </a:lstStyle>
          <a:p>
            <a:r>
              <a:rPr lang="nl-NL" dirty="0"/>
              <a:t>Media</a:t>
            </a:r>
            <a:endParaRPr lang="en-US" dirty="0"/>
          </a:p>
        </p:txBody>
      </p:sp>
      <p:grpSp>
        <p:nvGrpSpPr>
          <p:cNvPr id="2" name="Groep 1">
            <a:extLst>
              <a:ext uri="{FF2B5EF4-FFF2-40B4-BE49-F238E27FC236}">
                <a16:creationId xmlns:a16="http://schemas.microsoft.com/office/drawing/2014/main" id="{E43B9C96-A80C-E3F8-0800-9B39142529FF}"/>
              </a:ext>
            </a:extLst>
          </p:cNvPr>
          <p:cNvGrpSpPr/>
          <p:nvPr userDrawn="1"/>
        </p:nvGrpSpPr>
        <p:grpSpPr>
          <a:xfrm>
            <a:off x="10014482" y="5839298"/>
            <a:ext cx="1599388" cy="433809"/>
            <a:chOff x="3101010" y="1249096"/>
            <a:chExt cx="3978412" cy="1079079"/>
          </a:xfrm>
          <a:solidFill>
            <a:schemeClr val="tx2"/>
          </a:solidFill>
        </p:grpSpPr>
        <p:sp>
          <p:nvSpPr>
            <p:cNvPr id="10" name="Vrije vorm 9">
              <a:extLst>
                <a:ext uri="{FF2B5EF4-FFF2-40B4-BE49-F238E27FC236}">
                  <a16:creationId xmlns:a16="http://schemas.microsoft.com/office/drawing/2014/main" id="{1AED1BFD-C69F-7631-9B7D-421818A9AFCF}"/>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72FC6FC8-621A-84E8-68E1-CE07C2240D2D}"/>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C1DFC649-1904-DC13-7CE9-3B5B6CEB5BE0}"/>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7E6F67E8-173B-79FF-2D99-ACFC8C925DF7}"/>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D1BFDD35-C236-BC52-5AA1-4ECA4C76F800}"/>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8E1B1B65-2A9E-86BF-F589-9377A16DA3EA}"/>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E328645A-D84D-8000-F5C4-428A9E95E665}"/>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E196AA5C-997E-DCB5-7464-B5085B9BEA63}"/>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735345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II / Geen beeld">
    <p:bg>
      <p:bgPr>
        <a:solidFill>
          <a:schemeClr val="accent5"/>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22CEDD-0BA5-7B67-45FA-777969FEB4B5}"/>
              </a:ext>
            </a:extLst>
          </p:cNvPr>
          <p:cNvSpPr>
            <a:spLocks noGrp="1"/>
          </p:cNvSpPr>
          <p:nvPr>
            <p:ph type="title" hasCustomPrompt="1"/>
          </p:nvPr>
        </p:nvSpPr>
        <p:spPr>
          <a:xfrm>
            <a:off x="1137600" y="4026980"/>
            <a:ext cx="5292000" cy="692497"/>
          </a:xfrm>
        </p:spPr>
        <p:txBody>
          <a:bodyPr wrap="square" anchor="b" anchorCtr="0">
            <a:spAutoFit/>
          </a:bodyPr>
          <a:lstStyle>
            <a:lvl1pPr>
              <a:defRPr sz="5000">
                <a:solidFill>
                  <a:schemeClr val="bg1"/>
                </a:solidFill>
              </a:defRPr>
            </a:lvl1pPr>
          </a:lstStyle>
          <a:p>
            <a:r>
              <a:rPr lang="nl-NL" dirty="0"/>
              <a:t>Titel</a:t>
            </a:r>
          </a:p>
        </p:txBody>
      </p:sp>
      <p:grpSp>
        <p:nvGrpSpPr>
          <p:cNvPr id="5" name="Groep 4">
            <a:extLst>
              <a:ext uri="{FF2B5EF4-FFF2-40B4-BE49-F238E27FC236}">
                <a16:creationId xmlns:a16="http://schemas.microsoft.com/office/drawing/2014/main" id="{82117802-456D-6AF4-E7D2-18FB3465A58A}"/>
              </a:ext>
            </a:extLst>
          </p:cNvPr>
          <p:cNvGrpSpPr/>
          <p:nvPr userDrawn="1"/>
        </p:nvGrpSpPr>
        <p:grpSpPr>
          <a:xfrm>
            <a:off x="9131077" y="510242"/>
            <a:ext cx="2473548" cy="670910"/>
            <a:chOff x="3101010" y="1249097"/>
            <a:chExt cx="3978412" cy="1079078"/>
          </a:xfrm>
          <a:solidFill>
            <a:schemeClr val="bg1"/>
          </a:solidFill>
        </p:grpSpPr>
        <p:sp>
          <p:nvSpPr>
            <p:cNvPr id="6" name="Vrije vorm 5">
              <a:extLst>
                <a:ext uri="{FF2B5EF4-FFF2-40B4-BE49-F238E27FC236}">
                  <a16:creationId xmlns:a16="http://schemas.microsoft.com/office/drawing/2014/main" id="{0FED2527-BEA9-7AF9-7316-311C3BF89D23}"/>
                </a:ext>
              </a:extLst>
            </p:cNvPr>
            <p:cNvSpPr/>
            <p:nvPr/>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1B541DF7-90F8-4878-482E-CC59764E06C7}"/>
                </a:ext>
              </a:extLst>
            </p:cNvPr>
            <p:cNvSpPr/>
            <p:nvPr/>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9733BCED-EAE3-C324-7205-D83F9338DEB0}"/>
                </a:ext>
              </a:extLst>
            </p:cNvPr>
            <p:cNvSpPr/>
            <p:nvPr/>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A8590B33-E181-BB42-A07C-965B75F49726}"/>
                </a:ext>
              </a:extLst>
            </p:cNvPr>
            <p:cNvSpPr/>
            <p:nvPr/>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D8B49135-7172-D2B7-4D24-88D7B3B3F609}"/>
                </a:ext>
              </a:extLst>
            </p:cNvPr>
            <p:cNvSpPr/>
            <p:nvPr/>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523CEF53-D3F5-3A4D-FD65-B951F455A647}"/>
                </a:ext>
              </a:extLst>
            </p:cNvPr>
            <p:cNvSpPr/>
            <p:nvPr/>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28721FAD-2360-9AB6-4B28-87610BC5E47C}"/>
                </a:ext>
              </a:extLst>
            </p:cNvPr>
            <p:cNvSpPr/>
            <p:nvPr/>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DA9B6AF1-3B48-8780-24BF-AC783FE8A52B}"/>
                </a:ext>
              </a:extLst>
            </p:cNvPr>
            <p:cNvSpPr/>
            <p:nvPr/>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5" name="Subtitle 2">
            <a:extLst>
              <a:ext uri="{FF2B5EF4-FFF2-40B4-BE49-F238E27FC236}">
                <a16:creationId xmlns:a16="http://schemas.microsoft.com/office/drawing/2014/main" id="{5FC5C1CF-68A8-8DCD-2F45-C441E28129A6}"/>
              </a:ext>
            </a:extLst>
          </p:cNvPr>
          <p:cNvSpPr>
            <a:spLocks noGrp="1"/>
          </p:cNvSpPr>
          <p:nvPr>
            <p:ph type="subTitle" idx="1" hasCustomPrompt="1"/>
          </p:nvPr>
        </p:nvSpPr>
        <p:spPr>
          <a:xfrm>
            <a:off x="1137600" y="4919874"/>
            <a:ext cx="5292000" cy="430887"/>
          </a:xfrm>
          <a:noFill/>
        </p:spPr>
        <p:txBody>
          <a:bodyPr wrap="square" anchor="t">
            <a:spAutoFit/>
          </a:bodyPr>
          <a:lstStyle>
            <a:lvl1pPr marL="0" indent="0" algn="l">
              <a:buNone/>
              <a:defRPr sz="2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Subtitel</a:t>
            </a:r>
          </a:p>
        </p:txBody>
      </p:sp>
      <p:sp>
        <p:nvSpPr>
          <p:cNvPr id="16" name="Content Placeholder 2">
            <a:extLst>
              <a:ext uri="{FF2B5EF4-FFF2-40B4-BE49-F238E27FC236}">
                <a16:creationId xmlns:a16="http://schemas.microsoft.com/office/drawing/2014/main" id="{EFB7DEB3-7883-503E-2476-9B5D764EA356}"/>
              </a:ext>
            </a:extLst>
          </p:cNvPr>
          <p:cNvSpPr>
            <a:spLocks noGrp="1"/>
          </p:cNvSpPr>
          <p:nvPr>
            <p:ph idx="17" hasCustomPrompt="1"/>
          </p:nvPr>
        </p:nvSpPr>
        <p:spPr>
          <a:xfrm>
            <a:off x="1137600" y="6049730"/>
            <a:ext cx="5292000" cy="215444"/>
          </a:xfrm>
          <a:noFill/>
        </p:spPr>
        <p:txBody>
          <a:bodyPr wrap="square" anchor="ctr">
            <a:spAutoFit/>
          </a:bodyPr>
          <a:lstStyle>
            <a:lvl1pPr>
              <a:defRPr sz="1400">
                <a:solidFill>
                  <a:schemeClr val="bg1"/>
                </a:solidFill>
              </a:defRPr>
            </a:lvl1pPr>
            <a:lvl2pPr marL="0" indent="0">
              <a:spcAft>
                <a:spcPts val="0"/>
              </a:spcAft>
              <a:buNone/>
              <a:defRPr sz="1400">
                <a:solidFill>
                  <a:schemeClr val="bg1"/>
                </a:solidFill>
              </a:defRPr>
            </a:lvl2pPr>
          </a:lstStyle>
          <a:p>
            <a:pPr lvl="0"/>
            <a:r>
              <a:rPr lang="nl-NL" noProof="0" dirty="0"/>
              <a:t>Datum </a:t>
            </a:r>
          </a:p>
        </p:txBody>
      </p:sp>
      <p:pic>
        <p:nvPicPr>
          <p:cNvPr id="4" name="Graphic 3">
            <a:extLst>
              <a:ext uri="{FF2B5EF4-FFF2-40B4-BE49-F238E27FC236}">
                <a16:creationId xmlns:a16="http://schemas.microsoft.com/office/drawing/2014/main" id="{A4F941E7-99FA-D165-BC53-505DF5EF9F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 y="0"/>
            <a:ext cx="11129555" cy="6858000"/>
          </a:xfrm>
          <a:prstGeom prst="rect">
            <a:avLst/>
          </a:prstGeom>
        </p:spPr>
      </p:pic>
    </p:spTree>
    <p:extLst>
      <p:ext uri="{BB962C8B-B14F-4D97-AF65-F5344CB8AC3E}">
        <p14:creationId xmlns:p14="http://schemas.microsoft.com/office/powerpoint/2010/main" val="13361574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eeld  / full screen / tekst wit">
    <p:bg>
      <p:bgPr>
        <a:solidFill>
          <a:schemeClr val="bg1"/>
        </a:solidFill>
        <a:effectLst/>
      </p:bgPr>
    </p:bg>
    <p:spTree>
      <p:nvGrpSpPr>
        <p:cNvPr id="1" name=""/>
        <p:cNvGrpSpPr/>
        <p:nvPr/>
      </p:nvGrpSpPr>
      <p:grpSpPr>
        <a:xfrm>
          <a:off x="0" y="0"/>
          <a:ext cx="0" cy="0"/>
          <a:chOff x="0" y="0"/>
          <a:chExt cx="0" cy="0"/>
        </a:xfrm>
      </p:grpSpPr>
      <p:sp>
        <p:nvSpPr>
          <p:cNvPr id="21" name="Tijdelijke aanduiding voor afbeelding 20">
            <a:extLst>
              <a:ext uri="{FF2B5EF4-FFF2-40B4-BE49-F238E27FC236}">
                <a16:creationId xmlns:a16="http://schemas.microsoft.com/office/drawing/2014/main" id="{EB3B2FC6-0F2E-79B7-83AC-ED951D7C3CD7}"/>
              </a:ext>
            </a:extLst>
          </p:cNvPr>
          <p:cNvSpPr>
            <a:spLocks noGrp="1"/>
          </p:cNvSpPr>
          <p:nvPr>
            <p:ph type="pic" sz="quarter" idx="19"/>
          </p:nvPr>
        </p:nvSpPr>
        <p:spPr>
          <a:xfrm>
            <a:off x="0" y="-6038"/>
            <a:ext cx="12192000" cy="6864039"/>
          </a:xfrm>
          <a:custGeom>
            <a:avLst/>
            <a:gdLst>
              <a:gd name="connsiteX0" fmla="*/ 10920647 w 12192000"/>
              <a:gd name="connsiteY0" fmla="*/ 6213274 h 6864039"/>
              <a:gd name="connsiteX1" fmla="*/ 10939853 w 12192000"/>
              <a:gd name="connsiteY1" fmla="*/ 6234021 h 6864039"/>
              <a:gd name="connsiteX2" fmla="*/ 10920647 w 12192000"/>
              <a:gd name="connsiteY2" fmla="*/ 6254768 h 6864039"/>
              <a:gd name="connsiteX3" fmla="*/ 10901442 w 12192000"/>
              <a:gd name="connsiteY3" fmla="*/ 6234021 h 6864039"/>
              <a:gd name="connsiteX4" fmla="*/ 10920647 w 12192000"/>
              <a:gd name="connsiteY4" fmla="*/ 6213274 h 6864039"/>
              <a:gd name="connsiteX5" fmla="*/ 11353674 w 12192000"/>
              <a:gd name="connsiteY5" fmla="*/ 6212582 h 6864039"/>
              <a:gd name="connsiteX6" fmla="*/ 11373396 w 12192000"/>
              <a:gd name="connsiteY6" fmla="*/ 6234021 h 6864039"/>
              <a:gd name="connsiteX7" fmla="*/ 11353674 w 12192000"/>
              <a:gd name="connsiteY7" fmla="*/ 6255461 h 6864039"/>
              <a:gd name="connsiteX8" fmla="*/ 11333950 w 12192000"/>
              <a:gd name="connsiteY8" fmla="*/ 6234021 h 6864039"/>
              <a:gd name="connsiteX9" fmla="*/ 11353674 w 12192000"/>
              <a:gd name="connsiteY9" fmla="*/ 6212582 h 6864039"/>
              <a:gd name="connsiteX10" fmla="*/ 10649903 w 12192000"/>
              <a:gd name="connsiteY10" fmla="*/ 6212582 h 6864039"/>
              <a:gd name="connsiteX11" fmla="*/ 10669626 w 12192000"/>
              <a:gd name="connsiteY11" fmla="*/ 6234021 h 6864039"/>
              <a:gd name="connsiteX12" fmla="*/ 10649903 w 12192000"/>
              <a:gd name="connsiteY12" fmla="*/ 6255461 h 6864039"/>
              <a:gd name="connsiteX13" fmla="*/ 10630179 w 12192000"/>
              <a:gd name="connsiteY13" fmla="*/ 6234021 h 6864039"/>
              <a:gd name="connsiteX14" fmla="*/ 10649903 w 12192000"/>
              <a:gd name="connsiteY14" fmla="*/ 6212582 h 6864039"/>
              <a:gd name="connsiteX15" fmla="*/ 11252814 w 12192000"/>
              <a:gd name="connsiteY15" fmla="*/ 6210161 h 6864039"/>
              <a:gd name="connsiteX16" fmla="*/ 11270634 w 12192000"/>
              <a:gd name="connsiteY16" fmla="*/ 6223129 h 6864039"/>
              <a:gd name="connsiteX17" fmla="*/ 11233955 w 12192000"/>
              <a:gd name="connsiteY17" fmla="*/ 6223129 h 6864039"/>
              <a:gd name="connsiteX18" fmla="*/ 11252814 w 12192000"/>
              <a:gd name="connsiteY18" fmla="*/ 6210161 h 6864039"/>
              <a:gd name="connsiteX19" fmla="*/ 10549043 w 12192000"/>
              <a:gd name="connsiteY19" fmla="*/ 6210161 h 6864039"/>
              <a:gd name="connsiteX20" fmla="*/ 10566863 w 12192000"/>
              <a:gd name="connsiteY20" fmla="*/ 6223129 h 6864039"/>
              <a:gd name="connsiteX21" fmla="*/ 10530184 w 12192000"/>
              <a:gd name="connsiteY21" fmla="*/ 6223129 h 6864039"/>
              <a:gd name="connsiteX22" fmla="*/ 10549043 w 12192000"/>
              <a:gd name="connsiteY22" fmla="*/ 6210161 h 6864039"/>
              <a:gd name="connsiteX23" fmla="*/ 10715119 w 12192000"/>
              <a:gd name="connsiteY23" fmla="*/ 6190797 h 6864039"/>
              <a:gd name="connsiteX24" fmla="*/ 10715119 w 12192000"/>
              <a:gd name="connsiteY24" fmla="*/ 6277246 h 6864039"/>
              <a:gd name="connsiteX25" fmla="*/ 10741246 w 12192000"/>
              <a:gd name="connsiteY25" fmla="*/ 6277246 h 6864039"/>
              <a:gd name="connsiteX26" fmla="*/ 10741246 w 12192000"/>
              <a:gd name="connsiteY26" fmla="*/ 6213447 h 6864039"/>
              <a:gd name="connsiteX27" fmla="*/ 10770312 w 12192000"/>
              <a:gd name="connsiteY27" fmla="*/ 6213447 h 6864039"/>
              <a:gd name="connsiteX28" fmla="*/ 10770312 w 12192000"/>
              <a:gd name="connsiteY28" fmla="*/ 6190797 h 6864039"/>
              <a:gd name="connsiteX29" fmla="*/ 11347790 w 12192000"/>
              <a:gd name="connsiteY29" fmla="*/ 6188895 h 6864039"/>
              <a:gd name="connsiteX30" fmla="*/ 11307651 w 12192000"/>
              <a:gd name="connsiteY30" fmla="*/ 6234021 h 6864039"/>
              <a:gd name="connsiteX31" fmla="*/ 11347790 w 12192000"/>
              <a:gd name="connsiteY31" fmla="*/ 6279146 h 6864039"/>
              <a:gd name="connsiteX32" fmla="*/ 11371322 w 12192000"/>
              <a:gd name="connsiteY32" fmla="*/ 6268601 h 6864039"/>
              <a:gd name="connsiteX33" fmla="*/ 11371322 w 12192000"/>
              <a:gd name="connsiteY33" fmla="*/ 6277246 h 6864039"/>
              <a:gd name="connsiteX34" fmla="*/ 11397447 w 12192000"/>
              <a:gd name="connsiteY34" fmla="*/ 6277246 h 6864039"/>
              <a:gd name="connsiteX35" fmla="*/ 11397447 w 12192000"/>
              <a:gd name="connsiteY35" fmla="*/ 6190797 h 6864039"/>
              <a:gd name="connsiteX36" fmla="*/ 11371322 w 12192000"/>
              <a:gd name="connsiteY36" fmla="*/ 6190797 h 6864039"/>
              <a:gd name="connsiteX37" fmla="*/ 11371322 w 12192000"/>
              <a:gd name="connsiteY37" fmla="*/ 6199442 h 6864039"/>
              <a:gd name="connsiteX38" fmla="*/ 11347790 w 12192000"/>
              <a:gd name="connsiteY38" fmla="*/ 6188895 h 6864039"/>
              <a:gd name="connsiteX39" fmla="*/ 11253506 w 12192000"/>
              <a:gd name="connsiteY39" fmla="*/ 6188895 h 6864039"/>
              <a:gd name="connsiteX40" fmla="*/ 11208003 w 12192000"/>
              <a:gd name="connsiteY40" fmla="*/ 6234021 h 6864039"/>
              <a:gd name="connsiteX41" fmla="*/ 11254025 w 12192000"/>
              <a:gd name="connsiteY41" fmla="*/ 6279146 h 6864039"/>
              <a:gd name="connsiteX42" fmla="*/ 11294684 w 12192000"/>
              <a:gd name="connsiteY42" fmla="*/ 6260129 h 6864039"/>
              <a:gd name="connsiteX43" fmla="*/ 11275306 w 12192000"/>
              <a:gd name="connsiteY43" fmla="*/ 6245606 h 6864039"/>
              <a:gd name="connsiteX44" fmla="*/ 11254371 w 12192000"/>
              <a:gd name="connsiteY44" fmla="*/ 6255461 h 6864039"/>
              <a:gd name="connsiteX45" fmla="*/ 11233263 w 12192000"/>
              <a:gd name="connsiteY45" fmla="*/ 6240246 h 6864039"/>
              <a:gd name="connsiteX46" fmla="*/ 11296068 w 12192000"/>
              <a:gd name="connsiteY46" fmla="*/ 6240246 h 6864039"/>
              <a:gd name="connsiteX47" fmla="*/ 11296587 w 12192000"/>
              <a:gd name="connsiteY47" fmla="*/ 6231083 h 6864039"/>
              <a:gd name="connsiteX48" fmla="*/ 11253506 w 12192000"/>
              <a:gd name="connsiteY48" fmla="*/ 6188895 h 6864039"/>
              <a:gd name="connsiteX49" fmla="*/ 10920647 w 12192000"/>
              <a:gd name="connsiteY49" fmla="*/ 6188895 h 6864039"/>
              <a:gd name="connsiteX50" fmla="*/ 10875145 w 12192000"/>
              <a:gd name="connsiteY50" fmla="*/ 6234021 h 6864039"/>
              <a:gd name="connsiteX51" fmla="*/ 10920647 w 12192000"/>
              <a:gd name="connsiteY51" fmla="*/ 6279146 h 6864039"/>
              <a:gd name="connsiteX52" fmla="*/ 10966150 w 12192000"/>
              <a:gd name="connsiteY52" fmla="*/ 6234021 h 6864039"/>
              <a:gd name="connsiteX53" fmla="*/ 10920647 w 12192000"/>
              <a:gd name="connsiteY53" fmla="*/ 6188895 h 6864039"/>
              <a:gd name="connsiteX54" fmla="*/ 10644019 w 12192000"/>
              <a:gd name="connsiteY54" fmla="*/ 6188895 h 6864039"/>
              <a:gd name="connsiteX55" fmla="*/ 10603880 w 12192000"/>
              <a:gd name="connsiteY55" fmla="*/ 6234021 h 6864039"/>
              <a:gd name="connsiteX56" fmla="*/ 10644019 w 12192000"/>
              <a:gd name="connsiteY56" fmla="*/ 6279146 h 6864039"/>
              <a:gd name="connsiteX57" fmla="*/ 10667549 w 12192000"/>
              <a:gd name="connsiteY57" fmla="*/ 6268601 h 6864039"/>
              <a:gd name="connsiteX58" fmla="*/ 10667549 w 12192000"/>
              <a:gd name="connsiteY58" fmla="*/ 6277246 h 6864039"/>
              <a:gd name="connsiteX59" fmla="*/ 10693676 w 12192000"/>
              <a:gd name="connsiteY59" fmla="*/ 6277246 h 6864039"/>
              <a:gd name="connsiteX60" fmla="*/ 10693676 w 12192000"/>
              <a:gd name="connsiteY60" fmla="*/ 6190797 h 6864039"/>
              <a:gd name="connsiteX61" fmla="*/ 10667549 w 12192000"/>
              <a:gd name="connsiteY61" fmla="*/ 6190797 h 6864039"/>
              <a:gd name="connsiteX62" fmla="*/ 10667549 w 12192000"/>
              <a:gd name="connsiteY62" fmla="*/ 6199442 h 6864039"/>
              <a:gd name="connsiteX63" fmla="*/ 10644019 w 12192000"/>
              <a:gd name="connsiteY63" fmla="*/ 6188895 h 6864039"/>
              <a:gd name="connsiteX64" fmla="*/ 10549735 w 12192000"/>
              <a:gd name="connsiteY64" fmla="*/ 6188895 h 6864039"/>
              <a:gd name="connsiteX65" fmla="*/ 10504232 w 12192000"/>
              <a:gd name="connsiteY65" fmla="*/ 6234021 h 6864039"/>
              <a:gd name="connsiteX66" fmla="*/ 10550254 w 12192000"/>
              <a:gd name="connsiteY66" fmla="*/ 6279146 h 6864039"/>
              <a:gd name="connsiteX67" fmla="*/ 10590911 w 12192000"/>
              <a:gd name="connsiteY67" fmla="*/ 6260129 h 6864039"/>
              <a:gd name="connsiteX68" fmla="*/ 10571535 w 12192000"/>
              <a:gd name="connsiteY68" fmla="*/ 6245606 h 6864039"/>
              <a:gd name="connsiteX69" fmla="*/ 10550600 w 12192000"/>
              <a:gd name="connsiteY69" fmla="*/ 6255461 h 6864039"/>
              <a:gd name="connsiteX70" fmla="*/ 10529492 w 12192000"/>
              <a:gd name="connsiteY70" fmla="*/ 6240246 h 6864039"/>
              <a:gd name="connsiteX71" fmla="*/ 10592297 w 12192000"/>
              <a:gd name="connsiteY71" fmla="*/ 6240246 h 6864039"/>
              <a:gd name="connsiteX72" fmla="*/ 10592816 w 12192000"/>
              <a:gd name="connsiteY72" fmla="*/ 6231083 h 6864039"/>
              <a:gd name="connsiteX73" fmla="*/ 10549735 w 12192000"/>
              <a:gd name="connsiteY73" fmla="*/ 6188895 h 6864039"/>
              <a:gd name="connsiteX74" fmla="*/ 11492593 w 12192000"/>
              <a:gd name="connsiteY74" fmla="*/ 6163306 h 6864039"/>
              <a:gd name="connsiteX75" fmla="*/ 11466466 w 12192000"/>
              <a:gd name="connsiteY75" fmla="*/ 6190797 h 6864039"/>
              <a:gd name="connsiteX76" fmla="*/ 11466466 w 12192000"/>
              <a:gd name="connsiteY76" fmla="*/ 6277246 h 6864039"/>
              <a:gd name="connsiteX77" fmla="*/ 11492593 w 12192000"/>
              <a:gd name="connsiteY77" fmla="*/ 6277246 h 6864039"/>
              <a:gd name="connsiteX78" fmla="*/ 11492593 w 12192000"/>
              <a:gd name="connsiteY78" fmla="*/ 6213447 h 6864039"/>
              <a:gd name="connsiteX79" fmla="*/ 11516814 w 12192000"/>
              <a:gd name="connsiteY79" fmla="*/ 6213447 h 6864039"/>
              <a:gd name="connsiteX80" fmla="*/ 11516814 w 12192000"/>
              <a:gd name="connsiteY80" fmla="*/ 6190797 h 6864039"/>
              <a:gd name="connsiteX81" fmla="*/ 11492593 w 12192000"/>
              <a:gd name="connsiteY81" fmla="*/ 6190797 h 6864039"/>
              <a:gd name="connsiteX82" fmla="*/ 10810792 w 12192000"/>
              <a:gd name="connsiteY82" fmla="*/ 6163306 h 6864039"/>
              <a:gd name="connsiteX83" fmla="*/ 10784666 w 12192000"/>
              <a:gd name="connsiteY83" fmla="*/ 6190797 h 6864039"/>
              <a:gd name="connsiteX84" fmla="*/ 10784666 w 12192000"/>
              <a:gd name="connsiteY84" fmla="*/ 6277246 h 6864039"/>
              <a:gd name="connsiteX85" fmla="*/ 10810792 w 12192000"/>
              <a:gd name="connsiteY85" fmla="*/ 6277246 h 6864039"/>
              <a:gd name="connsiteX86" fmla="*/ 10810792 w 12192000"/>
              <a:gd name="connsiteY86" fmla="*/ 6213447 h 6864039"/>
              <a:gd name="connsiteX87" fmla="*/ 10835013 w 12192000"/>
              <a:gd name="connsiteY87" fmla="*/ 6213447 h 6864039"/>
              <a:gd name="connsiteX88" fmla="*/ 10835013 w 12192000"/>
              <a:gd name="connsiteY88" fmla="*/ 6190797 h 6864039"/>
              <a:gd name="connsiteX89" fmla="*/ 10810792 w 12192000"/>
              <a:gd name="connsiteY89" fmla="*/ 6190797 h 6864039"/>
              <a:gd name="connsiteX90" fmla="*/ 11088283 w 12192000"/>
              <a:gd name="connsiteY90" fmla="*/ 6154490 h 6864039"/>
              <a:gd name="connsiteX91" fmla="*/ 11088283 w 12192000"/>
              <a:gd name="connsiteY91" fmla="*/ 6277246 h 6864039"/>
              <a:gd name="connsiteX92" fmla="*/ 11115793 w 12192000"/>
              <a:gd name="connsiteY92" fmla="*/ 6277246 h 6864039"/>
              <a:gd name="connsiteX93" fmla="*/ 11115793 w 12192000"/>
              <a:gd name="connsiteY93" fmla="*/ 6228662 h 6864039"/>
              <a:gd name="connsiteX94" fmla="*/ 11165275 w 12192000"/>
              <a:gd name="connsiteY94" fmla="*/ 6228662 h 6864039"/>
              <a:gd name="connsiteX95" fmla="*/ 11165275 w 12192000"/>
              <a:gd name="connsiteY95" fmla="*/ 6277246 h 6864039"/>
              <a:gd name="connsiteX96" fmla="*/ 11192784 w 12192000"/>
              <a:gd name="connsiteY96" fmla="*/ 6277246 h 6864039"/>
              <a:gd name="connsiteX97" fmla="*/ 11192784 w 12192000"/>
              <a:gd name="connsiteY97" fmla="*/ 6154490 h 6864039"/>
              <a:gd name="connsiteX98" fmla="*/ 11165275 w 12192000"/>
              <a:gd name="connsiteY98" fmla="*/ 6154490 h 6864039"/>
              <a:gd name="connsiteX99" fmla="*/ 11165275 w 12192000"/>
              <a:gd name="connsiteY99" fmla="*/ 6202554 h 6864039"/>
              <a:gd name="connsiteX100" fmla="*/ 11115793 w 12192000"/>
              <a:gd name="connsiteY100" fmla="*/ 6202554 h 6864039"/>
              <a:gd name="connsiteX101" fmla="*/ 11115793 w 12192000"/>
              <a:gd name="connsiteY101" fmla="*/ 6154490 h 6864039"/>
              <a:gd name="connsiteX102" fmla="*/ 10384512 w 12192000"/>
              <a:gd name="connsiteY102" fmla="*/ 6154490 h 6864039"/>
              <a:gd name="connsiteX103" fmla="*/ 10384512 w 12192000"/>
              <a:gd name="connsiteY103" fmla="*/ 6238904 h 6864039"/>
              <a:gd name="connsiteX104" fmla="*/ 10412020 w 12192000"/>
              <a:gd name="connsiteY104" fmla="*/ 6266394 h 6864039"/>
              <a:gd name="connsiteX105" fmla="*/ 10412020 w 12192000"/>
              <a:gd name="connsiteY105" fmla="*/ 6228662 h 6864039"/>
              <a:gd name="connsiteX106" fmla="*/ 10461504 w 12192000"/>
              <a:gd name="connsiteY106" fmla="*/ 6228662 h 6864039"/>
              <a:gd name="connsiteX107" fmla="*/ 10461504 w 12192000"/>
              <a:gd name="connsiteY107" fmla="*/ 6277246 h 6864039"/>
              <a:gd name="connsiteX108" fmla="*/ 10489013 w 12192000"/>
              <a:gd name="connsiteY108" fmla="*/ 6277246 h 6864039"/>
              <a:gd name="connsiteX109" fmla="*/ 10489013 w 12192000"/>
              <a:gd name="connsiteY109" fmla="*/ 6154490 h 6864039"/>
              <a:gd name="connsiteX110" fmla="*/ 10461504 w 12192000"/>
              <a:gd name="connsiteY110" fmla="*/ 6154490 h 6864039"/>
              <a:gd name="connsiteX111" fmla="*/ 10461504 w 12192000"/>
              <a:gd name="connsiteY111" fmla="*/ 6202554 h 6864039"/>
              <a:gd name="connsiteX112" fmla="*/ 10412020 w 12192000"/>
              <a:gd name="connsiteY112" fmla="*/ 6202554 h 6864039"/>
              <a:gd name="connsiteX113" fmla="*/ 10412020 w 12192000"/>
              <a:gd name="connsiteY113" fmla="*/ 6154490 h 6864039"/>
              <a:gd name="connsiteX114" fmla="*/ 11530130 w 12192000"/>
              <a:gd name="connsiteY114" fmla="*/ 6147573 h 6864039"/>
              <a:gd name="connsiteX115" fmla="*/ 11530130 w 12192000"/>
              <a:gd name="connsiteY115" fmla="*/ 6277246 h 6864039"/>
              <a:gd name="connsiteX116" fmla="*/ 11556257 w 12192000"/>
              <a:gd name="connsiteY116" fmla="*/ 6277246 h 6864039"/>
              <a:gd name="connsiteX117" fmla="*/ 11556257 w 12192000"/>
              <a:gd name="connsiteY117" fmla="*/ 6235231 h 6864039"/>
              <a:gd name="connsiteX118" fmla="*/ 11573731 w 12192000"/>
              <a:gd name="connsiteY118" fmla="*/ 6212582 h 6864039"/>
              <a:gd name="connsiteX119" fmla="*/ 11587744 w 12192000"/>
              <a:gd name="connsiteY119" fmla="*/ 6231773 h 6864039"/>
              <a:gd name="connsiteX120" fmla="*/ 11587744 w 12192000"/>
              <a:gd name="connsiteY120" fmla="*/ 6277246 h 6864039"/>
              <a:gd name="connsiteX121" fmla="*/ 11613870 w 12192000"/>
              <a:gd name="connsiteY121" fmla="*/ 6277246 h 6864039"/>
              <a:gd name="connsiteX122" fmla="*/ 11613870 w 12192000"/>
              <a:gd name="connsiteY122" fmla="*/ 6227279 h 6864039"/>
              <a:gd name="connsiteX123" fmla="*/ 11580305 w 12192000"/>
              <a:gd name="connsiteY123" fmla="*/ 6188895 h 6864039"/>
              <a:gd name="connsiteX124" fmla="*/ 11556257 w 12192000"/>
              <a:gd name="connsiteY124" fmla="*/ 6199616 h 6864039"/>
              <a:gd name="connsiteX125" fmla="*/ 11556257 w 12192000"/>
              <a:gd name="connsiteY125" fmla="*/ 6147573 h 6864039"/>
              <a:gd name="connsiteX126" fmla="*/ 11418892 w 12192000"/>
              <a:gd name="connsiteY126" fmla="*/ 6147573 h 6864039"/>
              <a:gd name="connsiteX127" fmla="*/ 11418892 w 12192000"/>
              <a:gd name="connsiteY127" fmla="*/ 6277246 h 6864039"/>
              <a:gd name="connsiteX128" fmla="*/ 11445018 w 12192000"/>
              <a:gd name="connsiteY128" fmla="*/ 6277246 h 6864039"/>
              <a:gd name="connsiteX129" fmla="*/ 11445018 w 12192000"/>
              <a:gd name="connsiteY129" fmla="*/ 6147573 h 6864039"/>
              <a:gd name="connsiteX130" fmla="*/ 11025143 w 12192000"/>
              <a:gd name="connsiteY130" fmla="*/ 6146536 h 6864039"/>
              <a:gd name="connsiteX131" fmla="*/ 10990366 w 12192000"/>
              <a:gd name="connsiteY131" fmla="*/ 6181289 h 6864039"/>
              <a:gd name="connsiteX132" fmla="*/ 10990366 w 12192000"/>
              <a:gd name="connsiteY132" fmla="*/ 6190797 h 6864039"/>
              <a:gd name="connsiteX133" fmla="*/ 10973066 w 12192000"/>
              <a:gd name="connsiteY133" fmla="*/ 6190797 h 6864039"/>
              <a:gd name="connsiteX134" fmla="*/ 10973066 w 12192000"/>
              <a:gd name="connsiteY134" fmla="*/ 6213447 h 6864039"/>
              <a:gd name="connsiteX135" fmla="*/ 10990366 w 12192000"/>
              <a:gd name="connsiteY135" fmla="*/ 6213447 h 6864039"/>
              <a:gd name="connsiteX136" fmla="*/ 10990366 w 12192000"/>
              <a:gd name="connsiteY136" fmla="*/ 6277246 h 6864039"/>
              <a:gd name="connsiteX137" fmla="*/ 11016492 w 12192000"/>
              <a:gd name="connsiteY137" fmla="*/ 6277246 h 6864039"/>
              <a:gd name="connsiteX138" fmla="*/ 11016492 w 12192000"/>
              <a:gd name="connsiteY138" fmla="*/ 6213447 h 6864039"/>
              <a:gd name="connsiteX139" fmla="*/ 11040715 w 12192000"/>
              <a:gd name="connsiteY139" fmla="*/ 6213447 h 6864039"/>
              <a:gd name="connsiteX140" fmla="*/ 11040715 w 12192000"/>
              <a:gd name="connsiteY140" fmla="*/ 6190797 h 6864039"/>
              <a:gd name="connsiteX141" fmla="*/ 11016492 w 12192000"/>
              <a:gd name="connsiteY141" fmla="*/ 6190797 h 6864039"/>
              <a:gd name="connsiteX142" fmla="*/ 11016492 w 12192000"/>
              <a:gd name="connsiteY142" fmla="*/ 6184573 h 6864039"/>
              <a:gd name="connsiteX143" fmla="*/ 11031372 w 12192000"/>
              <a:gd name="connsiteY143" fmla="*/ 6169877 h 6864039"/>
              <a:gd name="connsiteX144" fmla="*/ 11040715 w 12192000"/>
              <a:gd name="connsiteY144" fmla="*/ 6171432 h 6864039"/>
              <a:gd name="connsiteX145" fmla="*/ 11040715 w 12192000"/>
              <a:gd name="connsiteY145" fmla="*/ 6148437 h 6864039"/>
              <a:gd name="connsiteX146" fmla="*/ 11025143 w 12192000"/>
              <a:gd name="connsiteY146" fmla="*/ 6146536 h 6864039"/>
              <a:gd name="connsiteX147" fmla="*/ 10558900 w 12192000"/>
              <a:gd name="connsiteY147" fmla="*/ 5954887 h 6864039"/>
              <a:gd name="connsiteX148" fmla="*/ 10597880 w 12192000"/>
              <a:gd name="connsiteY148" fmla="*/ 5981376 h 6864039"/>
              <a:gd name="connsiteX149" fmla="*/ 10518342 w 12192000"/>
              <a:gd name="connsiteY149" fmla="*/ 5981376 h 6864039"/>
              <a:gd name="connsiteX150" fmla="*/ 10558900 w 12192000"/>
              <a:gd name="connsiteY150" fmla="*/ 5954887 h 6864039"/>
              <a:gd name="connsiteX151" fmla="*/ 10558576 w 12192000"/>
              <a:gd name="connsiteY151" fmla="*/ 5902060 h 6864039"/>
              <a:gd name="connsiteX152" fmla="*/ 10458359 w 12192000"/>
              <a:gd name="connsiteY152" fmla="*/ 6003970 h 6864039"/>
              <a:gd name="connsiteX153" fmla="*/ 10558900 w 12192000"/>
              <a:gd name="connsiteY153" fmla="*/ 6104610 h 6864039"/>
              <a:gd name="connsiteX154" fmla="*/ 10635313 w 12192000"/>
              <a:gd name="connsiteY154" fmla="*/ 6075263 h 6864039"/>
              <a:gd name="connsiteX155" fmla="*/ 10598388 w 12192000"/>
              <a:gd name="connsiteY155" fmla="*/ 6038433 h 6864039"/>
              <a:gd name="connsiteX156" fmla="*/ 10561139 w 12192000"/>
              <a:gd name="connsiteY156" fmla="*/ 6051712 h 6864039"/>
              <a:gd name="connsiteX157" fmla="*/ 10526371 w 12192000"/>
              <a:gd name="connsiteY157" fmla="*/ 6036996 h 6864039"/>
              <a:gd name="connsiteX158" fmla="*/ 10521413 w 12192000"/>
              <a:gd name="connsiteY158" fmla="*/ 6031037 h 6864039"/>
              <a:gd name="connsiteX159" fmla="*/ 10520348 w 12192000"/>
              <a:gd name="connsiteY159" fmla="*/ 6029443 h 6864039"/>
              <a:gd name="connsiteX160" fmla="*/ 10520327 w 12192000"/>
              <a:gd name="connsiteY160" fmla="*/ 6029443 h 6864039"/>
              <a:gd name="connsiteX161" fmla="*/ 10516185 w 12192000"/>
              <a:gd name="connsiteY161" fmla="*/ 6021831 h 6864039"/>
              <a:gd name="connsiteX162" fmla="*/ 10654927 w 12192000"/>
              <a:gd name="connsiteY162" fmla="*/ 6021831 h 6864039"/>
              <a:gd name="connsiteX163" fmla="*/ 10657214 w 12192000"/>
              <a:gd name="connsiteY163" fmla="*/ 6001101 h 6864039"/>
              <a:gd name="connsiteX164" fmla="*/ 10558576 w 12192000"/>
              <a:gd name="connsiteY164" fmla="*/ 5902060 h 6864039"/>
              <a:gd name="connsiteX165" fmla="*/ 10355514 w 12192000"/>
              <a:gd name="connsiteY165" fmla="*/ 5902049 h 6864039"/>
              <a:gd name="connsiteX166" fmla="*/ 10355514 w 12192000"/>
              <a:gd name="connsiteY166" fmla="*/ 6102940 h 6864039"/>
              <a:gd name="connsiteX167" fmla="*/ 10411977 w 12192000"/>
              <a:gd name="connsiteY167" fmla="*/ 6102940 h 6864039"/>
              <a:gd name="connsiteX168" fmla="*/ 10411977 w 12192000"/>
              <a:gd name="connsiteY168" fmla="*/ 5953601 h 6864039"/>
              <a:gd name="connsiteX169" fmla="*/ 10457369 w 12192000"/>
              <a:gd name="connsiteY169" fmla="*/ 5953601 h 6864039"/>
              <a:gd name="connsiteX170" fmla="*/ 10457369 w 12192000"/>
              <a:gd name="connsiteY170" fmla="*/ 5902049 h 6864039"/>
              <a:gd name="connsiteX171" fmla="*/ 10773980 w 12192000"/>
              <a:gd name="connsiteY171" fmla="*/ 5902027 h 6864039"/>
              <a:gd name="connsiteX172" fmla="*/ 10773028 w 12192000"/>
              <a:gd name="connsiteY172" fmla="*/ 5902092 h 6864039"/>
              <a:gd name="connsiteX173" fmla="*/ 10672930 w 12192000"/>
              <a:gd name="connsiteY173" fmla="*/ 6002732 h 6864039"/>
              <a:gd name="connsiteX174" fmla="*/ 10774369 w 12192000"/>
              <a:gd name="connsiteY174" fmla="*/ 6104642 h 6864039"/>
              <a:gd name="connsiteX175" fmla="*/ 10854107 w 12192000"/>
              <a:gd name="connsiteY175" fmla="*/ 6067445 h 6864039"/>
              <a:gd name="connsiteX176" fmla="*/ 10858291 w 12192000"/>
              <a:gd name="connsiteY176" fmla="*/ 6062539 h 6864039"/>
              <a:gd name="connsiteX177" fmla="*/ 10822280 w 12192000"/>
              <a:gd name="connsiteY177" fmla="*/ 6026498 h 6864039"/>
              <a:gd name="connsiteX178" fmla="*/ 10817182 w 12192000"/>
              <a:gd name="connsiteY178" fmla="*/ 6031636 h 6864039"/>
              <a:gd name="connsiteX179" fmla="*/ 10775299 w 12192000"/>
              <a:gd name="connsiteY179" fmla="*/ 6051804 h 6864039"/>
              <a:gd name="connsiteX180" fmla="*/ 10729404 w 12192000"/>
              <a:gd name="connsiteY180" fmla="*/ 6003375 h 6864039"/>
              <a:gd name="connsiteX181" fmla="*/ 10774169 w 12192000"/>
              <a:gd name="connsiteY181" fmla="*/ 5954897 h 6864039"/>
              <a:gd name="connsiteX182" fmla="*/ 10775131 w 12192000"/>
              <a:gd name="connsiteY182" fmla="*/ 5954832 h 6864039"/>
              <a:gd name="connsiteX183" fmla="*/ 10817160 w 12192000"/>
              <a:gd name="connsiteY183" fmla="*/ 5974990 h 6864039"/>
              <a:gd name="connsiteX184" fmla="*/ 10822258 w 12192000"/>
              <a:gd name="connsiteY184" fmla="*/ 5980106 h 6864039"/>
              <a:gd name="connsiteX185" fmla="*/ 10858291 w 12192000"/>
              <a:gd name="connsiteY185" fmla="*/ 5944103 h 6864039"/>
              <a:gd name="connsiteX186" fmla="*/ 10854096 w 12192000"/>
              <a:gd name="connsiteY186" fmla="*/ 5939187 h 6864039"/>
              <a:gd name="connsiteX187" fmla="*/ 10773980 w 12192000"/>
              <a:gd name="connsiteY187" fmla="*/ 5902027 h 6864039"/>
              <a:gd name="connsiteX188" fmla="*/ 10157389 w 12192000"/>
              <a:gd name="connsiteY188" fmla="*/ 5869070 h 6864039"/>
              <a:gd name="connsiteX189" fmla="*/ 10157389 w 12192000"/>
              <a:gd name="connsiteY189" fmla="*/ 5996103 h 6864039"/>
              <a:gd name="connsiteX190" fmla="*/ 10156416 w 12192000"/>
              <a:gd name="connsiteY190" fmla="*/ 6010964 h 6864039"/>
              <a:gd name="connsiteX191" fmla="*/ 10156416 w 12192000"/>
              <a:gd name="connsiteY191" fmla="*/ 6010964 h 6864039"/>
              <a:gd name="connsiteX192" fmla="*/ 10156416 w 12192000"/>
              <a:gd name="connsiteY192" fmla="*/ 6010965 h 6864039"/>
              <a:gd name="connsiteX193" fmla="*/ 10014482 w 12192000"/>
              <a:gd name="connsiteY193" fmla="*/ 5869129 h 6864039"/>
              <a:gd name="connsiteX194" fmla="*/ 10014482 w 12192000"/>
              <a:gd name="connsiteY194" fmla="*/ 5996102 h 6864039"/>
              <a:gd name="connsiteX195" fmla="*/ 10032047 w 12192000"/>
              <a:gd name="connsiteY195" fmla="*/ 6064055 h 6864039"/>
              <a:gd name="connsiteX196" fmla="*/ 10116094 w 12192000"/>
              <a:gd name="connsiteY196" fmla="*/ 6104543 h 6864039"/>
              <a:gd name="connsiteX197" fmla="*/ 10200141 w 12192000"/>
              <a:gd name="connsiteY197" fmla="*/ 6064055 h 6864039"/>
              <a:gd name="connsiteX198" fmla="*/ 10203893 w 12192000"/>
              <a:gd name="connsiteY198" fmla="*/ 6058409 h 6864039"/>
              <a:gd name="connsiteX199" fmla="*/ 10203892 w 12192000"/>
              <a:gd name="connsiteY199" fmla="*/ 6058407 h 6864039"/>
              <a:gd name="connsiteX200" fmla="*/ 10203894 w 12192000"/>
              <a:gd name="connsiteY200" fmla="*/ 6058409 h 6864039"/>
              <a:gd name="connsiteX201" fmla="*/ 10217706 w 12192000"/>
              <a:gd name="connsiteY201" fmla="*/ 5996102 h 6864039"/>
              <a:gd name="connsiteX202" fmla="*/ 10217706 w 12192000"/>
              <a:gd name="connsiteY202" fmla="*/ 5869070 h 6864039"/>
              <a:gd name="connsiteX203" fmla="*/ 10301101 w 12192000"/>
              <a:gd name="connsiteY203" fmla="*/ 5845419 h 6864039"/>
              <a:gd name="connsiteX204" fmla="*/ 10244626 w 12192000"/>
              <a:gd name="connsiteY204" fmla="*/ 5902060 h 6864039"/>
              <a:gd name="connsiteX205" fmla="*/ 10244626 w 12192000"/>
              <a:gd name="connsiteY205" fmla="*/ 6102941 h 6864039"/>
              <a:gd name="connsiteX206" fmla="*/ 10301101 w 12192000"/>
              <a:gd name="connsiteY206" fmla="*/ 6102941 h 6864039"/>
              <a:gd name="connsiteX207" fmla="*/ 10301101 w 12192000"/>
              <a:gd name="connsiteY207" fmla="*/ 5953601 h 6864039"/>
              <a:gd name="connsiteX208" fmla="*/ 10337766 w 12192000"/>
              <a:gd name="connsiteY208" fmla="*/ 5953601 h 6864039"/>
              <a:gd name="connsiteX209" fmla="*/ 10337766 w 12192000"/>
              <a:gd name="connsiteY209" fmla="*/ 5902050 h 6864039"/>
              <a:gd name="connsiteX210" fmla="*/ 10301101 w 12192000"/>
              <a:gd name="connsiteY210" fmla="*/ 5902050 h 6864039"/>
              <a:gd name="connsiteX211" fmla="*/ 10934996 w 12192000"/>
              <a:gd name="connsiteY211" fmla="*/ 5845338 h 6864039"/>
              <a:gd name="connsiteX212" fmla="*/ 10878532 w 12192000"/>
              <a:gd name="connsiteY212" fmla="*/ 5902061 h 6864039"/>
              <a:gd name="connsiteX213" fmla="*/ 10878532 w 12192000"/>
              <a:gd name="connsiteY213" fmla="*/ 6102940 h 6864039"/>
              <a:gd name="connsiteX214" fmla="*/ 10934996 w 12192000"/>
              <a:gd name="connsiteY214" fmla="*/ 6102940 h 6864039"/>
              <a:gd name="connsiteX215" fmla="*/ 10934996 w 12192000"/>
              <a:gd name="connsiteY215" fmla="*/ 6002209 h 6864039"/>
              <a:gd name="connsiteX216" fmla="*/ 10963752 w 12192000"/>
              <a:gd name="connsiteY216" fmla="*/ 5955038 h 6864039"/>
              <a:gd name="connsiteX217" fmla="*/ 10993152 w 12192000"/>
              <a:gd name="connsiteY217" fmla="*/ 6001571 h 6864039"/>
              <a:gd name="connsiteX218" fmla="*/ 10993152 w 12192000"/>
              <a:gd name="connsiteY218" fmla="*/ 6102940 h 6864039"/>
              <a:gd name="connsiteX219" fmla="*/ 11049615 w 12192000"/>
              <a:gd name="connsiteY219" fmla="*/ 6102940 h 6864039"/>
              <a:gd name="connsiteX220" fmla="*/ 11049615 w 12192000"/>
              <a:gd name="connsiteY220" fmla="*/ 5992338 h 6864039"/>
              <a:gd name="connsiteX221" fmla="*/ 11034072 w 12192000"/>
              <a:gd name="connsiteY221" fmla="*/ 5931959 h 6864039"/>
              <a:gd name="connsiteX222" fmla="*/ 10973965 w 12192000"/>
              <a:gd name="connsiteY222" fmla="*/ 5902206 h 6864039"/>
              <a:gd name="connsiteX223" fmla="*/ 10934996 w 12192000"/>
              <a:gd name="connsiteY223" fmla="*/ 5913184 h 6864039"/>
              <a:gd name="connsiteX224" fmla="*/ 11133771 w 12192000"/>
              <a:gd name="connsiteY224" fmla="*/ 5845337 h 6864039"/>
              <a:gd name="connsiteX225" fmla="*/ 11077307 w 12192000"/>
              <a:gd name="connsiteY225" fmla="*/ 5902060 h 6864039"/>
              <a:gd name="connsiteX226" fmla="*/ 11077307 w 12192000"/>
              <a:gd name="connsiteY226" fmla="*/ 6102939 h 6864039"/>
              <a:gd name="connsiteX227" fmla="*/ 11133771 w 12192000"/>
              <a:gd name="connsiteY227" fmla="*/ 6102939 h 6864039"/>
              <a:gd name="connsiteX228" fmla="*/ 11133771 w 12192000"/>
              <a:gd name="connsiteY228" fmla="*/ 5953525 h 6864039"/>
              <a:gd name="connsiteX229" fmla="*/ 11170447 w 12192000"/>
              <a:gd name="connsiteY229" fmla="*/ 5953525 h 6864039"/>
              <a:gd name="connsiteX230" fmla="*/ 11170447 w 12192000"/>
              <a:gd name="connsiteY230" fmla="*/ 5901973 h 6864039"/>
              <a:gd name="connsiteX231" fmla="*/ 11133771 w 12192000"/>
              <a:gd name="connsiteY231" fmla="*/ 5901973 h 6864039"/>
              <a:gd name="connsiteX232" fmla="*/ 0 w 12192000"/>
              <a:gd name="connsiteY232" fmla="*/ 0 h 6864039"/>
              <a:gd name="connsiteX233" fmla="*/ 12192000 w 12192000"/>
              <a:gd name="connsiteY233" fmla="*/ 0 h 6864039"/>
              <a:gd name="connsiteX234" fmla="*/ 12192000 w 12192000"/>
              <a:gd name="connsiteY234" fmla="*/ 6864039 h 6864039"/>
              <a:gd name="connsiteX235" fmla="*/ 0 w 12192000"/>
              <a:gd name="connsiteY235" fmla="*/ 6864039 h 686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192000" h="6864039">
                <a:moveTo>
                  <a:pt x="10920647" y="6213274"/>
                </a:moveTo>
                <a:cubicBezTo>
                  <a:pt x="10931548" y="6213274"/>
                  <a:pt x="10939853" y="6221746"/>
                  <a:pt x="10939853" y="6234021"/>
                </a:cubicBezTo>
                <a:cubicBezTo>
                  <a:pt x="10939853" y="6246297"/>
                  <a:pt x="10931548" y="6254768"/>
                  <a:pt x="10920647" y="6254768"/>
                </a:cubicBezTo>
                <a:cubicBezTo>
                  <a:pt x="10909748" y="6254768"/>
                  <a:pt x="10901442" y="6246297"/>
                  <a:pt x="10901442" y="6234021"/>
                </a:cubicBezTo>
                <a:cubicBezTo>
                  <a:pt x="10901442" y="6221746"/>
                  <a:pt x="10909748" y="6213274"/>
                  <a:pt x="10920647" y="6213274"/>
                </a:cubicBezTo>
                <a:close/>
                <a:moveTo>
                  <a:pt x="11353674" y="6212582"/>
                </a:moveTo>
                <a:cubicBezTo>
                  <a:pt x="11365439" y="6212582"/>
                  <a:pt x="11373396" y="6221573"/>
                  <a:pt x="11373396" y="6234021"/>
                </a:cubicBezTo>
                <a:cubicBezTo>
                  <a:pt x="11373396" y="6246470"/>
                  <a:pt x="11365439" y="6255461"/>
                  <a:pt x="11353674" y="6255461"/>
                </a:cubicBezTo>
                <a:cubicBezTo>
                  <a:pt x="11341908" y="6255461"/>
                  <a:pt x="11333950" y="6246470"/>
                  <a:pt x="11333950" y="6234021"/>
                </a:cubicBezTo>
                <a:cubicBezTo>
                  <a:pt x="11333950" y="6221573"/>
                  <a:pt x="11341908" y="6212582"/>
                  <a:pt x="11353674" y="6212582"/>
                </a:cubicBezTo>
                <a:close/>
                <a:moveTo>
                  <a:pt x="10649903" y="6212582"/>
                </a:moveTo>
                <a:cubicBezTo>
                  <a:pt x="10661668" y="6212582"/>
                  <a:pt x="10669626" y="6221573"/>
                  <a:pt x="10669626" y="6234021"/>
                </a:cubicBezTo>
                <a:cubicBezTo>
                  <a:pt x="10669626" y="6246470"/>
                  <a:pt x="10661668" y="6255461"/>
                  <a:pt x="10649903" y="6255461"/>
                </a:cubicBezTo>
                <a:cubicBezTo>
                  <a:pt x="10638137" y="6255461"/>
                  <a:pt x="10630179" y="6246470"/>
                  <a:pt x="10630179" y="6234021"/>
                </a:cubicBezTo>
                <a:cubicBezTo>
                  <a:pt x="10630179" y="6221573"/>
                  <a:pt x="10638137" y="6212582"/>
                  <a:pt x="10649903" y="6212582"/>
                </a:cubicBezTo>
                <a:close/>
                <a:moveTo>
                  <a:pt x="11252814" y="6210161"/>
                </a:moveTo>
                <a:cubicBezTo>
                  <a:pt x="11260426" y="6210161"/>
                  <a:pt x="11268386" y="6213965"/>
                  <a:pt x="11270634" y="6223129"/>
                </a:cubicBezTo>
                <a:lnTo>
                  <a:pt x="11233955" y="6223129"/>
                </a:lnTo>
                <a:cubicBezTo>
                  <a:pt x="11236204" y="6213619"/>
                  <a:pt x="11245201" y="6210161"/>
                  <a:pt x="11252814" y="6210161"/>
                </a:cubicBezTo>
                <a:close/>
                <a:moveTo>
                  <a:pt x="10549043" y="6210161"/>
                </a:moveTo>
                <a:cubicBezTo>
                  <a:pt x="10556655" y="6210161"/>
                  <a:pt x="10564615" y="6213965"/>
                  <a:pt x="10566863" y="6223129"/>
                </a:cubicBezTo>
                <a:lnTo>
                  <a:pt x="10530184" y="6223129"/>
                </a:lnTo>
                <a:cubicBezTo>
                  <a:pt x="10532433" y="6213619"/>
                  <a:pt x="10541430" y="6210161"/>
                  <a:pt x="10549043" y="6210161"/>
                </a:cubicBezTo>
                <a:close/>
                <a:moveTo>
                  <a:pt x="10715119" y="6190797"/>
                </a:moveTo>
                <a:lnTo>
                  <a:pt x="10715119" y="6277246"/>
                </a:lnTo>
                <a:lnTo>
                  <a:pt x="10741246" y="6277246"/>
                </a:lnTo>
                <a:lnTo>
                  <a:pt x="10741246" y="6213447"/>
                </a:lnTo>
                <a:lnTo>
                  <a:pt x="10770312" y="6213447"/>
                </a:lnTo>
                <a:lnTo>
                  <a:pt x="10770312" y="6190797"/>
                </a:lnTo>
                <a:close/>
                <a:moveTo>
                  <a:pt x="11347790" y="6188895"/>
                </a:moveTo>
                <a:cubicBezTo>
                  <a:pt x="11325126" y="6188895"/>
                  <a:pt x="11307651" y="6209471"/>
                  <a:pt x="11307651" y="6234021"/>
                </a:cubicBezTo>
                <a:cubicBezTo>
                  <a:pt x="11307651" y="6258573"/>
                  <a:pt x="11325126" y="6279146"/>
                  <a:pt x="11347790" y="6279146"/>
                </a:cubicBezTo>
                <a:cubicBezTo>
                  <a:pt x="11359382" y="6279146"/>
                  <a:pt x="11367860" y="6273270"/>
                  <a:pt x="11371322" y="6268601"/>
                </a:cubicBezTo>
                <a:lnTo>
                  <a:pt x="11371322" y="6277246"/>
                </a:lnTo>
                <a:lnTo>
                  <a:pt x="11397447" y="6277246"/>
                </a:lnTo>
                <a:lnTo>
                  <a:pt x="11397447" y="6190797"/>
                </a:lnTo>
                <a:lnTo>
                  <a:pt x="11371322" y="6190797"/>
                </a:lnTo>
                <a:lnTo>
                  <a:pt x="11371322" y="6199442"/>
                </a:lnTo>
                <a:cubicBezTo>
                  <a:pt x="11367860" y="6194774"/>
                  <a:pt x="11359382" y="6188895"/>
                  <a:pt x="11347790" y="6188895"/>
                </a:cubicBezTo>
                <a:close/>
                <a:moveTo>
                  <a:pt x="11253506" y="6188895"/>
                </a:moveTo>
                <a:cubicBezTo>
                  <a:pt x="11227207" y="6188895"/>
                  <a:pt x="11208003" y="6208260"/>
                  <a:pt x="11208003" y="6234021"/>
                </a:cubicBezTo>
                <a:cubicBezTo>
                  <a:pt x="11208003" y="6261858"/>
                  <a:pt x="11228591" y="6279146"/>
                  <a:pt x="11254025" y="6279146"/>
                </a:cubicBezTo>
                <a:cubicBezTo>
                  <a:pt x="11272192" y="6279146"/>
                  <a:pt x="11286551" y="6271540"/>
                  <a:pt x="11294684" y="6260129"/>
                </a:cubicBezTo>
                <a:lnTo>
                  <a:pt x="11275306" y="6245606"/>
                </a:lnTo>
                <a:cubicBezTo>
                  <a:pt x="11272018" y="6250619"/>
                  <a:pt x="11264405" y="6255461"/>
                  <a:pt x="11254371" y="6255461"/>
                </a:cubicBezTo>
                <a:cubicBezTo>
                  <a:pt x="11244509" y="6255461"/>
                  <a:pt x="11234820" y="6250619"/>
                  <a:pt x="11233263" y="6240246"/>
                </a:cubicBezTo>
                <a:lnTo>
                  <a:pt x="11296068" y="6240246"/>
                </a:lnTo>
                <a:cubicBezTo>
                  <a:pt x="11296587" y="6236095"/>
                  <a:pt x="11296587" y="6233330"/>
                  <a:pt x="11296587" y="6231083"/>
                </a:cubicBezTo>
                <a:cubicBezTo>
                  <a:pt x="11296587" y="6203073"/>
                  <a:pt x="11276343" y="6188895"/>
                  <a:pt x="11253506" y="6188895"/>
                </a:cubicBezTo>
                <a:close/>
                <a:moveTo>
                  <a:pt x="10920647" y="6188895"/>
                </a:moveTo>
                <a:cubicBezTo>
                  <a:pt x="10895734" y="6188895"/>
                  <a:pt x="10875145" y="6208606"/>
                  <a:pt x="10875145" y="6234021"/>
                </a:cubicBezTo>
                <a:cubicBezTo>
                  <a:pt x="10875145" y="6259437"/>
                  <a:pt x="10895734" y="6279146"/>
                  <a:pt x="10920647" y="6279146"/>
                </a:cubicBezTo>
                <a:cubicBezTo>
                  <a:pt x="10945562" y="6279146"/>
                  <a:pt x="10966150" y="6259437"/>
                  <a:pt x="10966150" y="6234021"/>
                </a:cubicBezTo>
                <a:cubicBezTo>
                  <a:pt x="10966150" y="6208606"/>
                  <a:pt x="10945562" y="6188895"/>
                  <a:pt x="10920647" y="6188895"/>
                </a:cubicBezTo>
                <a:close/>
                <a:moveTo>
                  <a:pt x="10644019" y="6188895"/>
                </a:moveTo>
                <a:cubicBezTo>
                  <a:pt x="10621355" y="6188895"/>
                  <a:pt x="10603880" y="6209471"/>
                  <a:pt x="10603880" y="6234021"/>
                </a:cubicBezTo>
                <a:cubicBezTo>
                  <a:pt x="10603880" y="6258573"/>
                  <a:pt x="10621355" y="6279146"/>
                  <a:pt x="10644019" y="6279146"/>
                </a:cubicBezTo>
                <a:cubicBezTo>
                  <a:pt x="10655611" y="6279146"/>
                  <a:pt x="10664089" y="6273270"/>
                  <a:pt x="10667549" y="6268601"/>
                </a:cubicBezTo>
                <a:lnTo>
                  <a:pt x="10667549" y="6277246"/>
                </a:lnTo>
                <a:lnTo>
                  <a:pt x="10693676" y="6277246"/>
                </a:lnTo>
                <a:lnTo>
                  <a:pt x="10693676" y="6190797"/>
                </a:lnTo>
                <a:lnTo>
                  <a:pt x="10667549" y="6190797"/>
                </a:lnTo>
                <a:lnTo>
                  <a:pt x="10667549" y="6199442"/>
                </a:lnTo>
                <a:cubicBezTo>
                  <a:pt x="10664089" y="6194774"/>
                  <a:pt x="10655611" y="6188895"/>
                  <a:pt x="10644019" y="6188895"/>
                </a:cubicBezTo>
                <a:close/>
                <a:moveTo>
                  <a:pt x="10549735" y="6188895"/>
                </a:moveTo>
                <a:cubicBezTo>
                  <a:pt x="10523437" y="6188895"/>
                  <a:pt x="10504232" y="6208260"/>
                  <a:pt x="10504232" y="6234021"/>
                </a:cubicBezTo>
                <a:cubicBezTo>
                  <a:pt x="10504232" y="6261858"/>
                  <a:pt x="10524820" y="6279146"/>
                  <a:pt x="10550254" y="6279146"/>
                </a:cubicBezTo>
                <a:cubicBezTo>
                  <a:pt x="10568419" y="6279146"/>
                  <a:pt x="10582780" y="6271540"/>
                  <a:pt x="10590911" y="6260129"/>
                </a:cubicBezTo>
                <a:lnTo>
                  <a:pt x="10571535" y="6245606"/>
                </a:lnTo>
                <a:cubicBezTo>
                  <a:pt x="10568247" y="6250619"/>
                  <a:pt x="10560634" y="6255461"/>
                  <a:pt x="10550600" y="6255461"/>
                </a:cubicBezTo>
                <a:cubicBezTo>
                  <a:pt x="10540737" y="6255461"/>
                  <a:pt x="10531049" y="6250619"/>
                  <a:pt x="10529492" y="6240246"/>
                </a:cubicBezTo>
                <a:lnTo>
                  <a:pt x="10592297" y="6240246"/>
                </a:lnTo>
                <a:cubicBezTo>
                  <a:pt x="10592816" y="6236095"/>
                  <a:pt x="10592816" y="6233330"/>
                  <a:pt x="10592816" y="6231083"/>
                </a:cubicBezTo>
                <a:cubicBezTo>
                  <a:pt x="10592816" y="6203073"/>
                  <a:pt x="10572572" y="6188895"/>
                  <a:pt x="10549735" y="6188895"/>
                </a:cubicBezTo>
                <a:close/>
                <a:moveTo>
                  <a:pt x="11492593" y="6163306"/>
                </a:moveTo>
                <a:lnTo>
                  <a:pt x="11466466" y="6190797"/>
                </a:lnTo>
                <a:lnTo>
                  <a:pt x="11466466" y="6277246"/>
                </a:lnTo>
                <a:lnTo>
                  <a:pt x="11492593" y="6277246"/>
                </a:lnTo>
                <a:lnTo>
                  <a:pt x="11492593" y="6213447"/>
                </a:lnTo>
                <a:lnTo>
                  <a:pt x="11516814" y="6213447"/>
                </a:lnTo>
                <a:lnTo>
                  <a:pt x="11516814" y="6190797"/>
                </a:lnTo>
                <a:lnTo>
                  <a:pt x="11492593" y="6190797"/>
                </a:lnTo>
                <a:close/>
                <a:moveTo>
                  <a:pt x="10810792" y="6163306"/>
                </a:moveTo>
                <a:lnTo>
                  <a:pt x="10784666" y="6190797"/>
                </a:lnTo>
                <a:lnTo>
                  <a:pt x="10784666" y="6277246"/>
                </a:lnTo>
                <a:lnTo>
                  <a:pt x="10810792" y="6277246"/>
                </a:lnTo>
                <a:lnTo>
                  <a:pt x="10810792" y="6213447"/>
                </a:lnTo>
                <a:lnTo>
                  <a:pt x="10835013" y="6213447"/>
                </a:lnTo>
                <a:lnTo>
                  <a:pt x="10835013" y="6190797"/>
                </a:lnTo>
                <a:lnTo>
                  <a:pt x="10810792" y="6190797"/>
                </a:lnTo>
                <a:close/>
                <a:moveTo>
                  <a:pt x="11088283" y="6154490"/>
                </a:moveTo>
                <a:lnTo>
                  <a:pt x="11088283" y="6277246"/>
                </a:lnTo>
                <a:lnTo>
                  <a:pt x="11115793" y="6277246"/>
                </a:lnTo>
                <a:lnTo>
                  <a:pt x="11115793" y="6228662"/>
                </a:lnTo>
                <a:lnTo>
                  <a:pt x="11165275" y="6228662"/>
                </a:lnTo>
                <a:lnTo>
                  <a:pt x="11165275" y="6277246"/>
                </a:lnTo>
                <a:lnTo>
                  <a:pt x="11192784" y="6277246"/>
                </a:lnTo>
                <a:lnTo>
                  <a:pt x="11192784" y="6154490"/>
                </a:lnTo>
                <a:lnTo>
                  <a:pt x="11165275" y="6154490"/>
                </a:lnTo>
                <a:lnTo>
                  <a:pt x="11165275" y="6202554"/>
                </a:lnTo>
                <a:lnTo>
                  <a:pt x="11115793" y="6202554"/>
                </a:lnTo>
                <a:lnTo>
                  <a:pt x="11115793" y="6154490"/>
                </a:lnTo>
                <a:close/>
                <a:moveTo>
                  <a:pt x="10384512" y="6154490"/>
                </a:moveTo>
                <a:lnTo>
                  <a:pt x="10384512" y="6238904"/>
                </a:lnTo>
                <a:lnTo>
                  <a:pt x="10412020" y="6266394"/>
                </a:lnTo>
                <a:lnTo>
                  <a:pt x="10412020" y="6228662"/>
                </a:lnTo>
                <a:lnTo>
                  <a:pt x="10461504" y="6228662"/>
                </a:lnTo>
                <a:lnTo>
                  <a:pt x="10461504" y="6277246"/>
                </a:lnTo>
                <a:lnTo>
                  <a:pt x="10489013" y="6277246"/>
                </a:lnTo>
                <a:lnTo>
                  <a:pt x="10489013" y="6154490"/>
                </a:lnTo>
                <a:lnTo>
                  <a:pt x="10461504" y="6154490"/>
                </a:lnTo>
                <a:lnTo>
                  <a:pt x="10461504" y="6202554"/>
                </a:lnTo>
                <a:lnTo>
                  <a:pt x="10412020" y="6202554"/>
                </a:lnTo>
                <a:lnTo>
                  <a:pt x="10412020" y="6154490"/>
                </a:lnTo>
                <a:close/>
                <a:moveTo>
                  <a:pt x="11530130" y="6147573"/>
                </a:moveTo>
                <a:lnTo>
                  <a:pt x="11530130" y="6277246"/>
                </a:lnTo>
                <a:lnTo>
                  <a:pt x="11556257" y="6277246"/>
                </a:lnTo>
                <a:lnTo>
                  <a:pt x="11556257" y="6235231"/>
                </a:lnTo>
                <a:cubicBezTo>
                  <a:pt x="11556257" y="6219672"/>
                  <a:pt x="11563868" y="6212582"/>
                  <a:pt x="11573731" y="6212582"/>
                </a:cubicBezTo>
                <a:cubicBezTo>
                  <a:pt x="11583074" y="6212582"/>
                  <a:pt x="11587744" y="6219844"/>
                  <a:pt x="11587744" y="6231773"/>
                </a:cubicBezTo>
                <a:lnTo>
                  <a:pt x="11587744" y="6277246"/>
                </a:lnTo>
                <a:lnTo>
                  <a:pt x="11613870" y="6277246"/>
                </a:lnTo>
                <a:lnTo>
                  <a:pt x="11613870" y="6227279"/>
                </a:lnTo>
                <a:cubicBezTo>
                  <a:pt x="11613870" y="6204628"/>
                  <a:pt x="11601586" y="6188895"/>
                  <a:pt x="11580305" y="6188895"/>
                </a:cubicBezTo>
                <a:cubicBezTo>
                  <a:pt x="11569060" y="6188895"/>
                  <a:pt x="11560408" y="6193737"/>
                  <a:pt x="11556257" y="6199616"/>
                </a:cubicBezTo>
                <a:lnTo>
                  <a:pt x="11556257" y="6147573"/>
                </a:lnTo>
                <a:close/>
                <a:moveTo>
                  <a:pt x="11418892" y="6147573"/>
                </a:moveTo>
                <a:lnTo>
                  <a:pt x="11418892" y="6277246"/>
                </a:lnTo>
                <a:lnTo>
                  <a:pt x="11445018" y="6277246"/>
                </a:lnTo>
                <a:lnTo>
                  <a:pt x="11445018" y="6147573"/>
                </a:lnTo>
                <a:close/>
                <a:moveTo>
                  <a:pt x="11025143" y="6146536"/>
                </a:moveTo>
                <a:cubicBezTo>
                  <a:pt x="11005938" y="6146536"/>
                  <a:pt x="10990366" y="6159330"/>
                  <a:pt x="10990366" y="6181289"/>
                </a:cubicBezTo>
                <a:lnTo>
                  <a:pt x="10990366" y="6190797"/>
                </a:lnTo>
                <a:lnTo>
                  <a:pt x="10973066" y="6190797"/>
                </a:lnTo>
                <a:lnTo>
                  <a:pt x="10973066" y="6213447"/>
                </a:lnTo>
                <a:lnTo>
                  <a:pt x="10990366" y="6213447"/>
                </a:lnTo>
                <a:lnTo>
                  <a:pt x="10990366" y="6277246"/>
                </a:lnTo>
                <a:lnTo>
                  <a:pt x="11016492" y="6277246"/>
                </a:lnTo>
                <a:lnTo>
                  <a:pt x="11016492" y="6213447"/>
                </a:lnTo>
                <a:lnTo>
                  <a:pt x="11040715" y="6213447"/>
                </a:lnTo>
                <a:lnTo>
                  <a:pt x="11040715" y="6190797"/>
                </a:lnTo>
                <a:lnTo>
                  <a:pt x="11016492" y="6190797"/>
                </a:lnTo>
                <a:lnTo>
                  <a:pt x="11016492" y="6184573"/>
                </a:lnTo>
                <a:cubicBezTo>
                  <a:pt x="11016492" y="6174199"/>
                  <a:pt x="11020818" y="6169877"/>
                  <a:pt x="11031372" y="6169877"/>
                </a:cubicBezTo>
                <a:cubicBezTo>
                  <a:pt x="11035178" y="6169877"/>
                  <a:pt x="11037946" y="6170396"/>
                  <a:pt x="11040715" y="6171432"/>
                </a:cubicBezTo>
                <a:lnTo>
                  <a:pt x="11040715" y="6148437"/>
                </a:lnTo>
                <a:cubicBezTo>
                  <a:pt x="11036908" y="6147227"/>
                  <a:pt x="11032063" y="6146536"/>
                  <a:pt x="11025143" y="6146536"/>
                </a:cubicBezTo>
                <a:close/>
                <a:moveTo>
                  <a:pt x="10558900" y="5954887"/>
                </a:moveTo>
                <a:cubicBezTo>
                  <a:pt x="10578547" y="5954887"/>
                  <a:pt x="10592187" y="5964239"/>
                  <a:pt x="10597880" y="5981376"/>
                </a:cubicBezTo>
                <a:lnTo>
                  <a:pt x="10518342" y="5981376"/>
                </a:lnTo>
                <a:cubicBezTo>
                  <a:pt x="10527657" y="5958507"/>
                  <a:pt x="10547390" y="5954887"/>
                  <a:pt x="10558900" y="5954887"/>
                </a:cubicBezTo>
                <a:close/>
                <a:moveTo>
                  <a:pt x="10558576" y="5902060"/>
                </a:moveTo>
                <a:cubicBezTo>
                  <a:pt x="10495846" y="5902060"/>
                  <a:pt x="10458359" y="5953882"/>
                  <a:pt x="10458359" y="6003970"/>
                </a:cubicBezTo>
                <a:cubicBezTo>
                  <a:pt x="10458359" y="6060405"/>
                  <a:pt x="10502523" y="6104610"/>
                  <a:pt x="10558900" y="6104610"/>
                </a:cubicBezTo>
                <a:cubicBezTo>
                  <a:pt x="10588154" y="6104610"/>
                  <a:pt x="10615418" y="6094026"/>
                  <a:pt x="10635313" y="6075263"/>
                </a:cubicBezTo>
                <a:lnTo>
                  <a:pt x="10598388" y="6038433"/>
                </a:lnTo>
                <a:cubicBezTo>
                  <a:pt x="10586991" y="6047963"/>
                  <a:pt x="10576844" y="6051421"/>
                  <a:pt x="10561139" y="6051712"/>
                </a:cubicBezTo>
                <a:cubicBezTo>
                  <a:pt x="10547498" y="6051583"/>
                  <a:pt x="10535215" y="6045970"/>
                  <a:pt x="10526371" y="6036996"/>
                </a:cubicBezTo>
                <a:cubicBezTo>
                  <a:pt x="10524554" y="6035143"/>
                  <a:pt x="10522916" y="6033149"/>
                  <a:pt x="10521413" y="6031037"/>
                </a:cubicBezTo>
                <a:cubicBezTo>
                  <a:pt x="10521067" y="6030502"/>
                  <a:pt x="10520661" y="6029967"/>
                  <a:pt x="10520348" y="6029443"/>
                </a:cubicBezTo>
                <a:lnTo>
                  <a:pt x="10520327" y="6029443"/>
                </a:lnTo>
                <a:cubicBezTo>
                  <a:pt x="10518742" y="6027028"/>
                  <a:pt x="10517315" y="6024505"/>
                  <a:pt x="10516185" y="6021831"/>
                </a:cubicBezTo>
                <a:lnTo>
                  <a:pt x="10654927" y="6021831"/>
                </a:lnTo>
                <a:cubicBezTo>
                  <a:pt x="10656014" y="6016623"/>
                  <a:pt x="10657214" y="6009480"/>
                  <a:pt x="10657214" y="6001101"/>
                </a:cubicBezTo>
                <a:cubicBezTo>
                  <a:pt x="10657214" y="5952418"/>
                  <a:pt x="10620327" y="5902060"/>
                  <a:pt x="10558576" y="5902060"/>
                </a:cubicBezTo>
                <a:close/>
                <a:moveTo>
                  <a:pt x="10355514" y="5902049"/>
                </a:moveTo>
                <a:lnTo>
                  <a:pt x="10355514" y="6102940"/>
                </a:lnTo>
                <a:lnTo>
                  <a:pt x="10411977" y="6102940"/>
                </a:lnTo>
                <a:lnTo>
                  <a:pt x="10411977" y="5953601"/>
                </a:lnTo>
                <a:lnTo>
                  <a:pt x="10457369" y="5953601"/>
                </a:lnTo>
                <a:lnTo>
                  <a:pt x="10457369" y="5902049"/>
                </a:lnTo>
                <a:close/>
                <a:moveTo>
                  <a:pt x="10773980" y="5902027"/>
                </a:moveTo>
                <a:lnTo>
                  <a:pt x="10773028" y="5902092"/>
                </a:lnTo>
                <a:cubicBezTo>
                  <a:pt x="10717759" y="5902513"/>
                  <a:pt x="10672930" y="5947490"/>
                  <a:pt x="10672930" y="6002732"/>
                </a:cubicBezTo>
                <a:cubicBezTo>
                  <a:pt x="10672930" y="6065678"/>
                  <a:pt x="10725463" y="6104642"/>
                  <a:pt x="10774369" y="6104642"/>
                </a:cubicBezTo>
                <a:cubicBezTo>
                  <a:pt x="10806169" y="6104642"/>
                  <a:pt x="10832990" y="6092129"/>
                  <a:pt x="10854107" y="6067445"/>
                </a:cubicBezTo>
                <a:lnTo>
                  <a:pt x="10858291" y="6062539"/>
                </a:lnTo>
                <a:lnTo>
                  <a:pt x="10822280" y="6026498"/>
                </a:lnTo>
                <a:lnTo>
                  <a:pt x="10817182" y="6031636"/>
                </a:lnTo>
                <a:cubicBezTo>
                  <a:pt x="10801384" y="6047401"/>
                  <a:pt x="10794383" y="6051680"/>
                  <a:pt x="10775299" y="6051804"/>
                </a:cubicBezTo>
                <a:cubicBezTo>
                  <a:pt x="10749132" y="6051582"/>
                  <a:pt x="10729404" y="6030761"/>
                  <a:pt x="10729404" y="6003375"/>
                </a:cubicBezTo>
                <a:cubicBezTo>
                  <a:pt x="10729404" y="5970095"/>
                  <a:pt x="10752614" y="5954919"/>
                  <a:pt x="10774169" y="5954897"/>
                </a:cubicBezTo>
                <a:lnTo>
                  <a:pt x="10775131" y="5954832"/>
                </a:lnTo>
                <a:cubicBezTo>
                  <a:pt x="10794329" y="5954941"/>
                  <a:pt x="10801476" y="5959327"/>
                  <a:pt x="10817160" y="5974990"/>
                </a:cubicBezTo>
                <a:lnTo>
                  <a:pt x="10822258" y="5980106"/>
                </a:lnTo>
                <a:lnTo>
                  <a:pt x="10858291" y="5944103"/>
                </a:lnTo>
                <a:lnTo>
                  <a:pt x="10854096" y="5939187"/>
                </a:lnTo>
                <a:cubicBezTo>
                  <a:pt x="10832892" y="5914389"/>
                  <a:pt x="10805872" y="5901849"/>
                  <a:pt x="10773980" y="5902027"/>
                </a:cubicBezTo>
                <a:close/>
                <a:moveTo>
                  <a:pt x="10157389" y="5869070"/>
                </a:moveTo>
                <a:lnTo>
                  <a:pt x="10157389" y="5996103"/>
                </a:lnTo>
                <a:cubicBezTo>
                  <a:pt x="10157389" y="6000837"/>
                  <a:pt x="10157084" y="6005912"/>
                  <a:pt x="10156416" y="6010964"/>
                </a:cubicBezTo>
                <a:lnTo>
                  <a:pt x="10156416" y="6010964"/>
                </a:lnTo>
                <a:lnTo>
                  <a:pt x="10156416" y="6010965"/>
                </a:lnTo>
                <a:lnTo>
                  <a:pt x="10014482" y="5869129"/>
                </a:lnTo>
                <a:lnTo>
                  <a:pt x="10014482" y="5996102"/>
                </a:lnTo>
                <a:cubicBezTo>
                  <a:pt x="10014482" y="6032775"/>
                  <a:pt x="10023964" y="6053310"/>
                  <a:pt x="10032047" y="6064055"/>
                </a:cubicBezTo>
                <a:cubicBezTo>
                  <a:pt x="10046649" y="6083629"/>
                  <a:pt x="10076395" y="6104543"/>
                  <a:pt x="10116094" y="6104543"/>
                </a:cubicBezTo>
                <a:cubicBezTo>
                  <a:pt x="10155793" y="6104543"/>
                  <a:pt x="10185538" y="6083629"/>
                  <a:pt x="10200141" y="6064055"/>
                </a:cubicBezTo>
                <a:cubicBezTo>
                  <a:pt x="10201372" y="6062418"/>
                  <a:pt x="10202635" y="6060523"/>
                  <a:pt x="10203893" y="6058409"/>
                </a:cubicBezTo>
                <a:lnTo>
                  <a:pt x="10203892" y="6058407"/>
                </a:lnTo>
                <a:lnTo>
                  <a:pt x="10203894" y="6058409"/>
                </a:lnTo>
                <a:cubicBezTo>
                  <a:pt x="10210892" y="6046647"/>
                  <a:pt x="10217706" y="6027187"/>
                  <a:pt x="10217706" y="5996102"/>
                </a:cubicBezTo>
                <a:lnTo>
                  <a:pt x="10217706" y="5869070"/>
                </a:lnTo>
                <a:close/>
                <a:moveTo>
                  <a:pt x="10301101" y="5845419"/>
                </a:moveTo>
                <a:lnTo>
                  <a:pt x="10244626" y="5902060"/>
                </a:lnTo>
                <a:lnTo>
                  <a:pt x="10244626" y="6102941"/>
                </a:lnTo>
                <a:lnTo>
                  <a:pt x="10301101" y="6102941"/>
                </a:lnTo>
                <a:lnTo>
                  <a:pt x="10301101" y="5953601"/>
                </a:lnTo>
                <a:lnTo>
                  <a:pt x="10337766" y="5953601"/>
                </a:lnTo>
                <a:lnTo>
                  <a:pt x="10337766" y="5902050"/>
                </a:lnTo>
                <a:lnTo>
                  <a:pt x="10301101" y="5902050"/>
                </a:lnTo>
                <a:close/>
                <a:moveTo>
                  <a:pt x="10934996" y="5845338"/>
                </a:moveTo>
                <a:lnTo>
                  <a:pt x="10878532" y="5902061"/>
                </a:lnTo>
                <a:cubicBezTo>
                  <a:pt x="10878532" y="5902061"/>
                  <a:pt x="10878057" y="6096571"/>
                  <a:pt x="10878532" y="6102940"/>
                </a:cubicBezTo>
                <a:lnTo>
                  <a:pt x="10934996" y="6102940"/>
                </a:lnTo>
                <a:lnTo>
                  <a:pt x="10934996" y="6002209"/>
                </a:lnTo>
                <a:cubicBezTo>
                  <a:pt x="10934996" y="5969145"/>
                  <a:pt x="10943587" y="5955038"/>
                  <a:pt x="10963752" y="5955038"/>
                </a:cubicBezTo>
                <a:cubicBezTo>
                  <a:pt x="10984907" y="5955038"/>
                  <a:pt x="10993152" y="5968080"/>
                  <a:pt x="10993152" y="6001571"/>
                </a:cubicBezTo>
                <a:lnTo>
                  <a:pt x="10993152" y="6102940"/>
                </a:lnTo>
                <a:lnTo>
                  <a:pt x="11049615" y="6102940"/>
                </a:lnTo>
                <a:lnTo>
                  <a:pt x="11049615" y="5992338"/>
                </a:lnTo>
                <a:cubicBezTo>
                  <a:pt x="11049615" y="5978134"/>
                  <a:pt x="11049615" y="5951689"/>
                  <a:pt x="11034072" y="5931959"/>
                </a:cubicBezTo>
                <a:cubicBezTo>
                  <a:pt x="11020080" y="5914162"/>
                  <a:pt x="10995931" y="5902206"/>
                  <a:pt x="10973965" y="5902206"/>
                </a:cubicBezTo>
                <a:cubicBezTo>
                  <a:pt x="10959449" y="5902206"/>
                  <a:pt x="10946382" y="5905891"/>
                  <a:pt x="10934996" y="5913184"/>
                </a:cubicBezTo>
                <a:close/>
                <a:moveTo>
                  <a:pt x="11133771" y="5845337"/>
                </a:moveTo>
                <a:lnTo>
                  <a:pt x="11077307" y="5902060"/>
                </a:lnTo>
                <a:lnTo>
                  <a:pt x="11077307" y="6102939"/>
                </a:lnTo>
                <a:lnTo>
                  <a:pt x="11133771" y="6102939"/>
                </a:lnTo>
                <a:lnTo>
                  <a:pt x="11133771" y="5953525"/>
                </a:lnTo>
                <a:lnTo>
                  <a:pt x="11170447" y="5953525"/>
                </a:lnTo>
                <a:lnTo>
                  <a:pt x="11170447" y="5901973"/>
                </a:lnTo>
                <a:lnTo>
                  <a:pt x="11133771" y="5901973"/>
                </a:lnTo>
                <a:close/>
                <a:moveTo>
                  <a:pt x="0" y="0"/>
                </a:moveTo>
                <a:lnTo>
                  <a:pt x="12192000" y="0"/>
                </a:lnTo>
                <a:lnTo>
                  <a:pt x="12192000" y="6864039"/>
                </a:lnTo>
                <a:lnTo>
                  <a:pt x="0" y="6864039"/>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dirty="0"/>
          </a:p>
        </p:txBody>
      </p:sp>
      <p:sp>
        <p:nvSpPr>
          <p:cNvPr id="3" name="Titel 1">
            <a:extLst>
              <a:ext uri="{FF2B5EF4-FFF2-40B4-BE49-F238E27FC236}">
                <a16:creationId xmlns:a16="http://schemas.microsoft.com/office/drawing/2014/main" id="{FFD0E52D-7DC6-4860-01BD-6B56A7AC1CE5}"/>
              </a:ext>
            </a:extLst>
          </p:cNvPr>
          <p:cNvSpPr>
            <a:spLocks noGrp="1"/>
          </p:cNvSpPr>
          <p:nvPr>
            <p:ph type="title" hasCustomPrompt="1"/>
          </p:nvPr>
        </p:nvSpPr>
        <p:spPr>
          <a:xfrm>
            <a:off x="1137600" y="2801001"/>
            <a:ext cx="5016576" cy="969496"/>
          </a:xfrm>
        </p:spPr>
        <p:txBody>
          <a:bodyPr wrap="square" anchor="b" anchorCtr="0">
            <a:spAutoFit/>
          </a:bodyPr>
          <a:lstStyle>
            <a:lvl1pPr>
              <a:defRPr sz="7000">
                <a:solidFill>
                  <a:schemeClr val="bg1"/>
                </a:solidFill>
              </a:defRPr>
            </a:lvl1pPr>
          </a:lstStyle>
          <a:p>
            <a:r>
              <a:rPr lang="nl-NL" dirty="0"/>
              <a:t>Tekst</a:t>
            </a:r>
          </a:p>
        </p:txBody>
      </p:sp>
    </p:spTree>
    <p:extLst>
      <p:ext uri="{BB962C8B-B14F-4D97-AF65-F5344CB8AC3E}">
        <p14:creationId xmlns:p14="http://schemas.microsoft.com/office/powerpoint/2010/main" val="25302004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I / Beeld">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3E331EB8-7C40-852C-F16C-5795466EFC26}"/>
              </a:ext>
            </a:extLst>
          </p:cNvPr>
          <p:cNvSpPr/>
          <p:nvPr userDrawn="1"/>
        </p:nvSpPr>
        <p:spPr>
          <a:xfrm>
            <a:off x="6096000"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rgbClr val="00501C"/>
          </a:solidFill>
          <a:ln w="12700" cap="flat">
            <a:solidFill>
              <a:srgbClr val="00501C"/>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9" name="Freeform: Shape 8">
            <a:extLst>
              <a:ext uri="{FF2B5EF4-FFF2-40B4-BE49-F238E27FC236}">
                <a16:creationId xmlns:a16="http://schemas.microsoft.com/office/drawing/2014/main" id="{0B1B35FF-50C1-C14B-ECED-876FAF17DECF}"/>
              </a:ext>
            </a:extLst>
          </p:cNvPr>
          <p:cNvSpPr/>
          <p:nvPr userDrawn="1"/>
        </p:nvSpPr>
        <p:spPr>
          <a:xfrm>
            <a:off x="0" y="585773"/>
            <a:ext cx="6096000" cy="6272226"/>
          </a:xfrm>
          <a:custGeom>
            <a:avLst/>
            <a:gdLst>
              <a:gd name="connsiteX0" fmla="*/ 4998000 w 6096000"/>
              <a:gd name="connsiteY0" fmla="*/ 1045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272226">
                <a:moveTo>
                  <a:pt x="4998000" y="1045"/>
                </a:moveTo>
                <a:cubicBezTo>
                  <a:pt x="5278788" y="-4567"/>
                  <a:pt x="5544424" y="12614"/>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lose/>
              </a:path>
            </a:pathLst>
          </a:cu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0" name="Freeform: Shape 9">
            <a:extLst>
              <a:ext uri="{FF2B5EF4-FFF2-40B4-BE49-F238E27FC236}">
                <a16:creationId xmlns:a16="http://schemas.microsoft.com/office/drawing/2014/main" id="{462910F0-768E-6243-6F1F-698D6D4E36D9}"/>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chemeClr val="accent4"/>
          </a:solidFill>
          <a:ln w="12700"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1" name="Picture Placeholder 8">
            <a:extLst>
              <a:ext uri="{FF2B5EF4-FFF2-40B4-BE49-F238E27FC236}">
                <a16:creationId xmlns:a16="http://schemas.microsoft.com/office/drawing/2014/main" id="{A242C25F-1824-87D5-9D77-D14E7ADF3195}"/>
              </a:ext>
            </a:extLst>
          </p:cNvPr>
          <p:cNvSpPr>
            <a:spLocks noGrp="1"/>
          </p:cNvSpPr>
          <p:nvPr>
            <p:ph type="pic" sz="quarter" idx="11"/>
          </p:nvPr>
        </p:nvSpPr>
        <p:spPr>
          <a:xfrm>
            <a:off x="6096000" y="0"/>
            <a:ext cx="6096000" cy="5705659"/>
          </a:xfrm>
          <a:custGeom>
            <a:avLst/>
            <a:gdLst>
              <a:gd name="connsiteX0" fmla="*/ 0 w 6096000"/>
              <a:gd name="connsiteY0" fmla="*/ 0 h 5705659"/>
              <a:gd name="connsiteX1" fmla="*/ 6096000 w 6096000"/>
              <a:gd name="connsiteY1" fmla="*/ 0 h 5705659"/>
              <a:gd name="connsiteX2" fmla="*/ 6096000 w 6096000"/>
              <a:gd name="connsiteY2" fmla="*/ 5705659 h 5705659"/>
              <a:gd name="connsiteX3" fmla="*/ 2934617 w 6096000"/>
              <a:gd name="connsiteY3" fmla="*/ 2549416 h 5705659"/>
              <a:gd name="connsiteX4" fmla="*/ 119700 w 6096000"/>
              <a:gd name="connsiteY4" fmla="*/ 724468 h 5705659"/>
              <a:gd name="connsiteX5" fmla="*/ 0 w 6096000"/>
              <a:gd name="connsiteY5" fmla="*/ 693739 h 570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5705659">
                <a:moveTo>
                  <a:pt x="0" y="0"/>
                </a:moveTo>
                <a:lnTo>
                  <a:pt x="6096000" y="0"/>
                </a:lnTo>
                <a:lnTo>
                  <a:pt x="6096000" y="5705659"/>
                </a:lnTo>
                <a:lnTo>
                  <a:pt x="2934617" y="2549416"/>
                </a:lnTo>
                <a:cubicBezTo>
                  <a:pt x="1797550" y="1414196"/>
                  <a:pt x="828266" y="922995"/>
                  <a:pt x="119700" y="724468"/>
                </a:cubicBezTo>
                <a:lnTo>
                  <a:pt x="0" y="693739"/>
                </a:lnTo>
                <a:close/>
              </a:path>
            </a:pathLst>
          </a:custGeom>
          <a:solidFill>
            <a:schemeClr val="bg1">
              <a:lumMod val="95000"/>
            </a:schemeClr>
          </a:solidFill>
        </p:spPr>
        <p:txBody>
          <a:bodyPr wrap="square" lIns="0" tIns="1097280">
            <a:noAutofit/>
          </a:bodyPr>
          <a:lstStyle>
            <a:lvl1pPr algn="ctr">
              <a:defRPr sz="1800"/>
            </a:lvl1pPr>
          </a:lstStyle>
          <a:p>
            <a:r>
              <a:rPr lang="nl-NL"/>
              <a:t>Klik op het pictogram als u een afbeelding wilt toevoegen</a:t>
            </a:r>
            <a:endParaRPr lang="en-GB"/>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5" name="Title 1">
            <a:extLst>
              <a:ext uri="{FF2B5EF4-FFF2-40B4-BE49-F238E27FC236}">
                <a16:creationId xmlns:a16="http://schemas.microsoft.com/office/drawing/2014/main" id="{EFEB8386-CF97-8FD8-6A1A-FE43E19603FA}"/>
              </a:ext>
            </a:extLst>
          </p:cNvPr>
          <p:cNvSpPr>
            <a:spLocks noGrp="1"/>
          </p:cNvSpPr>
          <p:nvPr>
            <p:ph type="ctrTitle" hasCustomPrompt="1"/>
          </p:nvPr>
        </p:nvSpPr>
        <p:spPr>
          <a:xfrm>
            <a:off x="1137600" y="4726041"/>
            <a:ext cx="6894373" cy="874022"/>
          </a:xfrm>
          <a:noFill/>
        </p:spPr>
        <p:txBody>
          <a:bodyPr wrap="square" anchor="b">
            <a:spAutoFit/>
          </a:bodyPr>
          <a:lstStyle>
            <a:lvl1pPr algn="l">
              <a:lnSpc>
                <a:spcPct val="80000"/>
              </a:lnSpc>
              <a:defRPr sz="7000" b="1">
                <a:solidFill>
                  <a:schemeClr val="bg1"/>
                </a:solidFill>
                <a:latin typeface="+mn-lt"/>
              </a:defRPr>
            </a:lvl1pPr>
          </a:lstStyle>
          <a:p>
            <a:r>
              <a:rPr lang="nl-NL" noProof="0" dirty="0"/>
              <a:t>Tekst</a:t>
            </a:r>
          </a:p>
        </p:txBody>
      </p:sp>
      <p:sp>
        <p:nvSpPr>
          <p:cNvPr id="4" name="Freeform: Shape 3">
            <a:extLst>
              <a:ext uri="{FF2B5EF4-FFF2-40B4-BE49-F238E27FC236}">
                <a16:creationId xmlns:a16="http://schemas.microsoft.com/office/drawing/2014/main" id="{F9643337-EDA8-DCC2-5C96-060ED8196F27}"/>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E2391183-0B13-93D9-5DC9-1F76830F77F4}"/>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grpSp>
        <p:nvGrpSpPr>
          <p:cNvPr id="7" name="Groep 6">
            <a:extLst>
              <a:ext uri="{FF2B5EF4-FFF2-40B4-BE49-F238E27FC236}">
                <a16:creationId xmlns:a16="http://schemas.microsoft.com/office/drawing/2014/main" id="{2B53B39D-62AE-D6C4-5306-EE1923F4DF35}"/>
              </a:ext>
            </a:extLst>
          </p:cNvPr>
          <p:cNvGrpSpPr/>
          <p:nvPr userDrawn="1"/>
        </p:nvGrpSpPr>
        <p:grpSpPr>
          <a:xfrm>
            <a:off x="10014482" y="5839298"/>
            <a:ext cx="1599388" cy="433809"/>
            <a:chOff x="3101010" y="1249096"/>
            <a:chExt cx="3978412" cy="1079079"/>
          </a:xfrm>
          <a:solidFill>
            <a:schemeClr val="bg1"/>
          </a:solidFill>
        </p:grpSpPr>
        <p:sp>
          <p:nvSpPr>
            <p:cNvPr id="8" name="Vrije vorm 7">
              <a:extLst>
                <a:ext uri="{FF2B5EF4-FFF2-40B4-BE49-F238E27FC236}">
                  <a16:creationId xmlns:a16="http://schemas.microsoft.com/office/drawing/2014/main" id="{E8AC513F-B436-2C46-A050-673542B526A3}"/>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88AE03F3-E220-D417-6A3E-43576335AA42}"/>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CA8BED17-59F1-5295-4CD0-D3BCF60DEADA}"/>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72BCD883-F426-4446-B4C1-32B4FD5F1D0D}"/>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2CE42975-C7BC-7464-8AAD-3F6FA971F3F1}"/>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0CAEF79D-D1FB-09EF-E754-E0AE4BCBF21C}"/>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4EFF74E3-975F-DF78-3938-804E6AB6818E}"/>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AB2BDAB4-BA19-9FF4-41F5-077D28E433A6}"/>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0653746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II / Beeld">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388BD3DF-5077-2355-AF8F-B39143205CE2}"/>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chemeClr val="accent5"/>
          </a:solidFill>
          <a:ln w="6208" cap="flat">
            <a:solidFill>
              <a:schemeClr val="accent5"/>
            </a:solidFill>
            <a:prstDash val="solid"/>
            <a:miter/>
          </a:ln>
        </p:spPr>
        <p:txBody>
          <a:bodyPr rtlCol="0" anchor="ctr"/>
          <a:lstStyle/>
          <a:p>
            <a:pPr lvl="0"/>
            <a:endParaRPr lang="en-GB"/>
          </a:p>
        </p:txBody>
      </p:sp>
      <p:sp>
        <p:nvSpPr>
          <p:cNvPr id="6" name="Freeform: Shape 5">
            <a:extLst>
              <a:ext uri="{FF2B5EF4-FFF2-40B4-BE49-F238E27FC236}">
                <a16:creationId xmlns:a16="http://schemas.microsoft.com/office/drawing/2014/main" id="{A4D412FA-C7FF-CBB7-C9D2-653E72187486}"/>
              </a:ext>
            </a:extLst>
          </p:cNvPr>
          <p:cNvSpPr/>
          <p:nvPr userDrawn="1"/>
        </p:nvSpPr>
        <p:spPr>
          <a:xfrm>
            <a:off x="7445893"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chemeClr val="accent5"/>
          </a:solidFill>
          <a:ln w="12700" cap="flat">
            <a:solidFill>
              <a:schemeClr val="accent5"/>
            </a:solidFill>
            <a:prstDash val="solid"/>
            <a:miter/>
          </a:ln>
        </p:spPr>
        <p:txBody>
          <a:bodyPr rtlCol="0" anchor="ctr"/>
          <a:lstStyle/>
          <a:p>
            <a:pPr lvl="0"/>
            <a:endParaRPr lang="en-GB"/>
          </a:p>
        </p:txBody>
      </p:sp>
      <p:sp>
        <p:nvSpPr>
          <p:cNvPr id="7" name="Freeform: Shape 6">
            <a:extLst>
              <a:ext uri="{FF2B5EF4-FFF2-40B4-BE49-F238E27FC236}">
                <a16:creationId xmlns:a16="http://schemas.microsoft.com/office/drawing/2014/main" id="{495C3930-4C45-BF09-CEAA-E1BEB805AC7C}"/>
              </a:ext>
            </a:extLst>
          </p:cNvPr>
          <p:cNvSpPr/>
          <p:nvPr userDrawn="1"/>
        </p:nvSpPr>
        <p:spPr>
          <a:xfrm>
            <a:off x="251473"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rgbClr val="00501C"/>
          </a:solidFill>
          <a:ln w="12700">
            <a:solidFill>
              <a:srgbClr val="0050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1" name="Freeform: Shape 10">
            <a:extLst>
              <a:ext uri="{FF2B5EF4-FFF2-40B4-BE49-F238E27FC236}">
                <a16:creationId xmlns:a16="http://schemas.microsoft.com/office/drawing/2014/main" id="{43ACE0DC-0C0B-C412-6BAF-490F0ABD075C}"/>
              </a:ext>
            </a:extLst>
          </p:cNvPr>
          <p:cNvSpPr/>
          <p:nvPr userDrawn="1"/>
        </p:nvSpPr>
        <p:spPr>
          <a:xfrm>
            <a:off x="5414619" y="4805406"/>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4"/>
          </a:solidFill>
          <a:ln w="19050"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2" name="Picture Placeholder 16">
            <a:extLst>
              <a:ext uri="{FF2B5EF4-FFF2-40B4-BE49-F238E27FC236}">
                <a16:creationId xmlns:a16="http://schemas.microsoft.com/office/drawing/2014/main" id="{33FD8816-4A3C-7887-129D-FE0A6E099F05}"/>
              </a:ext>
            </a:extLst>
          </p:cNvPr>
          <p:cNvSpPr>
            <a:spLocks noGrp="1"/>
          </p:cNvSpPr>
          <p:nvPr>
            <p:ph type="pic" sz="quarter" idx="11"/>
          </p:nvPr>
        </p:nvSpPr>
        <p:spPr>
          <a:xfrm>
            <a:off x="7440812" y="-10274"/>
            <a:ext cx="4752000"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0 w 4740914"/>
              <a:gd name="connsiteY0" fmla="*/ 685800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589444 w 5330358"/>
              <a:gd name="connsiteY0" fmla="*/ 6858000 h 6858000"/>
              <a:gd name="connsiteX1" fmla="*/ 594525 w 5330358"/>
              <a:gd name="connsiteY1" fmla="*/ 4813300 h 6858000"/>
              <a:gd name="connsiteX2" fmla="*/ 5325277 w 5330358"/>
              <a:gd name="connsiteY2" fmla="*/ 5190 h 6858000"/>
              <a:gd name="connsiteX3" fmla="*/ 5325277 w 5330358"/>
              <a:gd name="connsiteY3" fmla="*/ 0 h 6858000"/>
              <a:gd name="connsiteX4" fmla="*/ 5330358 w 5330358"/>
              <a:gd name="connsiteY4" fmla="*/ 0 h 6858000"/>
              <a:gd name="connsiteX5" fmla="*/ 5330358 w 5330358"/>
              <a:gd name="connsiteY5" fmla="*/ 6858000 h 6858000"/>
              <a:gd name="connsiteX6" fmla="*/ 589444 w 5330358"/>
              <a:gd name="connsiteY6" fmla="*/ 6858000 h 6858000"/>
              <a:gd name="connsiteX0" fmla="*/ 0 w 4740914"/>
              <a:gd name="connsiteY0" fmla="*/ 6858000 h 6858000"/>
              <a:gd name="connsiteX1" fmla="*/ 5081 w 4740914"/>
              <a:gd name="connsiteY1" fmla="*/ 4813300 h 6858000"/>
              <a:gd name="connsiteX2" fmla="*/ 4735833 w 4740914"/>
              <a:gd name="connsiteY2" fmla="*/ 5190 h 6858000"/>
              <a:gd name="connsiteX3" fmla="*/ 4735833 w 4740914"/>
              <a:gd name="connsiteY3" fmla="*/ 0 h 6858000"/>
              <a:gd name="connsiteX4" fmla="*/ 4740914 w 4740914"/>
              <a:gd name="connsiteY4" fmla="*/ 0 h 6858000"/>
              <a:gd name="connsiteX5" fmla="*/ 4740914 w 4740914"/>
              <a:gd name="connsiteY5" fmla="*/ 6858000 h 6858000"/>
              <a:gd name="connsiteX6" fmla="*/ 0 w 474091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0914" h="6858000">
                <a:moveTo>
                  <a:pt x="0" y="6858000"/>
                </a:moveTo>
                <a:cubicBezTo>
                  <a:pt x="1694" y="6176433"/>
                  <a:pt x="3387" y="5494867"/>
                  <a:pt x="5081" y="4813300"/>
                </a:cubicBezTo>
                <a:lnTo>
                  <a:pt x="4735833" y="5190"/>
                </a:lnTo>
                <a:lnTo>
                  <a:pt x="4735833" y="0"/>
                </a:lnTo>
                <a:lnTo>
                  <a:pt x="4740914" y="0"/>
                </a:lnTo>
                <a:lnTo>
                  <a:pt x="4740914" y="6858000"/>
                </a:lnTo>
                <a:lnTo>
                  <a:pt x="0" y="6858000"/>
                </a:lnTo>
                <a:close/>
              </a:path>
            </a:pathLst>
          </a:custGeom>
          <a:solidFill>
            <a:schemeClr val="bg1">
              <a:lumMod val="95000"/>
            </a:schemeClr>
          </a:solidFill>
        </p:spPr>
        <p:txBody>
          <a:bodyPr wrap="square" bIns="731520" anchor="b" anchorCtr="0">
            <a:noAutofit/>
          </a:bodyPr>
          <a:lstStyle>
            <a:lvl1pPr algn="ctr">
              <a:defRPr sz="1800"/>
            </a:lvl1pPr>
          </a:lstStyle>
          <a:p>
            <a:r>
              <a:rPr lang="nl-NL"/>
              <a:t>Klik op het pictogram als u een afbeelding wilt toevoegen</a:t>
            </a:r>
            <a:endParaRPr lang="en-GB" dirty="0"/>
          </a:p>
        </p:txBody>
      </p:sp>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4" name="Title 1">
            <a:extLst>
              <a:ext uri="{FF2B5EF4-FFF2-40B4-BE49-F238E27FC236}">
                <a16:creationId xmlns:a16="http://schemas.microsoft.com/office/drawing/2014/main" id="{DE2E557A-19C9-D444-522B-0B576F560246}"/>
              </a:ext>
            </a:extLst>
          </p:cNvPr>
          <p:cNvSpPr>
            <a:spLocks noGrp="1"/>
          </p:cNvSpPr>
          <p:nvPr>
            <p:ph type="ctrTitle" hasCustomPrompt="1"/>
          </p:nvPr>
        </p:nvSpPr>
        <p:spPr>
          <a:xfrm>
            <a:off x="1137600" y="2991989"/>
            <a:ext cx="5113198" cy="874022"/>
          </a:xfrm>
          <a:noFill/>
        </p:spPr>
        <p:txBody>
          <a:bodyPr wrap="square" anchor="ctr">
            <a:spAutoFit/>
          </a:bodyPr>
          <a:lstStyle>
            <a:lvl1pPr algn="l">
              <a:lnSpc>
                <a:spcPct val="80000"/>
              </a:lnSpc>
              <a:defRPr sz="7000" b="1">
                <a:solidFill>
                  <a:schemeClr val="bg1"/>
                </a:solidFill>
                <a:latin typeface="+mj-lt"/>
              </a:defRPr>
            </a:lvl1pPr>
          </a:lstStyle>
          <a:p>
            <a:r>
              <a:rPr lang="nl-NL" noProof="0" dirty="0"/>
              <a:t>Tekst</a:t>
            </a:r>
          </a:p>
        </p:txBody>
      </p:sp>
      <p:sp>
        <p:nvSpPr>
          <p:cNvPr id="2" name="Freeform: Shape 1">
            <a:extLst>
              <a:ext uri="{FF2B5EF4-FFF2-40B4-BE49-F238E27FC236}">
                <a16:creationId xmlns:a16="http://schemas.microsoft.com/office/drawing/2014/main" id="{344E64F0-C52E-6D68-BE3C-A79D8444EEA7}"/>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Tree>
    <p:extLst>
      <p:ext uri="{BB962C8B-B14F-4D97-AF65-F5344CB8AC3E}">
        <p14:creationId xmlns:p14="http://schemas.microsoft.com/office/powerpoint/2010/main" val="31785085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I / Geen beeld">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55B0A47A-78A3-37F6-51E6-7249AD112B25}"/>
              </a:ext>
            </a:extLst>
          </p:cNvPr>
          <p:cNvSpPr/>
          <p:nvPr userDrawn="1"/>
        </p:nvSpPr>
        <p:spPr>
          <a:xfrm>
            <a:off x="6096000"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rgbClr val="00501C"/>
          </a:solidFill>
          <a:ln w="12700" cap="flat">
            <a:solidFill>
              <a:srgbClr val="00501C"/>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21" name="Freeform: Shape 20">
            <a:extLst>
              <a:ext uri="{FF2B5EF4-FFF2-40B4-BE49-F238E27FC236}">
                <a16:creationId xmlns:a16="http://schemas.microsoft.com/office/drawing/2014/main" id="{70F638A8-CE00-2246-9705-0AD81E488F6D}"/>
              </a:ext>
            </a:extLst>
          </p:cNvPr>
          <p:cNvSpPr/>
          <p:nvPr userDrawn="1"/>
        </p:nvSpPr>
        <p:spPr>
          <a:xfrm>
            <a:off x="0" y="585773"/>
            <a:ext cx="6096000" cy="6272226"/>
          </a:xfrm>
          <a:custGeom>
            <a:avLst/>
            <a:gdLst>
              <a:gd name="connsiteX0" fmla="*/ 4998000 w 6096000"/>
              <a:gd name="connsiteY0" fmla="*/ 1045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272226">
                <a:moveTo>
                  <a:pt x="4998000" y="1045"/>
                </a:moveTo>
                <a:cubicBezTo>
                  <a:pt x="5278788" y="-4567"/>
                  <a:pt x="5544424" y="12614"/>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lose/>
              </a:path>
            </a:pathLst>
          </a:cu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22" name="Freeform: Shape 21">
            <a:extLst>
              <a:ext uri="{FF2B5EF4-FFF2-40B4-BE49-F238E27FC236}">
                <a16:creationId xmlns:a16="http://schemas.microsoft.com/office/drawing/2014/main" id="{BAA15937-2888-E3A7-E5DE-DA5CCF97C2CC}"/>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rgbClr val="00501C"/>
          </a:solidFill>
          <a:ln w="12700" cap="flat">
            <a:solidFill>
              <a:srgbClr val="00501C"/>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3" name="Freeform: Shape 22">
            <a:extLst>
              <a:ext uri="{FF2B5EF4-FFF2-40B4-BE49-F238E27FC236}">
                <a16:creationId xmlns:a16="http://schemas.microsoft.com/office/drawing/2014/main" id="{0C5F40A5-7648-692A-437C-6AC9BDF6E66F}"/>
              </a:ext>
            </a:extLst>
          </p:cNvPr>
          <p:cNvSpPr/>
          <p:nvPr userDrawn="1"/>
        </p:nvSpPr>
        <p:spPr>
          <a:xfrm>
            <a:off x="6096000" y="-1"/>
            <a:ext cx="6096000" cy="5705659"/>
          </a:xfrm>
          <a:custGeom>
            <a:avLst/>
            <a:gdLst>
              <a:gd name="connsiteX0" fmla="*/ 0 w 6096000"/>
              <a:gd name="connsiteY0" fmla="*/ 0 h 5705659"/>
              <a:gd name="connsiteX1" fmla="*/ 6096000 w 6096000"/>
              <a:gd name="connsiteY1" fmla="*/ 0 h 5705659"/>
              <a:gd name="connsiteX2" fmla="*/ 6096000 w 6096000"/>
              <a:gd name="connsiteY2" fmla="*/ 5705659 h 5705659"/>
              <a:gd name="connsiteX3" fmla="*/ 2934617 w 6096000"/>
              <a:gd name="connsiteY3" fmla="*/ 2549416 h 5705659"/>
              <a:gd name="connsiteX4" fmla="*/ 119700 w 6096000"/>
              <a:gd name="connsiteY4" fmla="*/ 724468 h 5705659"/>
              <a:gd name="connsiteX5" fmla="*/ 0 w 6096000"/>
              <a:gd name="connsiteY5" fmla="*/ 693739 h 5705659"/>
              <a:gd name="connsiteX6" fmla="*/ 0 w 6096000"/>
              <a:gd name="connsiteY6" fmla="*/ 0 h 570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05659">
                <a:moveTo>
                  <a:pt x="0" y="0"/>
                </a:moveTo>
                <a:lnTo>
                  <a:pt x="6096000" y="0"/>
                </a:lnTo>
                <a:lnTo>
                  <a:pt x="6096000" y="5705659"/>
                </a:lnTo>
                <a:lnTo>
                  <a:pt x="2934617" y="2549416"/>
                </a:lnTo>
                <a:cubicBezTo>
                  <a:pt x="1797550" y="1414196"/>
                  <a:pt x="828266" y="922995"/>
                  <a:pt x="119700" y="724468"/>
                </a:cubicBezTo>
                <a:lnTo>
                  <a:pt x="0" y="693739"/>
                </a:lnTo>
                <a:lnTo>
                  <a:pt x="0" y="0"/>
                </a:lnTo>
                <a:close/>
              </a:path>
            </a:pathLst>
          </a:cu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26C28EB2-02D8-B783-2BC2-460EFB5D34BF}"/>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4ACAE26E-9C3B-4548-9C9C-EE9FF02E9DD7}"/>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2" name="Title 1">
            <a:extLst>
              <a:ext uri="{FF2B5EF4-FFF2-40B4-BE49-F238E27FC236}">
                <a16:creationId xmlns:a16="http://schemas.microsoft.com/office/drawing/2014/main" id="{EBB84997-60E2-6FBA-FC37-732BFA28E5CF}"/>
              </a:ext>
            </a:extLst>
          </p:cNvPr>
          <p:cNvSpPr>
            <a:spLocks noGrp="1"/>
          </p:cNvSpPr>
          <p:nvPr>
            <p:ph type="ctrTitle" hasCustomPrompt="1"/>
          </p:nvPr>
        </p:nvSpPr>
        <p:spPr>
          <a:xfrm>
            <a:off x="1137600" y="2991989"/>
            <a:ext cx="9939707" cy="874022"/>
          </a:xfrm>
          <a:noFill/>
        </p:spPr>
        <p:txBody>
          <a:bodyPr wrap="square" anchor="ctr">
            <a:spAutoFit/>
          </a:bodyPr>
          <a:lstStyle>
            <a:lvl1pPr algn="l">
              <a:lnSpc>
                <a:spcPct val="80000"/>
              </a:lnSpc>
              <a:defRPr sz="7000" b="1">
                <a:solidFill>
                  <a:schemeClr val="bg1"/>
                </a:solidFill>
                <a:latin typeface="+mj-lt"/>
              </a:defRPr>
            </a:lvl1pPr>
          </a:lstStyle>
          <a:p>
            <a:r>
              <a:rPr lang="nl-NL" noProof="0" dirty="0"/>
              <a:t>Tekst</a:t>
            </a:r>
          </a:p>
        </p:txBody>
      </p:sp>
      <p:grpSp>
        <p:nvGrpSpPr>
          <p:cNvPr id="14" name="Groep 13">
            <a:extLst>
              <a:ext uri="{FF2B5EF4-FFF2-40B4-BE49-F238E27FC236}">
                <a16:creationId xmlns:a16="http://schemas.microsoft.com/office/drawing/2014/main" id="{932E1815-302C-19EA-3F7B-E97FA3979A29}"/>
              </a:ext>
            </a:extLst>
          </p:cNvPr>
          <p:cNvGrpSpPr/>
          <p:nvPr userDrawn="1"/>
        </p:nvGrpSpPr>
        <p:grpSpPr>
          <a:xfrm>
            <a:off x="10014482" y="5839298"/>
            <a:ext cx="1599388" cy="433809"/>
            <a:chOff x="3101010" y="1249096"/>
            <a:chExt cx="3978412" cy="1079079"/>
          </a:xfrm>
          <a:solidFill>
            <a:schemeClr val="bg1"/>
          </a:solidFill>
        </p:grpSpPr>
        <p:sp>
          <p:nvSpPr>
            <p:cNvPr id="15" name="Vrije vorm 14">
              <a:extLst>
                <a:ext uri="{FF2B5EF4-FFF2-40B4-BE49-F238E27FC236}">
                  <a16:creationId xmlns:a16="http://schemas.microsoft.com/office/drawing/2014/main" id="{BDA7CBF7-8097-A454-A4B7-742B2FFBA978}"/>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DFBD8059-415C-808D-D073-3C710E1DC553}"/>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A570D4F4-263A-BBD4-5528-1572FCA5CC84}"/>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8CB00C56-4102-DA3A-0E54-595532D8725E}"/>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BF6C5D9A-5F86-1DF2-86CC-D6154916D095}"/>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25" name="Vrije vorm 24">
              <a:extLst>
                <a:ext uri="{FF2B5EF4-FFF2-40B4-BE49-F238E27FC236}">
                  <a16:creationId xmlns:a16="http://schemas.microsoft.com/office/drawing/2014/main" id="{E3DEC318-2B91-E05F-5F5D-673D5FA68039}"/>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6" name="Vrije vorm 25">
              <a:extLst>
                <a:ext uri="{FF2B5EF4-FFF2-40B4-BE49-F238E27FC236}">
                  <a16:creationId xmlns:a16="http://schemas.microsoft.com/office/drawing/2014/main" id="{98914031-F402-C4BF-3165-A84184CB0ACC}"/>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CCA8B5E7-E060-B23B-C847-3223D2E4E0CD}"/>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6893581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II / Geen beeld">
    <p:bg>
      <p:bgPr>
        <a:solidFill>
          <a:schemeClr val="bg1"/>
        </a:solidFill>
        <a:effectLst/>
      </p:bgPr>
    </p:bg>
    <p:spTree>
      <p:nvGrpSpPr>
        <p:cNvPr id="1" name=""/>
        <p:cNvGrpSpPr/>
        <p:nvPr/>
      </p:nvGrpSpPr>
      <p:grpSpPr>
        <a:xfrm>
          <a:off x="0" y="0"/>
          <a:ext cx="0" cy="0"/>
          <a:chOff x="0" y="0"/>
          <a:chExt cx="0" cy="0"/>
        </a:xfrm>
      </p:grpSpPr>
      <p:sp>
        <p:nvSpPr>
          <p:cNvPr id="29" name="Freeform: Shape 4">
            <a:extLst>
              <a:ext uri="{FF2B5EF4-FFF2-40B4-BE49-F238E27FC236}">
                <a16:creationId xmlns:a16="http://schemas.microsoft.com/office/drawing/2014/main" id="{B9B86C0A-FDD6-AC31-7794-3A42490F72F2}"/>
              </a:ext>
            </a:extLst>
          </p:cNvPr>
          <p:cNvSpPr/>
          <p:nvPr userDrawn="1"/>
        </p:nvSpPr>
        <p:spPr>
          <a:xfrm>
            <a:off x="7440811" y="-10274"/>
            <a:ext cx="4756381" cy="6876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rgbClr val="00501C"/>
          </a:solidFill>
          <a:ln>
            <a:solidFill>
              <a:srgbClr val="0050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30" name="Freeform: Shape 8">
            <a:extLst>
              <a:ext uri="{FF2B5EF4-FFF2-40B4-BE49-F238E27FC236}">
                <a16:creationId xmlns:a16="http://schemas.microsoft.com/office/drawing/2014/main" id="{2EBA51C0-64FF-0D82-BC45-2A4175124122}"/>
              </a:ext>
            </a:extLst>
          </p:cNvPr>
          <p:cNvSpPr/>
          <p:nvPr userDrawn="1"/>
        </p:nvSpPr>
        <p:spPr>
          <a:xfrm>
            <a:off x="5404345"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4"/>
          </a:solidFill>
          <a:ln w="12700"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1" name="Freeform: Shape 20">
            <a:extLst>
              <a:ext uri="{FF2B5EF4-FFF2-40B4-BE49-F238E27FC236}">
                <a16:creationId xmlns:a16="http://schemas.microsoft.com/office/drawing/2014/main" id="{8E6E5843-9E1F-8BB9-B88E-066933D07ACB}"/>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rgbClr val="00501C"/>
          </a:solidFill>
          <a:ln w="12700">
            <a:solidFill>
              <a:srgbClr val="0050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2C33C330-E60E-448C-F314-B2AF1F6E2F6F}"/>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grpSp>
        <p:nvGrpSpPr>
          <p:cNvPr id="9" name="Group 8">
            <a:extLst>
              <a:ext uri="{FF2B5EF4-FFF2-40B4-BE49-F238E27FC236}">
                <a16:creationId xmlns:a16="http://schemas.microsoft.com/office/drawing/2014/main" id="{AE1A9A02-0721-1E49-0D7B-35CA9360B37B}"/>
              </a:ext>
            </a:extLst>
          </p:cNvPr>
          <p:cNvGrpSpPr/>
          <p:nvPr userDrawn="1"/>
        </p:nvGrpSpPr>
        <p:grpSpPr>
          <a:xfrm>
            <a:off x="2733675" y="-761999"/>
            <a:ext cx="6724650" cy="608276"/>
            <a:chOff x="2733675" y="-761999"/>
            <a:chExt cx="6724650" cy="608276"/>
          </a:xfrm>
        </p:grpSpPr>
        <p:sp>
          <p:nvSpPr>
            <p:cNvPr id="11" name="Rectangle 10">
              <a:extLst>
                <a:ext uri="{FF2B5EF4-FFF2-40B4-BE49-F238E27FC236}">
                  <a16:creationId xmlns:a16="http://schemas.microsoft.com/office/drawing/2014/main" id="{E1AB7697-F3F4-C614-5BF6-0E2173469BB3}"/>
                </a:ext>
              </a:extLst>
            </p:cNvPr>
            <p:cNvSpPr/>
            <p:nvPr userDrawn="1"/>
          </p:nvSpPr>
          <p:spPr>
            <a:xfrm>
              <a:off x="2733675" y="-761999"/>
              <a:ext cx="6724650" cy="608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2" name="TextBox 11">
              <a:extLst>
                <a:ext uri="{FF2B5EF4-FFF2-40B4-BE49-F238E27FC236}">
                  <a16:creationId xmlns:a16="http://schemas.microsoft.com/office/drawing/2014/main" id="{7E9187E0-0B39-F232-D77C-79A07412CD4E}"/>
                </a:ext>
              </a:extLst>
            </p:cNvPr>
            <p:cNvSpPr txBox="1"/>
            <p:nvPr userDrawn="1"/>
          </p:nvSpPr>
          <p:spPr>
            <a:xfrm>
              <a:off x="2910676" y="-581676"/>
              <a:ext cx="5476534" cy="261610"/>
            </a:xfrm>
            <a:prstGeom prst="rect">
              <a:avLst/>
            </a:prstGeom>
            <a:noFill/>
          </p:spPr>
          <p:txBody>
            <a:bodyPr wrap="square" rtlCol="0">
              <a:spAutoFit/>
            </a:bodyPr>
            <a:lstStyle/>
            <a:p>
              <a:pPr algn="ctr"/>
              <a:r>
                <a:rPr lang="nl-NL" sz="1100" noProof="1">
                  <a:solidFill>
                    <a:schemeClr val="tx1"/>
                  </a:solidFill>
                </a:rPr>
                <a:t>kies een accentkleuren voor het benadrukken van tekst</a:t>
              </a:r>
            </a:p>
          </p:txBody>
        </p:sp>
        <p:grpSp>
          <p:nvGrpSpPr>
            <p:cNvPr id="13" name="Group 12">
              <a:extLst>
                <a:ext uri="{FF2B5EF4-FFF2-40B4-BE49-F238E27FC236}">
                  <a16:creationId xmlns:a16="http://schemas.microsoft.com/office/drawing/2014/main" id="{7E5D4576-8B12-5F81-6571-8A1134EAAD38}"/>
                </a:ext>
              </a:extLst>
            </p:cNvPr>
            <p:cNvGrpSpPr/>
            <p:nvPr userDrawn="1"/>
          </p:nvGrpSpPr>
          <p:grpSpPr>
            <a:xfrm>
              <a:off x="7643344" y="-543417"/>
              <a:ext cx="743866" cy="176763"/>
              <a:chOff x="2853192" y="-519709"/>
              <a:chExt cx="1108074" cy="263308"/>
            </a:xfrm>
          </p:grpSpPr>
          <p:sp>
            <p:nvSpPr>
              <p:cNvPr id="15" name="Rectangle 14">
                <a:extLst>
                  <a:ext uri="{FF2B5EF4-FFF2-40B4-BE49-F238E27FC236}">
                    <a16:creationId xmlns:a16="http://schemas.microsoft.com/office/drawing/2014/main" id="{5E41FEB2-C0C2-E70C-2972-36DC4842D372}"/>
                  </a:ext>
                </a:extLst>
              </p:cNvPr>
              <p:cNvSpPr/>
              <p:nvPr userDrawn="1"/>
            </p:nvSpPr>
            <p:spPr>
              <a:xfrm>
                <a:off x="2853192" y="-519709"/>
                <a:ext cx="276225" cy="26330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6" name="Rectangle 15">
                <a:extLst>
                  <a:ext uri="{FF2B5EF4-FFF2-40B4-BE49-F238E27FC236}">
                    <a16:creationId xmlns:a16="http://schemas.microsoft.com/office/drawing/2014/main" id="{AE7D052D-1493-662D-E87D-8619F658B6AB}"/>
                  </a:ext>
                </a:extLst>
              </p:cNvPr>
              <p:cNvSpPr/>
              <p:nvPr userDrawn="1"/>
            </p:nvSpPr>
            <p:spPr>
              <a:xfrm>
                <a:off x="3685041" y="-519709"/>
                <a:ext cx="276225" cy="263308"/>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7" name="Rectangle 16">
                <a:extLst>
                  <a:ext uri="{FF2B5EF4-FFF2-40B4-BE49-F238E27FC236}">
                    <a16:creationId xmlns:a16="http://schemas.microsoft.com/office/drawing/2014/main" id="{84AFA136-0E93-C01C-99FE-125B40B30FF7}"/>
                  </a:ext>
                </a:extLst>
              </p:cNvPr>
              <p:cNvSpPr/>
              <p:nvPr userDrawn="1"/>
            </p:nvSpPr>
            <p:spPr>
              <a:xfrm>
                <a:off x="3279436" y="-519709"/>
                <a:ext cx="276225" cy="263308"/>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cxnSp>
          <p:nvCxnSpPr>
            <p:cNvPr id="14" name="Straight Connector 13">
              <a:extLst>
                <a:ext uri="{FF2B5EF4-FFF2-40B4-BE49-F238E27FC236}">
                  <a16:creationId xmlns:a16="http://schemas.microsoft.com/office/drawing/2014/main" id="{F41224A1-3FD0-5921-415F-01F773597C00}"/>
                </a:ext>
              </a:extLst>
            </p:cNvPr>
            <p:cNvCxnSpPr>
              <a:cxnSpLocks/>
            </p:cNvCxnSpPr>
            <p:nvPr userDrawn="1"/>
          </p:nvCxnSpPr>
          <p:spPr>
            <a:xfrm>
              <a:off x="2771998" y="-255323"/>
              <a:ext cx="6648005"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 name="Freeform: Shape 6">
            <a:extLst>
              <a:ext uri="{FF2B5EF4-FFF2-40B4-BE49-F238E27FC236}">
                <a16:creationId xmlns:a16="http://schemas.microsoft.com/office/drawing/2014/main" id="{456C001A-B31A-618C-E86E-7566F7569973}"/>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chemeClr val="accent5"/>
          </a:solidFill>
          <a:ln w="6208" cap="flat">
            <a:solidFill>
              <a:schemeClr val="accent5"/>
            </a:solidFill>
            <a:prstDash val="solid"/>
            <a:miter/>
          </a:ln>
        </p:spPr>
        <p:txBody>
          <a:bodyPr rtlCol="0" anchor="ctr"/>
          <a:lstStyle/>
          <a:p>
            <a:pPr lvl="0"/>
            <a:endParaRPr lang="en-GB"/>
          </a:p>
        </p:txBody>
      </p:sp>
      <p:sp>
        <p:nvSpPr>
          <p:cNvPr id="20" name="Freeform: Shape 19">
            <a:extLst>
              <a:ext uri="{FF2B5EF4-FFF2-40B4-BE49-F238E27FC236}">
                <a16:creationId xmlns:a16="http://schemas.microsoft.com/office/drawing/2014/main" id="{554C28EF-90AB-7402-1CC6-DF8DADF370A9}"/>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chemeClr val="accent5"/>
          </a:solidFill>
          <a:ln w="12700" cap="flat">
            <a:solidFill>
              <a:schemeClr val="accent5"/>
            </a:solidFill>
            <a:prstDash val="solid"/>
            <a:miter/>
          </a:ln>
        </p:spPr>
        <p:txBody>
          <a:bodyPr rtlCol="0" anchor="ctr"/>
          <a:lstStyle/>
          <a:p>
            <a:pPr lvl="0"/>
            <a:endParaRPr lang="en-GB"/>
          </a:p>
        </p:txBody>
      </p:sp>
      <p:sp>
        <p:nvSpPr>
          <p:cNvPr id="2" name="Title 1">
            <a:extLst>
              <a:ext uri="{FF2B5EF4-FFF2-40B4-BE49-F238E27FC236}">
                <a16:creationId xmlns:a16="http://schemas.microsoft.com/office/drawing/2014/main" id="{308BD9C9-2E7A-AA45-6BAB-B5BF96D70F16}"/>
              </a:ext>
            </a:extLst>
          </p:cNvPr>
          <p:cNvSpPr>
            <a:spLocks noGrp="1"/>
          </p:cNvSpPr>
          <p:nvPr>
            <p:ph type="ctrTitle" hasCustomPrompt="1"/>
          </p:nvPr>
        </p:nvSpPr>
        <p:spPr>
          <a:xfrm>
            <a:off x="1137600" y="2991989"/>
            <a:ext cx="9842677" cy="874022"/>
          </a:xfrm>
          <a:noFill/>
        </p:spPr>
        <p:txBody>
          <a:bodyPr wrap="square" anchor="ctr">
            <a:spAutoFit/>
          </a:bodyPr>
          <a:lstStyle>
            <a:lvl1pPr algn="l">
              <a:lnSpc>
                <a:spcPct val="80000"/>
              </a:lnSpc>
              <a:defRPr sz="7000" b="1">
                <a:solidFill>
                  <a:schemeClr val="bg1"/>
                </a:solidFill>
                <a:latin typeface="+mj-lt"/>
              </a:defRPr>
            </a:lvl1pPr>
          </a:lstStyle>
          <a:p>
            <a:r>
              <a:rPr lang="nl-NL" noProof="0" dirty="0"/>
              <a:t>Tekst</a:t>
            </a:r>
          </a:p>
        </p:txBody>
      </p:sp>
      <p:grpSp>
        <p:nvGrpSpPr>
          <p:cNvPr id="3" name="Groep 2">
            <a:extLst>
              <a:ext uri="{FF2B5EF4-FFF2-40B4-BE49-F238E27FC236}">
                <a16:creationId xmlns:a16="http://schemas.microsoft.com/office/drawing/2014/main" id="{EDFD26E9-5BBB-84BC-9607-56700276ED61}"/>
              </a:ext>
            </a:extLst>
          </p:cNvPr>
          <p:cNvGrpSpPr/>
          <p:nvPr userDrawn="1"/>
        </p:nvGrpSpPr>
        <p:grpSpPr>
          <a:xfrm>
            <a:off x="10014482" y="5839298"/>
            <a:ext cx="1599388" cy="433809"/>
            <a:chOff x="3101010" y="1249096"/>
            <a:chExt cx="3978412" cy="1079079"/>
          </a:xfrm>
          <a:solidFill>
            <a:schemeClr val="bg1"/>
          </a:solidFill>
        </p:grpSpPr>
        <p:sp>
          <p:nvSpPr>
            <p:cNvPr id="4" name="Vrije vorm 3">
              <a:extLst>
                <a:ext uri="{FF2B5EF4-FFF2-40B4-BE49-F238E27FC236}">
                  <a16:creationId xmlns:a16="http://schemas.microsoft.com/office/drawing/2014/main" id="{3441329D-ACDB-B372-378B-ACD67B0DAC3D}"/>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629913A9-DCEC-039E-BED8-BD62F7371D21}"/>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9AE3EA85-97F9-E081-FF26-817693C63795}"/>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7748CB09-A32C-B629-A286-25F3743306DB}"/>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928384F6-B9A5-A23C-285B-3174571651B3}"/>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DF401885-8E71-CDF2-A976-B7F19E2BBCDE}"/>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5" name="Vrije vorm 24">
              <a:extLst>
                <a:ext uri="{FF2B5EF4-FFF2-40B4-BE49-F238E27FC236}">
                  <a16:creationId xmlns:a16="http://schemas.microsoft.com/office/drawing/2014/main" id="{0735E4AE-322A-A8E9-D991-C10061301CD7}"/>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6" name="Vrije vorm 25">
              <a:extLst>
                <a:ext uri="{FF2B5EF4-FFF2-40B4-BE49-F238E27FC236}">
                  <a16:creationId xmlns:a16="http://schemas.microsoft.com/office/drawing/2014/main" id="{99812F18-AE83-041F-FA61-FCF4FC0CE657}"/>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4725737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eeld I">
    <p:bg>
      <p:bgPr>
        <a:solidFill>
          <a:schemeClr val="bg1"/>
        </a:soli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21776F47-32C9-9C8E-B319-73A7A122AD42}"/>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BD92EE7E-9B70-5398-06AF-122C02566FF5}"/>
              </a:ext>
            </a:extLst>
          </p:cNvPr>
          <p:cNvSpPr/>
          <p:nvPr userDrawn="1"/>
        </p:nvSpPr>
        <p:spPr>
          <a:xfrm>
            <a:off x="2818128" y="297949"/>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5" name="Picture Placeholder 2">
            <a:extLst>
              <a:ext uri="{FF2B5EF4-FFF2-40B4-BE49-F238E27FC236}">
                <a16:creationId xmlns:a16="http://schemas.microsoft.com/office/drawing/2014/main" id="{1338318C-7CFB-43D2-38E8-5C3C3E498969}"/>
              </a:ext>
            </a:extLst>
          </p:cNvPr>
          <p:cNvSpPr>
            <a:spLocks noGrp="1"/>
          </p:cNvSpPr>
          <p:nvPr>
            <p:ph type="pic" sz="quarter" idx="10"/>
          </p:nvPr>
        </p:nvSpPr>
        <p:spPr>
          <a:xfrm>
            <a:off x="0" y="546736"/>
            <a:ext cx="8858789" cy="6311263"/>
          </a:xfrm>
          <a:custGeom>
            <a:avLst/>
            <a:gdLst>
              <a:gd name="connsiteX0" fmla="*/ 0 w 8858789"/>
              <a:gd name="connsiteY0" fmla="*/ 0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9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0 w 8858789"/>
              <a:gd name="connsiteY0" fmla="*/ 4342128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9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98900 w 8957689"/>
              <a:gd name="connsiteY0" fmla="*/ 3795391 h 6311263"/>
              <a:gd name="connsiteX1" fmla="*/ 98901 w 8957689"/>
              <a:gd name="connsiteY1" fmla="*/ 3780248 h 6311263"/>
              <a:gd name="connsiteX2" fmla="*/ 1434066 w 8957689"/>
              <a:gd name="connsiteY2" fmla="*/ 1712382 h 6311263"/>
              <a:gd name="connsiteX3" fmla="*/ 5386652 w 8957689"/>
              <a:gd name="connsiteY3" fmla="*/ 1066 h 6311263"/>
              <a:gd name="connsiteX4" fmla="*/ 6178419 w 8957689"/>
              <a:gd name="connsiteY4" fmla="*/ 48251 h 6311263"/>
              <a:gd name="connsiteX5" fmla="*/ 8925370 w 8957689"/>
              <a:gd name="connsiteY5" fmla="*/ 1494767 h 6311263"/>
              <a:gd name="connsiteX6" fmla="*/ 8957689 w 8957689"/>
              <a:gd name="connsiteY6" fmla="*/ 1525097 h 6311263"/>
              <a:gd name="connsiteX7" fmla="*/ 8957689 w 8957689"/>
              <a:gd name="connsiteY7" fmla="*/ 1538249 h 6311263"/>
              <a:gd name="connsiteX8" fmla="*/ 4208438 w 8957689"/>
              <a:gd name="connsiteY8" fmla="*/ 6311263 h 6311263"/>
              <a:gd name="connsiteX9" fmla="*/ 98901 w 8957689"/>
              <a:gd name="connsiteY9" fmla="*/ 6311263 h 6311263"/>
              <a:gd name="connsiteX10" fmla="*/ 98901 w 8957689"/>
              <a:gd name="connsiteY10" fmla="*/ 3795389 h 6311263"/>
              <a:gd name="connsiteX11" fmla="*/ 98900 w 8957689"/>
              <a:gd name="connsiteY11" fmla="*/ 3795391 h 6311263"/>
              <a:gd name="connsiteX0" fmla="*/ 0 w 8858789"/>
              <a:gd name="connsiteY0" fmla="*/ 3795391 h 6311263"/>
              <a:gd name="connsiteX1" fmla="*/ 1 w 8858789"/>
              <a:gd name="connsiteY1" fmla="*/ 3780248 h 6311263"/>
              <a:gd name="connsiteX2" fmla="*/ 1335166 w 8858789"/>
              <a:gd name="connsiteY2" fmla="*/ 1712382 h 6311263"/>
              <a:gd name="connsiteX3" fmla="*/ 5287752 w 8858789"/>
              <a:gd name="connsiteY3" fmla="*/ 1066 h 6311263"/>
              <a:gd name="connsiteX4" fmla="*/ 6079519 w 8858789"/>
              <a:gd name="connsiteY4" fmla="*/ 48251 h 6311263"/>
              <a:gd name="connsiteX5" fmla="*/ 8826470 w 8858789"/>
              <a:gd name="connsiteY5" fmla="*/ 1494767 h 6311263"/>
              <a:gd name="connsiteX6" fmla="*/ 8858789 w 8858789"/>
              <a:gd name="connsiteY6" fmla="*/ 1525097 h 6311263"/>
              <a:gd name="connsiteX7" fmla="*/ 8858789 w 8858789"/>
              <a:gd name="connsiteY7" fmla="*/ 1538249 h 6311263"/>
              <a:gd name="connsiteX8" fmla="*/ 4109538 w 8858789"/>
              <a:gd name="connsiteY8" fmla="*/ 6311263 h 6311263"/>
              <a:gd name="connsiteX9" fmla="*/ 1 w 8858789"/>
              <a:gd name="connsiteY9" fmla="*/ 6311263 h 6311263"/>
              <a:gd name="connsiteX10" fmla="*/ 1 w 8858789"/>
              <a:gd name="connsiteY10" fmla="*/ 3795389 h 6311263"/>
              <a:gd name="connsiteX11" fmla="*/ 0 w 8858789"/>
              <a:gd name="connsiteY11" fmla="*/ 3795391 h 63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789" h="6311263">
                <a:moveTo>
                  <a:pt x="0" y="3795391"/>
                </a:moveTo>
                <a:cubicBezTo>
                  <a:pt x="0" y="3790343"/>
                  <a:pt x="1" y="3785296"/>
                  <a:pt x="1" y="3780248"/>
                </a:cubicBezTo>
                <a:cubicBezTo>
                  <a:pt x="267925" y="3068601"/>
                  <a:pt x="696857" y="2353120"/>
                  <a:pt x="1335166" y="1712382"/>
                </a:cubicBezTo>
                <a:cubicBezTo>
                  <a:pt x="2563733" y="479137"/>
                  <a:pt x="4068321" y="25656"/>
                  <a:pt x="5287752" y="1066"/>
                </a:cubicBezTo>
                <a:cubicBezTo>
                  <a:pt x="5569159" y="-4609"/>
                  <a:pt x="5835380" y="12558"/>
                  <a:pt x="6079519" y="48251"/>
                </a:cubicBezTo>
                <a:cubicBezTo>
                  <a:pt x="6707087" y="137127"/>
                  <a:pt x="7661107" y="472509"/>
                  <a:pt x="8826470" y="1494767"/>
                </a:cubicBezTo>
                <a:lnTo>
                  <a:pt x="8858789" y="1525097"/>
                </a:lnTo>
                <a:lnTo>
                  <a:pt x="8858789" y="1538249"/>
                </a:lnTo>
                <a:lnTo>
                  <a:pt x="4109538" y="6311263"/>
                </a:lnTo>
                <a:lnTo>
                  <a:pt x="1" y="6311263"/>
                </a:lnTo>
                <a:lnTo>
                  <a:pt x="1" y="3795389"/>
                </a:lnTo>
                <a:cubicBezTo>
                  <a:pt x="1" y="3795390"/>
                  <a:pt x="0" y="3795390"/>
                  <a:pt x="0" y="3795391"/>
                </a:cubicBezTo>
                <a:close/>
              </a:path>
            </a:pathLst>
          </a:custGeom>
          <a:solidFill>
            <a:schemeClr val="bg1">
              <a:lumMod val="95000"/>
            </a:schemeClr>
          </a:solidFill>
        </p:spPr>
        <p:txBody>
          <a:bodyPr wrap="square" lIns="1280160" tIns="0" bIns="2926080" anchor="ctr">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dirty="0"/>
          </a:p>
        </p:txBody>
      </p:sp>
      <p:sp>
        <p:nvSpPr>
          <p:cNvPr id="9" name="Freeform: Shape 8">
            <a:extLst>
              <a:ext uri="{FF2B5EF4-FFF2-40B4-BE49-F238E27FC236}">
                <a16:creationId xmlns:a16="http://schemas.microsoft.com/office/drawing/2014/main" id="{2E05851A-43E9-F70A-9C9D-845B0CB51AFE}"/>
              </a:ext>
            </a:extLst>
          </p:cNvPr>
          <p:cNvSpPr/>
          <p:nvPr userDrawn="1"/>
        </p:nvSpPr>
        <p:spPr>
          <a:xfrm>
            <a:off x="-1" y="0"/>
            <a:ext cx="10949305" cy="4342128"/>
          </a:xfrm>
          <a:custGeom>
            <a:avLst/>
            <a:gdLst>
              <a:gd name="connsiteX0" fmla="*/ 0 w 10949305"/>
              <a:gd name="connsiteY0" fmla="*/ 0 h 4342128"/>
              <a:gd name="connsiteX1" fmla="*/ 10949305 w 10949305"/>
              <a:gd name="connsiteY1" fmla="*/ 0 h 4342128"/>
              <a:gd name="connsiteX2" fmla="*/ 8844237 w 10949305"/>
              <a:gd name="connsiteY2" fmla="*/ 2105068 h 4342128"/>
              <a:gd name="connsiteX3" fmla="*/ 8840883 w 10949305"/>
              <a:gd name="connsiteY3" fmla="*/ 2101933 h 4342128"/>
              <a:gd name="connsiteX4" fmla="*/ 8865033 w 10949305"/>
              <a:gd name="connsiteY4" fmla="*/ 2077694 h 4342128"/>
              <a:gd name="connsiteX5" fmla="*/ 8826470 w 10949305"/>
              <a:gd name="connsiteY5" fmla="*/ 2041504 h 4342128"/>
              <a:gd name="connsiteX6" fmla="*/ 6079518 w 10949305"/>
              <a:gd name="connsiteY6" fmla="*/ 594988 h 4342128"/>
              <a:gd name="connsiteX7" fmla="*/ 5287752 w 10949305"/>
              <a:gd name="connsiteY7" fmla="*/ 547803 h 4342128"/>
              <a:gd name="connsiteX8" fmla="*/ 1335166 w 10949305"/>
              <a:gd name="connsiteY8" fmla="*/ 2259119 h 4342128"/>
              <a:gd name="connsiteX9" fmla="*/ 1 w 10949305"/>
              <a:gd name="connsiteY9" fmla="*/ 4326985 h 4342128"/>
              <a:gd name="connsiteX10" fmla="*/ 1 w 10949305"/>
              <a:gd name="connsiteY10" fmla="*/ 4342126 h 4342128"/>
              <a:gd name="connsiteX11" fmla="*/ 0 w 10949305"/>
              <a:gd name="connsiteY11" fmla="*/ 4342128 h 4342128"/>
              <a:gd name="connsiteX12" fmla="*/ 0 w 10949305"/>
              <a:gd name="connsiteY12" fmla="*/ 0 h 4342128"/>
              <a:gd name="connsiteX0" fmla="*/ 0 w 10949305"/>
              <a:gd name="connsiteY0" fmla="*/ 0 h 4342128"/>
              <a:gd name="connsiteX1" fmla="*/ 10949305 w 10949305"/>
              <a:gd name="connsiteY1" fmla="*/ 0 h 4342128"/>
              <a:gd name="connsiteX2" fmla="*/ 8844237 w 10949305"/>
              <a:gd name="connsiteY2" fmla="*/ 2105068 h 4342128"/>
              <a:gd name="connsiteX3" fmla="*/ 8865033 w 10949305"/>
              <a:gd name="connsiteY3" fmla="*/ 2077694 h 4342128"/>
              <a:gd name="connsiteX4" fmla="*/ 8826470 w 10949305"/>
              <a:gd name="connsiteY4" fmla="*/ 2041504 h 4342128"/>
              <a:gd name="connsiteX5" fmla="*/ 6079518 w 10949305"/>
              <a:gd name="connsiteY5" fmla="*/ 594988 h 4342128"/>
              <a:gd name="connsiteX6" fmla="*/ 5287752 w 10949305"/>
              <a:gd name="connsiteY6" fmla="*/ 547803 h 4342128"/>
              <a:gd name="connsiteX7" fmla="*/ 1335166 w 10949305"/>
              <a:gd name="connsiteY7" fmla="*/ 2259119 h 4342128"/>
              <a:gd name="connsiteX8" fmla="*/ 1 w 10949305"/>
              <a:gd name="connsiteY8" fmla="*/ 4326985 h 4342128"/>
              <a:gd name="connsiteX9" fmla="*/ 1 w 10949305"/>
              <a:gd name="connsiteY9" fmla="*/ 4342126 h 4342128"/>
              <a:gd name="connsiteX10" fmla="*/ 0 w 10949305"/>
              <a:gd name="connsiteY10" fmla="*/ 4342128 h 4342128"/>
              <a:gd name="connsiteX11" fmla="*/ 0 w 10949305"/>
              <a:gd name="connsiteY11" fmla="*/ 0 h 43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305" h="4342128">
                <a:moveTo>
                  <a:pt x="0" y="0"/>
                </a:moveTo>
                <a:lnTo>
                  <a:pt x="10949305" y="0"/>
                </a:lnTo>
                <a:lnTo>
                  <a:pt x="8844237" y="2105068"/>
                </a:lnTo>
                <a:lnTo>
                  <a:pt x="8865033" y="2077694"/>
                </a:lnTo>
                <a:lnTo>
                  <a:pt x="8826470" y="2041504"/>
                </a:lnTo>
                <a:cubicBezTo>
                  <a:pt x="7661107" y="1019246"/>
                  <a:pt x="6707087" y="683864"/>
                  <a:pt x="6079518" y="594988"/>
                </a:cubicBezTo>
                <a:cubicBezTo>
                  <a:pt x="5835380" y="559295"/>
                  <a:pt x="5569159" y="542128"/>
                  <a:pt x="5287752" y="547803"/>
                </a:cubicBezTo>
                <a:cubicBezTo>
                  <a:pt x="4068321" y="572393"/>
                  <a:pt x="2563733" y="1025874"/>
                  <a:pt x="1335166" y="2259119"/>
                </a:cubicBezTo>
                <a:cubicBezTo>
                  <a:pt x="696857" y="2899857"/>
                  <a:pt x="267925" y="3615338"/>
                  <a:pt x="1" y="4326985"/>
                </a:cubicBezTo>
                <a:lnTo>
                  <a:pt x="1" y="4342126"/>
                </a:lnTo>
                <a:cubicBezTo>
                  <a:pt x="1" y="4342127"/>
                  <a:pt x="0" y="4342127"/>
                  <a:pt x="0" y="4342128"/>
                </a:cubicBezTo>
                <a:lnTo>
                  <a:pt x="0" y="0"/>
                </a:lnTo>
                <a:close/>
              </a:path>
            </a:pathLst>
          </a:cu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Freeform: Shape 9">
            <a:extLst>
              <a:ext uri="{FF2B5EF4-FFF2-40B4-BE49-F238E27FC236}">
                <a16:creationId xmlns:a16="http://schemas.microsoft.com/office/drawing/2014/main" id="{48400646-44F5-B184-A713-113A4400A1B5}"/>
              </a:ext>
            </a:extLst>
          </p:cNvPr>
          <p:cNvSpPr/>
          <p:nvPr userDrawn="1"/>
        </p:nvSpPr>
        <p:spPr>
          <a:xfrm>
            <a:off x="8804177" y="-10274"/>
            <a:ext cx="3417870" cy="5565880"/>
          </a:xfrm>
          <a:custGeom>
            <a:avLst/>
            <a:gdLst>
              <a:gd name="connsiteX0" fmla="*/ 2084494 w 3327190"/>
              <a:gd name="connsiteY0" fmla="*/ 0 h 5399115"/>
              <a:gd name="connsiteX1" fmla="*/ 3327190 w 3327190"/>
              <a:gd name="connsiteY1" fmla="*/ 0 h 5399115"/>
              <a:gd name="connsiteX2" fmla="*/ 3327190 w 3327190"/>
              <a:gd name="connsiteY2" fmla="*/ 5399115 h 5399115"/>
              <a:gd name="connsiteX3" fmla="*/ 469508 w 3327190"/>
              <a:gd name="connsiteY3" fmla="*/ 2526750 h 5399115"/>
              <a:gd name="connsiteX4" fmla="*/ 407278 w 3327190"/>
              <a:gd name="connsiteY4" fmla="*/ 2464839 h 5399115"/>
              <a:gd name="connsiteX5" fmla="*/ 380608 w 3327190"/>
              <a:gd name="connsiteY5" fmla="*/ 2438670 h 5399115"/>
              <a:gd name="connsiteX6" fmla="*/ 345684 w 3327190"/>
              <a:gd name="connsiteY6" fmla="*/ 2404841 h 5399115"/>
              <a:gd name="connsiteX7" fmla="*/ 310123 w 3327190"/>
              <a:gd name="connsiteY7" fmla="*/ 2371015 h 5399115"/>
              <a:gd name="connsiteX8" fmla="*/ 284723 w 3327190"/>
              <a:gd name="connsiteY8" fmla="*/ 2346760 h 5399115"/>
              <a:gd name="connsiteX9" fmla="*/ 244084 w 3327190"/>
              <a:gd name="connsiteY9" fmla="*/ 2307826 h 5399115"/>
              <a:gd name="connsiteX10" fmla="*/ 225668 w 3327190"/>
              <a:gd name="connsiteY10" fmla="*/ 2290593 h 5399115"/>
              <a:gd name="connsiteX11" fmla="*/ 180583 w 3327190"/>
              <a:gd name="connsiteY11" fmla="*/ 2247829 h 5399115"/>
              <a:gd name="connsiteX12" fmla="*/ 167248 w 3327190"/>
              <a:gd name="connsiteY12" fmla="*/ 2235702 h 5399115"/>
              <a:gd name="connsiteX13" fmla="*/ 117718 w 3327190"/>
              <a:gd name="connsiteY13" fmla="*/ 2190386 h 5399115"/>
              <a:gd name="connsiteX14" fmla="*/ 109462 w 3327190"/>
              <a:gd name="connsiteY14" fmla="*/ 2182726 h 5399115"/>
              <a:gd name="connsiteX15" fmla="*/ 56758 w 3327190"/>
              <a:gd name="connsiteY15" fmla="*/ 2134857 h 5399115"/>
              <a:gd name="connsiteX16" fmla="*/ 52948 w 3327190"/>
              <a:gd name="connsiteY16" fmla="*/ 2131665 h 5399115"/>
              <a:gd name="connsiteX17" fmla="*/ 0 w 3327190"/>
              <a:gd name="connsiteY17" fmla="*/ 2084494 h 5399115"/>
              <a:gd name="connsiteX18" fmla="*/ 2084494 w 3327190"/>
              <a:gd name="connsiteY18" fmla="*/ 0 h 539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27190" h="5399115">
                <a:moveTo>
                  <a:pt x="2084494" y="0"/>
                </a:moveTo>
                <a:lnTo>
                  <a:pt x="3327190" y="0"/>
                </a:lnTo>
                <a:lnTo>
                  <a:pt x="3327190" y="5399115"/>
                </a:lnTo>
                <a:lnTo>
                  <a:pt x="469508" y="2526750"/>
                </a:lnTo>
                <a:cubicBezTo>
                  <a:pt x="448554" y="2505688"/>
                  <a:pt x="427599" y="2485263"/>
                  <a:pt x="407278" y="2464839"/>
                </a:cubicBezTo>
                <a:cubicBezTo>
                  <a:pt x="398388" y="2455903"/>
                  <a:pt x="389498" y="2447605"/>
                  <a:pt x="380608" y="2438670"/>
                </a:cubicBezTo>
                <a:cubicBezTo>
                  <a:pt x="369178" y="2427182"/>
                  <a:pt x="357748" y="2415693"/>
                  <a:pt x="345684" y="2404841"/>
                </a:cubicBezTo>
                <a:cubicBezTo>
                  <a:pt x="333618" y="2393354"/>
                  <a:pt x="322188" y="2381865"/>
                  <a:pt x="310123" y="2371015"/>
                </a:cubicBezTo>
                <a:cubicBezTo>
                  <a:pt x="301868" y="2362717"/>
                  <a:pt x="293614" y="2355057"/>
                  <a:pt x="284723" y="2346760"/>
                </a:cubicBezTo>
                <a:cubicBezTo>
                  <a:pt x="270753" y="2333357"/>
                  <a:pt x="257418" y="2320591"/>
                  <a:pt x="244084" y="2307826"/>
                </a:cubicBezTo>
                <a:cubicBezTo>
                  <a:pt x="237734" y="2302082"/>
                  <a:pt x="232018" y="2296338"/>
                  <a:pt x="225668" y="2290593"/>
                </a:cubicBezTo>
                <a:cubicBezTo>
                  <a:pt x="210428" y="2276551"/>
                  <a:pt x="195188" y="2261871"/>
                  <a:pt x="180583" y="2247829"/>
                </a:cubicBezTo>
                <a:cubicBezTo>
                  <a:pt x="176138" y="2244000"/>
                  <a:pt x="171693" y="2239532"/>
                  <a:pt x="167248" y="2235702"/>
                </a:cubicBezTo>
                <a:cubicBezTo>
                  <a:pt x="150738" y="2220384"/>
                  <a:pt x="134228" y="2205066"/>
                  <a:pt x="117718" y="2190386"/>
                </a:cubicBezTo>
                <a:cubicBezTo>
                  <a:pt x="115178" y="2187832"/>
                  <a:pt x="112638" y="2185279"/>
                  <a:pt x="109462" y="2182726"/>
                </a:cubicBezTo>
                <a:cubicBezTo>
                  <a:pt x="91684" y="2166770"/>
                  <a:pt x="73903" y="2150814"/>
                  <a:pt x="56758" y="2134857"/>
                </a:cubicBezTo>
                <a:cubicBezTo>
                  <a:pt x="55488" y="2133581"/>
                  <a:pt x="54218" y="2132942"/>
                  <a:pt x="52948" y="2131665"/>
                </a:cubicBezTo>
                <a:lnTo>
                  <a:pt x="0" y="2084494"/>
                </a:lnTo>
                <a:lnTo>
                  <a:pt x="2084494" y="0"/>
                </a:lnTo>
                <a:close/>
              </a:path>
            </a:pathLst>
          </a:custGeom>
          <a:solidFill>
            <a:srgbClr val="00501C"/>
          </a:solidFill>
          <a:ln w="12700">
            <a:solidFill>
              <a:srgbClr val="0050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1" name="Freeform: Shape 10">
            <a:extLst>
              <a:ext uri="{FF2B5EF4-FFF2-40B4-BE49-F238E27FC236}">
                <a16:creationId xmlns:a16="http://schemas.microsoft.com/office/drawing/2014/main" id="{D6AFF871-ED66-B26A-9022-13EA2C126C3E}"/>
              </a:ext>
            </a:extLst>
          </p:cNvPr>
          <p:cNvSpPr/>
          <p:nvPr userDrawn="1"/>
        </p:nvSpPr>
        <p:spPr>
          <a:xfrm>
            <a:off x="8858788" y="2071834"/>
            <a:ext cx="6244" cy="13152"/>
          </a:xfrm>
          <a:custGeom>
            <a:avLst/>
            <a:gdLst>
              <a:gd name="connsiteX0" fmla="*/ 0 w 6244"/>
              <a:gd name="connsiteY0" fmla="*/ 0 h 13152"/>
              <a:gd name="connsiteX1" fmla="*/ 6244 w 6244"/>
              <a:gd name="connsiteY1" fmla="*/ 5860 h 13152"/>
              <a:gd name="connsiteX2" fmla="*/ 2980 w 6244"/>
              <a:gd name="connsiteY2" fmla="*/ 10157 h 13152"/>
              <a:gd name="connsiteX3" fmla="*/ 0 w 6244"/>
              <a:gd name="connsiteY3" fmla="*/ 13152 h 13152"/>
              <a:gd name="connsiteX4" fmla="*/ 0 w 6244"/>
              <a:gd name="connsiteY4" fmla="*/ 0 h 1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2">
                <a:moveTo>
                  <a:pt x="0" y="0"/>
                </a:moveTo>
                <a:lnTo>
                  <a:pt x="6244" y="5860"/>
                </a:lnTo>
                <a:lnTo>
                  <a:pt x="2980" y="10157"/>
                </a:lnTo>
                <a:lnTo>
                  <a:pt x="0" y="13152"/>
                </a:lnTo>
                <a:lnTo>
                  <a:pt x="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2" name="Freeform: Shape 11">
            <a:extLst>
              <a:ext uri="{FF2B5EF4-FFF2-40B4-BE49-F238E27FC236}">
                <a16:creationId xmlns:a16="http://schemas.microsoft.com/office/drawing/2014/main" id="{5A59CA98-1D60-4C4F-B622-6F3C777E29B2}"/>
              </a:ext>
            </a:extLst>
          </p:cNvPr>
          <p:cNvSpPr/>
          <p:nvPr userDrawn="1"/>
        </p:nvSpPr>
        <p:spPr>
          <a:xfrm>
            <a:off x="8858788" y="2081881"/>
            <a:ext cx="6022" cy="8635"/>
          </a:xfrm>
          <a:custGeom>
            <a:avLst/>
            <a:gdLst>
              <a:gd name="connsiteX0" fmla="*/ 3089 w 6022"/>
              <a:gd name="connsiteY0" fmla="*/ 0 h 8635"/>
              <a:gd name="connsiteX1" fmla="*/ 6022 w 6022"/>
              <a:gd name="connsiteY1" fmla="*/ 2613 h 8635"/>
              <a:gd name="connsiteX2" fmla="*/ 0 w 6022"/>
              <a:gd name="connsiteY2" fmla="*/ 8635 h 8635"/>
              <a:gd name="connsiteX3" fmla="*/ 0 w 6022"/>
              <a:gd name="connsiteY3" fmla="*/ 4032 h 8635"/>
              <a:gd name="connsiteX4" fmla="*/ 2980 w 6022"/>
              <a:gd name="connsiteY4" fmla="*/ 110 h 8635"/>
              <a:gd name="connsiteX5" fmla="*/ 3089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89" y="0"/>
                </a:moveTo>
                <a:lnTo>
                  <a:pt x="6022" y="2613"/>
                </a:lnTo>
                <a:lnTo>
                  <a:pt x="0" y="8635"/>
                </a:lnTo>
                <a:lnTo>
                  <a:pt x="0" y="4032"/>
                </a:lnTo>
                <a:lnTo>
                  <a:pt x="2980" y="110"/>
                </a:lnTo>
                <a:lnTo>
                  <a:pt x="3089"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3" name="Freeform: Shape 12">
            <a:extLst>
              <a:ext uri="{FF2B5EF4-FFF2-40B4-BE49-F238E27FC236}">
                <a16:creationId xmlns:a16="http://schemas.microsoft.com/office/drawing/2014/main" id="{5B19720E-5222-DBB2-42A9-0D2E6DA3077A}"/>
              </a:ext>
            </a:extLst>
          </p:cNvPr>
          <p:cNvSpPr/>
          <p:nvPr userDrawn="1"/>
        </p:nvSpPr>
        <p:spPr>
          <a:xfrm>
            <a:off x="8858788" y="2081991"/>
            <a:ext cx="2980" cy="3922"/>
          </a:xfrm>
          <a:custGeom>
            <a:avLst/>
            <a:gdLst>
              <a:gd name="connsiteX0" fmla="*/ 2980 w 2980"/>
              <a:gd name="connsiteY0" fmla="*/ 0 h 3922"/>
              <a:gd name="connsiteX1" fmla="*/ 0 w 2980"/>
              <a:gd name="connsiteY1" fmla="*/ 3922 h 3922"/>
              <a:gd name="connsiteX2" fmla="*/ 0 w 2980"/>
              <a:gd name="connsiteY2" fmla="*/ 2995 h 3922"/>
              <a:gd name="connsiteX3" fmla="*/ 2980 w 2980"/>
              <a:gd name="connsiteY3" fmla="*/ 0 h 3922"/>
            </a:gdLst>
            <a:ahLst/>
            <a:cxnLst>
              <a:cxn ang="0">
                <a:pos x="connsiteX0" y="connsiteY0"/>
              </a:cxn>
              <a:cxn ang="0">
                <a:pos x="connsiteX1" y="connsiteY1"/>
              </a:cxn>
              <a:cxn ang="0">
                <a:pos x="connsiteX2" y="connsiteY2"/>
              </a:cxn>
              <a:cxn ang="0">
                <a:pos x="connsiteX3" y="connsiteY3"/>
              </a:cxn>
            </a:cxnLst>
            <a:rect l="l" t="t" r="r" b="b"/>
            <a:pathLst>
              <a:path w="2980" h="3922">
                <a:moveTo>
                  <a:pt x="2980" y="0"/>
                </a:moveTo>
                <a:lnTo>
                  <a:pt x="0" y="3922"/>
                </a:lnTo>
                <a:lnTo>
                  <a:pt x="0" y="2995"/>
                </a:lnTo>
                <a:lnTo>
                  <a:pt x="298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4" name="Freeform: Shape 13">
            <a:extLst>
              <a:ext uri="{FF2B5EF4-FFF2-40B4-BE49-F238E27FC236}">
                <a16:creationId xmlns:a16="http://schemas.microsoft.com/office/drawing/2014/main" id="{5E2026BB-DD67-7264-CD96-75C1E1541A0F}"/>
              </a:ext>
            </a:extLst>
          </p:cNvPr>
          <p:cNvSpPr/>
          <p:nvPr userDrawn="1"/>
        </p:nvSpPr>
        <p:spPr>
          <a:xfrm>
            <a:off x="8844236" y="2085913"/>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5" name="Freeform: Shape 14">
            <a:extLst>
              <a:ext uri="{FF2B5EF4-FFF2-40B4-BE49-F238E27FC236}">
                <a16:creationId xmlns:a16="http://schemas.microsoft.com/office/drawing/2014/main" id="{029D2E81-C987-A469-2159-A023CDDA9DF1}"/>
              </a:ext>
            </a:extLst>
          </p:cNvPr>
          <p:cNvSpPr/>
          <p:nvPr userDrawn="1"/>
        </p:nvSpPr>
        <p:spPr>
          <a:xfrm>
            <a:off x="8858788" y="2081995"/>
            <a:ext cx="2976" cy="3918"/>
          </a:xfrm>
          <a:custGeom>
            <a:avLst/>
            <a:gdLst>
              <a:gd name="connsiteX0" fmla="*/ 2976 w 2976"/>
              <a:gd name="connsiteY0" fmla="*/ 0 h 3918"/>
              <a:gd name="connsiteX1" fmla="*/ 0 w 2976"/>
              <a:gd name="connsiteY1" fmla="*/ 3918 h 3918"/>
              <a:gd name="connsiteX2" fmla="*/ 0 w 2976"/>
              <a:gd name="connsiteY2" fmla="*/ 2992 h 3918"/>
              <a:gd name="connsiteX3" fmla="*/ 2976 w 2976"/>
              <a:gd name="connsiteY3" fmla="*/ 0 h 3918"/>
            </a:gdLst>
            <a:ahLst/>
            <a:cxnLst>
              <a:cxn ang="0">
                <a:pos x="connsiteX0" y="connsiteY0"/>
              </a:cxn>
              <a:cxn ang="0">
                <a:pos x="connsiteX1" y="connsiteY1"/>
              </a:cxn>
              <a:cxn ang="0">
                <a:pos x="connsiteX2" y="connsiteY2"/>
              </a:cxn>
              <a:cxn ang="0">
                <a:pos x="connsiteX3" y="connsiteY3"/>
              </a:cxn>
            </a:cxnLst>
            <a:rect l="l" t="t" r="r" b="b"/>
            <a:pathLst>
              <a:path w="2976" h="3918">
                <a:moveTo>
                  <a:pt x="2976" y="0"/>
                </a:moveTo>
                <a:lnTo>
                  <a:pt x="0" y="3918"/>
                </a:lnTo>
                <a:lnTo>
                  <a:pt x="0" y="2992"/>
                </a:lnTo>
                <a:lnTo>
                  <a:pt x="2976"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6" name="Freeform: Shape 15">
            <a:extLst>
              <a:ext uri="{FF2B5EF4-FFF2-40B4-BE49-F238E27FC236}">
                <a16:creationId xmlns:a16="http://schemas.microsoft.com/office/drawing/2014/main" id="{70360CA9-3946-9522-4024-9D140DE7BA6F}"/>
              </a:ext>
            </a:extLst>
          </p:cNvPr>
          <p:cNvSpPr/>
          <p:nvPr userDrawn="1"/>
        </p:nvSpPr>
        <p:spPr>
          <a:xfrm>
            <a:off x="8844236" y="2085914"/>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7" name="Freeform: Shape 16">
            <a:extLst>
              <a:ext uri="{FF2B5EF4-FFF2-40B4-BE49-F238E27FC236}">
                <a16:creationId xmlns:a16="http://schemas.microsoft.com/office/drawing/2014/main" id="{FDAD5528-54F3-1B0D-A5CE-5A7E0F460775}"/>
              </a:ext>
            </a:extLst>
          </p:cNvPr>
          <p:cNvSpPr/>
          <p:nvPr userDrawn="1"/>
        </p:nvSpPr>
        <p:spPr>
          <a:xfrm>
            <a:off x="8858788" y="2071835"/>
            <a:ext cx="6244" cy="13153"/>
          </a:xfrm>
          <a:custGeom>
            <a:avLst/>
            <a:gdLst>
              <a:gd name="connsiteX0" fmla="*/ 0 w 6244"/>
              <a:gd name="connsiteY0" fmla="*/ 0 h 13153"/>
              <a:gd name="connsiteX1" fmla="*/ 6244 w 6244"/>
              <a:gd name="connsiteY1" fmla="*/ 5860 h 13153"/>
              <a:gd name="connsiteX2" fmla="*/ 2976 w 6244"/>
              <a:gd name="connsiteY2" fmla="*/ 10161 h 13153"/>
              <a:gd name="connsiteX3" fmla="*/ 0 w 6244"/>
              <a:gd name="connsiteY3" fmla="*/ 13153 h 13153"/>
              <a:gd name="connsiteX4" fmla="*/ 0 w 6244"/>
              <a:gd name="connsiteY4" fmla="*/ 0 h 1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3">
                <a:moveTo>
                  <a:pt x="0" y="0"/>
                </a:moveTo>
                <a:lnTo>
                  <a:pt x="6244" y="5860"/>
                </a:lnTo>
                <a:lnTo>
                  <a:pt x="2976" y="10161"/>
                </a:lnTo>
                <a:lnTo>
                  <a:pt x="0" y="13153"/>
                </a:lnTo>
                <a:lnTo>
                  <a:pt x="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0" name="Freeform: Shape 19">
            <a:extLst>
              <a:ext uri="{FF2B5EF4-FFF2-40B4-BE49-F238E27FC236}">
                <a16:creationId xmlns:a16="http://schemas.microsoft.com/office/drawing/2014/main" id="{01B796E6-7BF6-3AE6-3117-0C465CD9A567}"/>
              </a:ext>
            </a:extLst>
          </p:cNvPr>
          <p:cNvSpPr/>
          <p:nvPr userDrawn="1"/>
        </p:nvSpPr>
        <p:spPr>
          <a:xfrm>
            <a:off x="8858788" y="2081882"/>
            <a:ext cx="6022" cy="8635"/>
          </a:xfrm>
          <a:custGeom>
            <a:avLst/>
            <a:gdLst>
              <a:gd name="connsiteX0" fmla="*/ 3090 w 6022"/>
              <a:gd name="connsiteY0" fmla="*/ 0 h 8635"/>
              <a:gd name="connsiteX1" fmla="*/ 6022 w 6022"/>
              <a:gd name="connsiteY1" fmla="*/ 2613 h 8635"/>
              <a:gd name="connsiteX2" fmla="*/ 0 w 6022"/>
              <a:gd name="connsiteY2" fmla="*/ 8635 h 8635"/>
              <a:gd name="connsiteX3" fmla="*/ 0 w 6022"/>
              <a:gd name="connsiteY3" fmla="*/ 4032 h 8635"/>
              <a:gd name="connsiteX4" fmla="*/ 2976 w 6022"/>
              <a:gd name="connsiteY4" fmla="*/ 114 h 8635"/>
              <a:gd name="connsiteX5" fmla="*/ 3090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90" y="0"/>
                </a:moveTo>
                <a:lnTo>
                  <a:pt x="6022" y="2613"/>
                </a:lnTo>
                <a:lnTo>
                  <a:pt x="0" y="8635"/>
                </a:lnTo>
                <a:lnTo>
                  <a:pt x="0" y="4032"/>
                </a:lnTo>
                <a:lnTo>
                  <a:pt x="2976" y="114"/>
                </a:lnTo>
                <a:lnTo>
                  <a:pt x="309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6" name="Freeform: Shape 5">
            <a:extLst>
              <a:ext uri="{FF2B5EF4-FFF2-40B4-BE49-F238E27FC236}">
                <a16:creationId xmlns:a16="http://schemas.microsoft.com/office/drawing/2014/main" id="{5210795C-0FF3-7AD6-7A0D-FE997994CD05}"/>
              </a:ext>
            </a:extLst>
          </p:cNvPr>
          <p:cNvSpPr/>
          <p:nvPr userDrawn="1"/>
        </p:nvSpPr>
        <p:spPr>
          <a:xfrm>
            <a:off x="4099264" y="2061333"/>
            <a:ext cx="8112509" cy="4796664"/>
          </a:xfrm>
          <a:custGeom>
            <a:avLst/>
            <a:gdLst>
              <a:gd name="connsiteX0" fmla="*/ 4752340 w 8082463"/>
              <a:gd name="connsiteY0" fmla="*/ 0 h 4776119"/>
              <a:gd name="connsiteX1" fmla="*/ 4808220 w 8082463"/>
              <a:gd name="connsiteY1" fmla="*/ 49784 h 4776119"/>
              <a:gd name="connsiteX2" fmla="*/ 4812030 w 8082463"/>
              <a:gd name="connsiteY2" fmla="*/ 52976 h 4776119"/>
              <a:gd name="connsiteX3" fmla="*/ 4864734 w 8082463"/>
              <a:gd name="connsiteY3" fmla="*/ 100845 h 4776119"/>
              <a:gd name="connsiteX4" fmla="*/ 4872990 w 8082463"/>
              <a:gd name="connsiteY4" fmla="*/ 108505 h 4776119"/>
              <a:gd name="connsiteX5" fmla="*/ 4922520 w 8082463"/>
              <a:gd name="connsiteY5" fmla="*/ 153821 h 4776119"/>
              <a:gd name="connsiteX6" fmla="*/ 4935855 w 8082463"/>
              <a:gd name="connsiteY6" fmla="*/ 165948 h 4776119"/>
              <a:gd name="connsiteX7" fmla="*/ 4980940 w 8082463"/>
              <a:gd name="connsiteY7" fmla="*/ 208712 h 4776119"/>
              <a:gd name="connsiteX8" fmla="*/ 4999356 w 8082463"/>
              <a:gd name="connsiteY8" fmla="*/ 225945 h 4776119"/>
              <a:gd name="connsiteX9" fmla="*/ 5039995 w 8082463"/>
              <a:gd name="connsiteY9" fmla="*/ 264879 h 4776119"/>
              <a:gd name="connsiteX10" fmla="*/ 5065395 w 8082463"/>
              <a:gd name="connsiteY10" fmla="*/ 289134 h 4776119"/>
              <a:gd name="connsiteX11" fmla="*/ 5100956 w 8082463"/>
              <a:gd name="connsiteY11" fmla="*/ 322960 h 4776119"/>
              <a:gd name="connsiteX12" fmla="*/ 5135880 w 8082463"/>
              <a:gd name="connsiteY12" fmla="*/ 356789 h 4776119"/>
              <a:gd name="connsiteX13" fmla="*/ 5162550 w 8082463"/>
              <a:gd name="connsiteY13" fmla="*/ 382958 h 4776119"/>
              <a:gd name="connsiteX14" fmla="*/ 5224780 w 8082463"/>
              <a:gd name="connsiteY14" fmla="*/ 444869 h 4776119"/>
              <a:gd name="connsiteX15" fmla="*/ 8082463 w 8082463"/>
              <a:gd name="connsiteY15" fmla="*/ 3317235 h 4776119"/>
              <a:gd name="connsiteX16" fmla="*/ 8082463 w 8082463"/>
              <a:gd name="connsiteY16" fmla="*/ 4776119 h 4776119"/>
              <a:gd name="connsiteX17" fmla="*/ 0 w 8082463"/>
              <a:gd name="connsiteY17" fmla="*/ 4776119 h 477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82463" h="4776119">
                <a:moveTo>
                  <a:pt x="4752340" y="0"/>
                </a:moveTo>
                <a:cubicBezTo>
                  <a:pt x="4770756" y="16595"/>
                  <a:pt x="4789805" y="33190"/>
                  <a:pt x="4808220" y="49784"/>
                </a:cubicBezTo>
                <a:cubicBezTo>
                  <a:pt x="4809490" y="51061"/>
                  <a:pt x="4810760" y="51700"/>
                  <a:pt x="4812030" y="52976"/>
                </a:cubicBezTo>
                <a:cubicBezTo>
                  <a:pt x="4829175" y="68933"/>
                  <a:pt x="4846956" y="84889"/>
                  <a:pt x="4864734" y="100845"/>
                </a:cubicBezTo>
                <a:cubicBezTo>
                  <a:pt x="4867910" y="103398"/>
                  <a:pt x="4870450" y="105951"/>
                  <a:pt x="4872990" y="108505"/>
                </a:cubicBezTo>
                <a:cubicBezTo>
                  <a:pt x="4889500" y="123185"/>
                  <a:pt x="4906010" y="138503"/>
                  <a:pt x="4922520" y="153821"/>
                </a:cubicBezTo>
                <a:cubicBezTo>
                  <a:pt x="4926965" y="157651"/>
                  <a:pt x="4931410" y="162119"/>
                  <a:pt x="4935855" y="165948"/>
                </a:cubicBezTo>
                <a:cubicBezTo>
                  <a:pt x="4950460" y="179990"/>
                  <a:pt x="4965700" y="194670"/>
                  <a:pt x="4980940" y="208712"/>
                </a:cubicBezTo>
                <a:cubicBezTo>
                  <a:pt x="4987290" y="214457"/>
                  <a:pt x="4993006" y="220201"/>
                  <a:pt x="4999356" y="225945"/>
                </a:cubicBezTo>
                <a:cubicBezTo>
                  <a:pt x="5012690" y="238710"/>
                  <a:pt x="5026025" y="251476"/>
                  <a:pt x="5039995" y="264879"/>
                </a:cubicBezTo>
                <a:cubicBezTo>
                  <a:pt x="5048886" y="273176"/>
                  <a:pt x="5057140" y="280836"/>
                  <a:pt x="5065395" y="289134"/>
                </a:cubicBezTo>
                <a:cubicBezTo>
                  <a:pt x="5077460" y="299984"/>
                  <a:pt x="5088890" y="311473"/>
                  <a:pt x="5100956" y="322960"/>
                </a:cubicBezTo>
                <a:cubicBezTo>
                  <a:pt x="5113020" y="333812"/>
                  <a:pt x="5124450" y="345301"/>
                  <a:pt x="5135880" y="356789"/>
                </a:cubicBezTo>
                <a:cubicBezTo>
                  <a:pt x="5144770" y="365724"/>
                  <a:pt x="5153660" y="374022"/>
                  <a:pt x="5162550" y="382958"/>
                </a:cubicBezTo>
                <a:cubicBezTo>
                  <a:pt x="5182871" y="403382"/>
                  <a:pt x="5203826" y="423807"/>
                  <a:pt x="5224780" y="444869"/>
                </a:cubicBezTo>
                <a:lnTo>
                  <a:pt x="8082463" y="3317235"/>
                </a:lnTo>
                <a:lnTo>
                  <a:pt x="8082463" y="4776119"/>
                </a:lnTo>
                <a:lnTo>
                  <a:pt x="0" y="4776119"/>
                </a:lnTo>
                <a:close/>
              </a:path>
            </a:pathLst>
          </a:custGeom>
          <a:solidFill>
            <a:schemeClr val="accent5"/>
          </a:solidFill>
          <a:ln w="12700" cap="flat">
            <a:solidFill>
              <a:schemeClr val="accent5"/>
            </a:solidFill>
            <a:prstDash val="solid"/>
            <a:miter/>
          </a:ln>
        </p:spPr>
        <p:txBody>
          <a:bodyPr wrap="square" rtlCol="0" anchor="ctr">
            <a:noAutofit/>
          </a:bodyPr>
          <a:lstStyle/>
          <a:p>
            <a:endParaRPr lang="en-GB"/>
          </a:p>
        </p:txBody>
      </p:sp>
      <p:grpSp>
        <p:nvGrpSpPr>
          <p:cNvPr id="27" name="Groep 26">
            <a:extLst>
              <a:ext uri="{FF2B5EF4-FFF2-40B4-BE49-F238E27FC236}">
                <a16:creationId xmlns:a16="http://schemas.microsoft.com/office/drawing/2014/main" id="{A5D310E0-FDC3-9548-2E3D-5E587C271ABB}"/>
              </a:ext>
            </a:extLst>
          </p:cNvPr>
          <p:cNvGrpSpPr/>
          <p:nvPr userDrawn="1"/>
        </p:nvGrpSpPr>
        <p:grpSpPr>
          <a:xfrm>
            <a:off x="10015200" y="5839298"/>
            <a:ext cx="1599388" cy="433809"/>
            <a:chOff x="3101010" y="1249096"/>
            <a:chExt cx="3978412" cy="1079079"/>
          </a:xfrm>
          <a:solidFill>
            <a:schemeClr val="bg1"/>
          </a:solidFill>
        </p:grpSpPr>
        <p:sp>
          <p:nvSpPr>
            <p:cNvPr id="28" name="Vrije vorm 27">
              <a:extLst>
                <a:ext uri="{FF2B5EF4-FFF2-40B4-BE49-F238E27FC236}">
                  <a16:creationId xmlns:a16="http://schemas.microsoft.com/office/drawing/2014/main" id="{ECA752FF-2F37-957B-A5EC-C7B6C668F413}"/>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29" name="Vrije vorm 28">
              <a:extLst>
                <a:ext uri="{FF2B5EF4-FFF2-40B4-BE49-F238E27FC236}">
                  <a16:creationId xmlns:a16="http://schemas.microsoft.com/office/drawing/2014/main" id="{6983560B-DC97-0E4B-2625-B2F1FAF8C285}"/>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30" name="Vrije vorm 29">
              <a:extLst>
                <a:ext uri="{FF2B5EF4-FFF2-40B4-BE49-F238E27FC236}">
                  <a16:creationId xmlns:a16="http://schemas.microsoft.com/office/drawing/2014/main" id="{47E7E634-8DFD-5FED-B8AF-452C10C7E741}"/>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31" name="Vrije vorm 30">
              <a:extLst>
                <a:ext uri="{FF2B5EF4-FFF2-40B4-BE49-F238E27FC236}">
                  <a16:creationId xmlns:a16="http://schemas.microsoft.com/office/drawing/2014/main" id="{B243CB65-D677-46F8-7A25-469316C9B134}"/>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32" name="Vrije vorm 31">
              <a:extLst>
                <a:ext uri="{FF2B5EF4-FFF2-40B4-BE49-F238E27FC236}">
                  <a16:creationId xmlns:a16="http://schemas.microsoft.com/office/drawing/2014/main" id="{78C02F80-EBFC-6967-28B4-864F64999624}"/>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33" name="Vrije vorm 32">
              <a:extLst>
                <a:ext uri="{FF2B5EF4-FFF2-40B4-BE49-F238E27FC236}">
                  <a16:creationId xmlns:a16="http://schemas.microsoft.com/office/drawing/2014/main" id="{13246393-CFD1-1BC8-C9CA-FFB1685A3784}"/>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34" name="Vrije vorm 33">
              <a:extLst>
                <a:ext uri="{FF2B5EF4-FFF2-40B4-BE49-F238E27FC236}">
                  <a16:creationId xmlns:a16="http://schemas.microsoft.com/office/drawing/2014/main" id="{C8530A73-BEBE-6C42-918D-42A60E3ACCD6}"/>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35" name="Vrije vorm 34">
              <a:extLst>
                <a:ext uri="{FF2B5EF4-FFF2-40B4-BE49-F238E27FC236}">
                  <a16:creationId xmlns:a16="http://schemas.microsoft.com/office/drawing/2014/main" id="{45D0E928-851B-13D4-6C3F-72F1A4B0BEA6}"/>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3702342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eeld II">
    <p:bg>
      <p:bgPr>
        <a:solidFill>
          <a:schemeClr val="bg1"/>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64E804F-F299-2C6E-D49F-7B6D7652A1FC}"/>
              </a:ext>
            </a:extLst>
          </p:cNvPr>
          <p:cNvSpPr>
            <a:spLocks noGrp="1"/>
          </p:cNvSpPr>
          <p:nvPr>
            <p:ph type="pic" sz="quarter" idx="10"/>
          </p:nvPr>
        </p:nvSpPr>
        <p:spPr>
          <a:xfrm>
            <a:off x="0" y="585773"/>
            <a:ext cx="6096000" cy="6272226"/>
          </a:xfrm>
          <a:custGeom>
            <a:avLst/>
            <a:gdLst>
              <a:gd name="connsiteX0" fmla="*/ 5205643 w 6096000"/>
              <a:gd name="connsiteY0" fmla="*/ 1043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 name="connsiteX10" fmla="*/ 5205643 w 6096000"/>
              <a:gd name="connsiteY10" fmla="*/ 1043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272226">
                <a:moveTo>
                  <a:pt x="5205643" y="1043"/>
                </a:moveTo>
                <a:cubicBezTo>
                  <a:pt x="5410229" y="5180"/>
                  <a:pt x="5605325" y="21537"/>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ubicBezTo>
                  <a:pt x="5068197" y="-358"/>
                  <a:pt x="5137447" y="-336"/>
                  <a:pt x="5205643" y="1043"/>
                </a:cubicBezTo>
                <a:close/>
              </a:path>
            </a:pathLst>
          </a:custGeom>
          <a:solidFill>
            <a:schemeClr val="bg1">
              <a:lumMod val="95000"/>
            </a:schemeClr>
          </a:solidFill>
        </p:spPr>
        <p:txBody>
          <a:bodyPr wrap="square" tIns="109728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0" name="TextBox 19">
            <a:extLst>
              <a:ext uri="{FF2B5EF4-FFF2-40B4-BE49-F238E27FC236}">
                <a16:creationId xmlns:a16="http://schemas.microsoft.com/office/drawing/2014/main" id="{878DA228-6208-315D-1130-7602FC0E826E}"/>
              </a:ext>
            </a:extLst>
          </p:cNvPr>
          <p:cNvSpPr txBox="1"/>
          <p:nvPr/>
        </p:nvSpPr>
        <p:spPr>
          <a:xfrm>
            <a:off x="8443721" y="2865654"/>
            <a:ext cx="436880" cy="1185771"/>
          </a:xfrm>
          <a:prstGeom prst="rect">
            <a:avLst/>
          </a:prstGeom>
          <a:noFill/>
        </p:spPr>
        <p:txBody>
          <a:bodyPr wrap="none" lIns="0" tIns="0" rIns="0" bIns="0" rtlCol="0">
            <a:spAutoFit/>
          </a:bodyPr>
          <a:lstStyle/>
          <a:p>
            <a:pPr algn="l"/>
            <a:r>
              <a:rPr lang="en-GB" sz="14500" spc="0" baseline="0" dirty="0" err="1">
                <a:ln/>
                <a:solidFill>
                  <a:srgbClr val="6DBE45"/>
                </a:solidFill>
                <a:latin typeface="Arial"/>
                <a:cs typeface="Arial"/>
                <a:sym typeface="Arial"/>
                <a:rtl val="0"/>
              </a:rPr>
              <a:t> </a:t>
            </a:r>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2" name="Freeform: Shape 1">
            <a:extLst>
              <a:ext uri="{FF2B5EF4-FFF2-40B4-BE49-F238E27FC236}">
                <a16:creationId xmlns:a16="http://schemas.microsoft.com/office/drawing/2014/main" id="{0204D886-3C1B-0CFB-5BF5-8FD5A693CA66}"/>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4" name="Freeform: Shape 3">
            <a:extLst>
              <a:ext uri="{FF2B5EF4-FFF2-40B4-BE49-F238E27FC236}">
                <a16:creationId xmlns:a16="http://schemas.microsoft.com/office/drawing/2014/main" id="{1A61D792-787B-D39F-D40C-0993227C0AC4}"/>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FC3DE5BA-3BBB-C4B7-C82E-75A6683C53B4}"/>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chemeClr val="accent5"/>
          </a:solidFill>
          <a:ln w="12700" cap="flat">
            <a:solidFill>
              <a:schemeClr val="accent5"/>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7" name="Freeform: Shape 6">
            <a:extLst>
              <a:ext uri="{FF2B5EF4-FFF2-40B4-BE49-F238E27FC236}">
                <a16:creationId xmlns:a16="http://schemas.microsoft.com/office/drawing/2014/main" id="{025A4B65-8C45-1916-049E-F2A0BE3C6D9C}"/>
              </a:ext>
            </a:extLst>
          </p:cNvPr>
          <p:cNvSpPr/>
          <p:nvPr userDrawn="1"/>
        </p:nvSpPr>
        <p:spPr>
          <a:xfrm>
            <a:off x="6096000" y="-1"/>
            <a:ext cx="6096000" cy="5705659"/>
          </a:xfrm>
          <a:custGeom>
            <a:avLst/>
            <a:gdLst>
              <a:gd name="connsiteX0" fmla="*/ 0 w 6096000"/>
              <a:gd name="connsiteY0" fmla="*/ 0 h 5705659"/>
              <a:gd name="connsiteX1" fmla="*/ 6096000 w 6096000"/>
              <a:gd name="connsiteY1" fmla="*/ 0 h 5705659"/>
              <a:gd name="connsiteX2" fmla="*/ 6096000 w 6096000"/>
              <a:gd name="connsiteY2" fmla="*/ 5705659 h 5705659"/>
              <a:gd name="connsiteX3" fmla="*/ 2934617 w 6096000"/>
              <a:gd name="connsiteY3" fmla="*/ 2549416 h 5705659"/>
              <a:gd name="connsiteX4" fmla="*/ 119700 w 6096000"/>
              <a:gd name="connsiteY4" fmla="*/ 724468 h 5705659"/>
              <a:gd name="connsiteX5" fmla="*/ 0 w 6096000"/>
              <a:gd name="connsiteY5" fmla="*/ 693739 h 5705659"/>
              <a:gd name="connsiteX6" fmla="*/ 0 w 6096000"/>
              <a:gd name="connsiteY6" fmla="*/ 0 h 570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05659">
                <a:moveTo>
                  <a:pt x="0" y="0"/>
                </a:moveTo>
                <a:lnTo>
                  <a:pt x="6096000" y="0"/>
                </a:lnTo>
                <a:lnTo>
                  <a:pt x="6096000" y="5705659"/>
                </a:lnTo>
                <a:lnTo>
                  <a:pt x="2934617" y="2549416"/>
                </a:lnTo>
                <a:cubicBezTo>
                  <a:pt x="1797550" y="1414196"/>
                  <a:pt x="828266" y="922995"/>
                  <a:pt x="119700" y="724468"/>
                </a:cubicBezTo>
                <a:lnTo>
                  <a:pt x="0" y="693739"/>
                </a:lnTo>
                <a:lnTo>
                  <a:pt x="0" y="0"/>
                </a:lnTo>
                <a:close/>
              </a:path>
            </a:pathLst>
          </a:cu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grpSp>
        <p:nvGrpSpPr>
          <p:cNvPr id="3" name="Groep 2">
            <a:extLst>
              <a:ext uri="{FF2B5EF4-FFF2-40B4-BE49-F238E27FC236}">
                <a16:creationId xmlns:a16="http://schemas.microsoft.com/office/drawing/2014/main" id="{16486BDC-77AB-08B0-6BE1-65BC24F37F0F}"/>
              </a:ext>
            </a:extLst>
          </p:cNvPr>
          <p:cNvGrpSpPr/>
          <p:nvPr userDrawn="1"/>
        </p:nvGrpSpPr>
        <p:grpSpPr>
          <a:xfrm>
            <a:off x="10014482" y="5839298"/>
            <a:ext cx="1599388" cy="433809"/>
            <a:chOff x="3101010" y="1249096"/>
            <a:chExt cx="3978412" cy="1079079"/>
          </a:xfrm>
          <a:solidFill>
            <a:schemeClr val="bg1"/>
          </a:solidFill>
        </p:grpSpPr>
        <p:sp>
          <p:nvSpPr>
            <p:cNvPr id="9" name="Vrije vorm 8">
              <a:extLst>
                <a:ext uri="{FF2B5EF4-FFF2-40B4-BE49-F238E27FC236}">
                  <a16:creationId xmlns:a16="http://schemas.microsoft.com/office/drawing/2014/main" id="{7E9F3609-37EB-8D25-9952-C44C1DB7C20C}"/>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8CEE31DC-3048-7D89-712C-A3445E489079}"/>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247386CB-2A13-C18C-F4B2-BD792DA88050}"/>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7ED4C3E5-49CD-9903-13F3-9436F93B7D0E}"/>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ECCA4AFE-078A-2952-1EA0-0D718A041096}"/>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72187928-6637-915E-ED52-303E37DC6202}"/>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DAA7B5B7-C85D-8BD7-7329-51DEE103FD2F}"/>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91E3B4C9-F3CE-91DD-1288-CA7EAB5EBD7F}"/>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5" name="Freeform: Shape 4">
            <a:extLst>
              <a:ext uri="{FF2B5EF4-FFF2-40B4-BE49-F238E27FC236}">
                <a16:creationId xmlns:a16="http://schemas.microsoft.com/office/drawing/2014/main" id="{E9B56463-5CBA-8882-D94C-A0E589B4FDD0}"/>
              </a:ext>
            </a:extLst>
          </p:cNvPr>
          <p:cNvSpPr/>
          <p:nvPr userDrawn="1"/>
        </p:nvSpPr>
        <p:spPr>
          <a:xfrm>
            <a:off x="6089944"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rgbClr val="00501C"/>
          </a:solidFill>
          <a:ln w="19050" cap="flat">
            <a:solidFill>
              <a:srgbClr val="00501C"/>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17" name="Titel 1">
            <a:extLst>
              <a:ext uri="{FF2B5EF4-FFF2-40B4-BE49-F238E27FC236}">
                <a16:creationId xmlns:a16="http://schemas.microsoft.com/office/drawing/2014/main" id="{92241EE5-BC56-666D-1D48-9CBE3CB2AD4D}"/>
              </a:ext>
            </a:extLst>
          </p:cNvPr>
          <p:cNvSpPr>
            <a:spLocks noGrp="1"/>
          </p:cNvSpPr>
          <p:nvPr>
            <p:ph type="title" hasCustomPrompt="1"/>
          </p:nvPr>
        </p:nvSpPr>
        <p:spPr>
          <a:xfrm>
            <a:off x="6588049" y="4936253"/>
            <a:ext cx="5016576" cy="692497"/>
          </a:xfrm>
        </p:spPr>
        <p:txBody>
          <a:bodyPr wrap="square" anchor="b" anchorCtr="0">
            <a:spAutoFit/>
          </a:bodyPr>
          <a:lstStyle>
            <a:lvl1pPr>
              <a:defRPr sz="5000">
                <a:solidFill>
                  <a:schemeClr val="bg1"/>
                </a:solidFill>
              </a:defRPr>
            </a:lvl1pPr>
          </a:lstStyle>
          <a:p>
            <a:r>
              <a:rPr lang="nl-NL" dirty="0"/>
              <a:t>Titel</a:t>
            </a:r>
          </a:p>
        </p:txBody>
      </p:sp>
      <p:grpSp>
        <p:nvGrpSpPr>
          <p:cNvPr id="39" name="Groep 38">
            <a:extLst>
              <a:ext uri="{FF2B5EF4-FFF2-40B4-BE49-F238E27FC236}">
                <a16:creationId xmlns:a16="http://schemas.microsoft.com/office/drawing/2014/main" id="{2D1BBB6C-E856-766A-50BF-C3CA896DF13D}"/>
              </a:ext>
            </a:extLst>
          </p:cNvPr>
          <p:cNvGrpSpPr/>
          <p:nvPr userDrawn="1"/>
        </p:nvGrpSpPr>
        <p:grpSpPr>
          <a:xfrm>
            <a:off x="10015200" y="5839200"/>
            <a:ext cx="1599388" cy="433809"/>
            <a:chOff x="3101010" y="1249096"/>
            <a:chExt cx="3978412" cy="1079079"/>
          </a:xfrm>
          <a:solidFill>
            <a:schemeClr val="bg1"/>
          </a:solidFill>
        </p:grpSpPr>
        <p:sp>
          <p:nvSpPr>
            <p:cNvPr id="40" name="Vrije vorm 39">
              <a:extLst>
                <a:ext uri="{FF2B5EF4-FFF2-40B4-BE49-F238E27FC236}">
                  <a16:creationId xmlns:a16="http://schemas.microsoft.com/office/drawing/2014/main" id="{54353D2C-498D-6368-4741-4A93D4ABC93F}"/>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1" name="Vrije vorm 40">
              <a:extLst>
                <a:ext uri="{FF2B5EF4-FFF2-40B4-BE49-F238E27FC236}">
                  <a16:creationId xmlns:a16="http://schemas.microsoft.com/office/drawing/2014/main" id="{E766A830-EA7B-8C6E-CBAF-86B3E02E56F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42" name="Vrije vorm 41">
              <a:extLst>
                <a:ext uri="{FF2B5EF4-FFF2-40B4-BE49-F238E27FC236}">
                  <a16:creationId xmlns:a16="http://schemas.microsoft.com/office/drawing/2014/main" id="{6E632DFD-0C50-B646-74AC-16F023D483F0}"/>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43" name="Vrije vorm 42">
              <a:extLst>
                <a:ext uri="{FF2B5EF4-FFF2-40B4-BE49-F238E27FC236}">
                  <a16:creationId xmlns:a16="http://schemas.microsoft.com/office/drawing/2014/main" id="{F01B1230-934D-49BF-A11F-2047E618A724}"/>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44" name="Vrije vorm 43">
              <a:extLst>
                <a:ext uri="{FF2B5EF4-FFF2-40B4-BE49-F238E27FC236}">
                  <a16:creationId xmlns:a16="http://schemas.microsoft.com/office/drawing/2014/main" id="{FAB42E86-C34D-B0E3-F5C7-9BD935CC1E1A}"/>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45" name="Vrije vorm 44">
              <a:extLst>
                <a:ext uri="{FF2B5EF4-FFF2-40B4-BE49-F238E27FC236}">
                  <a16:creationId xmlns:a16="http://schemas.microsoft.com/office/drawing/2014/main" id="{0C3BD15E-0A39-6CFC-E2DC-4E6D57C0C02E}"/>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46" name="Vrije vorm 45">
              <a:extLst>
                <a:ext uri="{FF2B5EF4-FFF2-40B4-BE49-F238E27FC236}">
                  <a16:creationId xmlns:a16="http://schemas.microsoft.com/office/drawing/2014/main" id="{1C4CA5FE-39C8-7B50-1FD7-96F22990DAC0}"/>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47" name="Vrije vorm 46">
              <a:extLst>
                <a:ext uri="{FF2B5EF4-FFF2-40B4-BE49-F238E27FC236}">
                  <a16:creationId xmlns:a16="http://schemas.microsoft.com/office/drawing/2014/main" id="{0F420EAA-47B1-7E2D-9BDE-8B47109EEB60}"/>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2290685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eeld III">
    <p:bg>
      <p:bgPr>
        <a:solidFill>
          <a:schemeClr val="bg1"/>
        </a:solidFill>
        <a:effectLst/>
      </p:bgPr>
    </p:bg>
    <p:spTree>
      <p:nvGrpSpPr>
        <p:cNvPr id="1" name=""/>
        <p:cNvGrpSpPr/>
        <p:nvPr/>
      </p:nvGrpSpPr>
      <p:grpSpPr>
        <a:xfrm>
          <a:off x="0" y="0"/>
          <a:ext cx="0" cy="0"/>
          <a:chOff x="0" y="0"/>
          <a:chExt cx="0" cy="0"/>
        </a:xfrm>
      </p:grpSpPr>
      <p:sp>
        <p:nvSpPr>
          <p:cNvPr id="29" name="Picture Placeholder 14">
            <a:extLst>
              <a:ext uri="{FF2B5EF4-FFF2-40B4-BE49-F238E27FC236}">
                <a16:creationId xmlns:a16="http://schemas.microsoft.com/office/drawing/2014/main" id="{22D3F310-FF86-AAD6-B0E0-4206B0321336}"/>
              </a:ext>
            </a:extLst>
          </p:cNvPr>
          <p:cNvSpPr>
            <a:spLocks noGrp="1"/>
          </p:cNvSpPr>
          <p:nvPr>
            <p:ph type="pic" sz="quarter" idx="10" hasCustomPrompt="1"/>
          </p:nvPr>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4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4"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bg1">
              <a:lumMod val="95000"/>
            </a:schemeClr>
          </a:solidFill>
        </p:spPr>
        <p:txBody>
          <a:bodyPr wrap="square" tIns="1097280" anchor="t" anchorCtr="0">
            <a:noAutofit/>
          </a:bodyPr>
          <a:lstStyle>
            <a:lvl1pPr algn="ctr">
              <a:defRPr sz="1800"/>
            </a:lvl1pPr>
          </a:lstStyle>
          <a:p>
            <a:r>
              <a:rPr lang="en-GB" dirty="0" err="1"/>
              <a:t>Beeld</a:t>
            </a:r>
            <a:endParaRPr lang="en-GB" dirty="0"/>
          </a:p>
        </p:txBody>
      </p:sp>
      <p:sp>
        <p:nvSpPr>
          <p:cNvPr id="26" name="Freeform: Shape 4">
            <a:extLst>
              <a:ext uri="{FF2B5EF4-FFF2-40B4-BE49-F238E27FC236}">
                <a16:creationId xmlns:a16="http://schemas.microsoft.com/office/drawing/2014/main" id="{E64003A7-CD1D-FDAF-A24D-C329B67EE96B}"/>
              </a:ext>
            </a:extLst>
          </p:cNvPr>
          <p:cNvSpPr/>
          <p:nvPr userDrawn="1"/>
        </p:nvSpPr>
        <p:spPr>
          <a:xfrm>
            <a:off x="7440811" y="-10274"/>
            <a:ext cx="4756381" cy="6876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27" name="Freeform: Shape 8">
            <a:extLst>
              <a:ext uri="{FF2B5EF4-FFF2-40B4-BE49-F238E27FC236}">
                <a16:creationId xmlns:a16="http://schemas.microsoft.com/office/drawing/2014/main" id="{A11F85E2-17C7-CD48-577F-02AED14560CE}"/>
              </a:ext>
            </a:extLst>
          </p:cNvPr>
          <p:cNvSpPr/>
          <p:nvPr userDrawn="1"/>
        </p:nvSpPr>
        <p:spPr>
          <a:xfrm>
            <a:off x="5404345"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rgbClr val="00501C"/>
          </a:solidFill>
          <a:ln w="12700" cap="flat">
            <a:solidFill>
              <a:srgbClr val="00501C"/>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8" name="Freeform: Shape 8">
            <a:extLst>
              <a:ext uri="{FF2B5EF4-FFF2-40B4-BE49-F238E27FC236}">
                <a16:creationId xmlns:a16="http://schemas.microsoft.com/office/drawing/2014/main" id="{5E32F499-1C84-63E7-F569-7880E1B94315}"/>
              </a:ext>
            </a:extLst>
          </p:cNvPr>
          <p:cNvSpPr/>
          <p:nvPr userDrawn="1"/>
        </p:nvSpPr>
        <p:spPr>
          <a:xfrm>
            <a:off x="7445893"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00501C"/>
          </a:solidFill>
          <a:ln w="12700" cap="flat">
            <a:solidFill>
              <a:srgbClr val="00501C"/>
            </a:solidFill>
            <a:prstDash val="solid"/>
            <a:miter/>
          </a:ln>
        </p:spPr>
        <p:txBody>
          <a:bodyPr rtlCol="0" anchor="ctr"/>
          <a:lstStyle/>
          <a:p>
            <a:pPr lvl="0"/>
            <a:endParaRPr lang="en-GB"/>
          </a:p>
        </p:txBody>
      </p:sp>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F998225F-A5AB-2A6A-511D-E2D2D9A8D2F2}"/>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1A0AF000-DE16-ECB9-4A9C-FD8EE37EE1A4}"/>
              </a:ext>
            </a:extLst>
          </p:cNvPr>
          <p:cNvSpPr/>
          <p:nvPr userDrawn="1"/>
        </p:nvSpPr>
        <p:spPr>
          <a:xfrm>
            <a:off x="-1611" y="-7726"/>
            <a:ext cx="5836033" cy="6876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chemeClr val="accent5"/>
          </a:solidFill>
          <a:ln w="6208" cap="flat">
            <a:solidFill>
              <a:schemeClr val="accent5"/>
            </a:solidFill>
            <a:prstDash val="solid"/>
            <a:miter/>
          </a:ln>
        </p:spPr>
        <p:txBody>
          <a:bodyPr rtlCol="0" anchor="ctr"/>
          <a:lstStyle/>
          <a:p>
            <a:pPr lvl="0"/>
            <a:endParaRPr lang="en-GB"/>
          </a:p>
        </p:txBody>
      </p:sp>
      <p:grpSp>
        <p:nvGrpSpPr>
          <p:cNvPr id="4" name="Groep 3">
            <a:extLst>
              <a:ext uri="{FF2B5EF4-FFF2-40B4-BE49-F238E27FC236}">
                <a16:creationId xmlns:a16="http://schemas.microsoft.com/office/drawing/2014/main" id="{3C10B208-C962-71FA-3F66-48D638135B57}"/>
              </a:ext>
            </a:extLst>
          </p:cNvPr>
          <p:cNvGrpSpPr/>
          <p:nvPr userDrawn="1"/>
        </p:nvGrpSpPr>
        <p:grpSpPr>
          <a:xfrm>
            <a:off x="10015200" y="5839200"/>
            <a:ext cx="1599388" cy="433809"/>
            <a:chOff x="3101010" y="1249096"/>
            <a:chExt cx="3978412" cy="1079079"/>
          </a:xfrm>
          <a:solidFill>
            <a:schemeClr val="bg1"/>
          </a:solidFill>
        </p:grpSpPr>
        <p:sp>
          <p:nvSpPr>
            <p:cNvPr id="6" name="Vrije vorm 5">
              <a:extLst>
                <a:ext uri="{FF2B5EF4-FFF2-40B4-BE49-F238E27FC236}">
                  <a16:creationId xmlns:a16="http://schemas.microsoft.com/office/drawing/2014/main" id="{AFC1F384-8961-9B38-BA90-DCEC048A44CE}"/>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06C8FD9E-23B7-7CFF-9D88-B0D9E059D20F}"/>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9EC895AC-DA79-4755-BF2A-C286C4F9B2F5}"/>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4551D740-6E1E-163E-1374-CE2458D25EF4}"/>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06484416-DE92-62CE-3517-18E4A228CF4C}"/>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2E7FE25B-FC42-45DF-D8C6-C0DAD6C03C49}"/>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E8EA427D-2BDF-3FE8-EB6D-8B3F8279AD32}"/>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66966419-5D2D-8EE8-731C-0BE64E985DA2}"/>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290666797"/>
      </p:ext>
    </p:extLst>
  </p:cSld>
  <p:clrMapOvr>
    <a:masterClrMapping/>
  </p:clrMapOvr>
  <p:extLst>
    <p:ext uri="{DCECCB84-F9BA-43D5-87BE-67443E8EF086}">
      <p15:sldGuideLst xmlns:p15="http://schemas.microsoft.com/office/powerpoint/2012/main">
        <p15:guide id="1" orient="horz" pos="2183" userDrawn="1">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eeld combi I">
    <p:bg>
      <p:bgPr>
        <a:solidFill>
          <a:schemeClr val="bg1"/>
        </a:solidFill>
        <a:effectLst/>
      </p:bgPr>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2C192FED-4A79-2B2A-1DE4-15A1763F7564}"/>
              </a:ext>
            </a:extLst>
          </p:cNvPr>
          <p:cNvSpPr/>
          <p:nvPr userDrawn="1"/>
        </p:nvSpPr>
        <p:spPr>
          <a:xfrm>
            <a:off x="6093810" y="584893"/>
            <a:ext cx="6106510" cy="6273107"/>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rgbClr val="00501C"/>
          </a:solidFill>
          <a:ln w="12700" cap="flat">
            <a:solidFill>
              <a:srgbClr val="00501C"/>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6" name="Freeform: Shape 5">
            <a:extLst>
              <a:ext uri="{FF2B5EF4-FFF2-40B4-BE49-F238E27FC236}">
                <a16:creationId xmlns:a16="http://schemas.microsoft.com/office/drawing/2014/main" id="{25776F8F-2CCE-8AA3-EBD8-E9D64243ED70}"/>
              </a:ext>
            </a:extLst>
          </p:cNvPr>
          <p:cNvSpPr/>
          <p:nvPr userDrawn="1"/>
        </p:nvSpPr>
        <p:spPr>
          <a:xfrm>
            <a:off x="5751"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chemeClr val="accent5"/>
          </a:solidFill>
          <a:ln w="12700" cap="flat">
            <a:solidFill>
              <a:schemeClr val="accent5"/>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9" name="Picture Placeholder 8">
            <a:extLst>
              <a:ext uri="{FF2B5EF4-FFF2-40B4-BE49-F238E27FC236}">
                <a16:creationId xmlns:a16="http://schemas.microsoft.com/office/drawing/2014/main" id="{24F755E1-3742-C717-F70D-63D4201C2887}"/>
              </a:ext>
            </a:extLst>
          </p:cNvPr>
          <p:cNvSpPr>
            <a:spLocks noGrp="1"/>
          </p:cNvSpPr>
          <p:nvPr>
            <p:ph type="pic" sz="quarter" idx="11"/>
          </p:nvPr>
        </p:nvSpPr>
        <p:spPr>
          <a:xfrm>
            <a:off x="6104320" y="0"/>
            <a:ext cx="6096000" cy="5705659"/>
          </a:xfrm>
          <a:custGeom>
            <a:avLst/>
            <a:gdLst>
              <a:gd name="connsiteX0" fmla="*/ 0 w 6096000"/>
              <a:gd name="connsiteY0" fmla="*/ 0 h 5705659"/>
              <a:gd name="connsiteX1" fmla="*/ 6096000 w 6096000"/>
              <a:gd name="connsiteY1" fmla="*/ 0 h 5705659"/>
              <a:gd name="connsiteX2" fmla="*/ 6096000 w 6096000"/>
              <a:gd name="connsiteY2" fmla="*/ 5705659 h 5705659"/>
              <a:gd name="connsiteX3" fmla="*/ 2934617 w 6096000"/>
              <a:gd name="connsiteY3" fmla="*/ 2549416 h 5705659"/>
              <a:gd name="connsiteX4" fmla="*/ 119700 w 6096000"/>
              <a:gd name="connsiteY4" fmla="*/ 724468 h 5705659"/>
              <a:gd name="connsiteX5" fmla="*/ 0 w 6096000"/>
              <a:gd name="connsiteY5" fmla="*/ 693739 h 570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5705659">
                <a:moveTo>
                  <a:pt x="0" y="0"/>
                </a:moveTo>
                <a:lnTo>
                  <a:pt x="6096000" y="0"/>
                </a:lnTo>
                <a:lnTo>
                  <a:pt x="6096000" y="5705659"/>
                </a:lnTo>
                <a:lnTo>
                  <a:pt x="2934617" y="2549416"/>
                </a:lnTo>
                <a:cubicBezTo>
                  <a:pt x="1797550" y="1414196"/>
                  <a:pt x="828266" y="922995"/>
                  <a:pt x="119700" y="724468"/>
                </a:cubicBezTo>
                <a:lnTo>
                  <a:pt x="0" y="693739"/>
                </a:lnTo>
                <a:close/>
              </a:path>
            </a:pathLst>
          </a:custGeom>
          <a:solidFill>
            <a:schemeClr val="bg1">
              <a:lumMod val="95000"/>
            </a:schemeClr>
          </a:solidFill>
        </p:spPr>
        <p:txBody>
          <a:bodyPr wrap="square" lIns="0" tIns="109728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dirty="0"/>
          </a:p>
        </p:txBody>
      </p:sp>
      <p:sp>
        <p:nvSpPr>
          <p:cNvPr id="10" name="Picture Placeholder 2">
            <a:extLst>
              <a:ext uri="{FF2B5EF4-FFF2-40B4-BE49-F238E27FC236}">
                <a16:creationId xmlns:a16="http://schemas.microsoft.com/office/drawing/2014/main" id="{BF674E6D-FFF3-0400-36F2-63C8D7905006}"/>
              </a:ext>
            </a:extLst>
          </p:cNvPr>
          <p:cNvSpPr>
            <a:spLocks noGrp="1"/>
          </p:cNvSpPr>
          <p:nvPr>
            <p:ph type="pic" sz="quarter" idx="10"/>
          </p:nvPr>
        </p:nvSpPr>
        <p:spPr>
          <a:xfrm>
            <a:off x="3561" y="585773"/>
            <a:ext cx="6096000" cy="6272226"/>
          </a:xfrm>
          <a:custGeom>
            <a:avLst/>
            <a:gdLst>
              <a:gd name="connsiteX0" fmla="*/ 5205643 w 6096000"/>
              <a:gd name="connsiteY0" fmla="*/ 1043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 name="connsiteX10" fmla="*/ 5205643 w 6096000"/>
              <a:gd name="connsiteY10" fmla="*/ 1043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272226">
                <a:moveTo>
                  <a:pt x="5205643" y="1043"/>
                </a:moveTo>
                <a:cubicBezTo>
                  <a:pt x="5410229" y="5180"/>
                  <a:pt x="5605325" y="21537"/>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ubicBezTo>
                  <a:pt x="5068197" y="-358"/>
                  <a:pt x="5137447" y="-336"/>
                  <a:pt x="5205643" y="1043"/>
                </a:cubicBezTo>
                <a:close/>
              </a:path>
            </a:pathLst>
          </a:custGeom>
          <a:solidFill>
            <a:schemeClr val="bg1">
              <a:lumMod val="95000"/>
            </a:schemeClr>
          </a:solidFill>
        </p:spPr>
        <p:txBody>
          <a:bodyPr wrap="square" tIns="109728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0" name="TextBox 19">
            <a:extLst>
              <a:ext uri="{FF2B5EF4-FFF2-40B4-BE49-F238E27FC236}">
                <a16:creationId xmlns:a16="http://schemas.microsoft.com/office/drawing/2014/main" id="{878DA228-6208-315D-1130-7602FC0E826E}"/>
              </a:ext>
            </a:extLst>
          </p:cNvPr>
          <p:cNvSpPr txBox="1"/>
          <p:nvPr/>
        </p:nvSpPr>
        <p:spPr>
          <a:xfrm>
            <a:off x="8443721" y="2865654"/>
            <a:ext cx="436880" cy="1185771"/>
          </a:xfrm>
          <a:prstGeom prst="rect">
            <a:avLst/>
          </a:prstGeom>
          <a:noFill/>
        </p:spPr>
        <p:txBody>
          <a:bodyPr wrap="none" lIns="0" tIns="0" rIns="0" bIns="0" rtlCol="0">
            <a:spAutoFit/>
          </a:bodyPr>
          <a:lstStyle/>
          <a:p>
            <a:pPr algn="l"/>
            <a:r>
              <a:rPr lang="en-GB" sz="14500" spc="0" baseline="0" dirty="0" err="1">
                <a:ln/>
                <a:solidFill>
                  <a:srgbClr val="6DBE45"/>
                </a:solidFill>
                <a:latin typeface="Arial"/>
                <a:cs typeface="Arial"/>
                <a:sym typeface="Arial"/>
                <a:rtl val="0"/>
              </a:rPr>
              <a:t> </a:t>
            </a:r>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2" name="Freeform: Shape 1">
            <a:extLst>
              <a:ext uri="{FF2B5EF4-FFF2-40B4-BE49-F238E27FC236}">
                <a16:creationId xmlns:a16="http://schemas.microsoft.com/office/drawing/2014/main" id="{CE8AC93A-8487-6606-A146-CBBB8D65913D}"/>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4" name="Freeform: Shape 3">
            <a:extLst>
              <a:ext uri="{FF2B5EF4-FFF2-40B4-BE49-F238E27FC236}">
                <a16:creationId xmlns:a16="http://schemas.microsoft.com/office/drawing/2014/main" id="{72774BA4-5BB5-F049-2C2F-8505A6E3D0EC}"/>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grpSp>
        <p:nvGrpSpPr>
          <p:cNvPr id="3" name="Groep 2">
            <a:extLst>
              <a:ext uri="{FF2B5EF4-FFF2-40B4-BE49-F238E27FC236}">
                <a16:creationId xmlns:a16="http://schemas.microsoft.com/office/drawing/2014/main" id="{51777BCD-98A7-CFF6-B016-44426407BC4D}"/>
              </a:ext>
            </a:extLst>
          </p:cNvPr>
          <p:cNvGrpSpPr/>
          <p:nvPr userDrawn="1"/>
        </p:nvGrpSpPr>
        <p:grpSpPr>
          <a:xfrm>
            <a:off x="10014482" y="5839298"/>
            <a:ext cx="1599388" cy="433809"/>
            <a:chOff x="3101010" y="1249096"/>
            <a:chExt cx="3978412" cy="1079079"/>
          </a:xfrm>
          <a:solidFill>
            <a:schemeClr val="bg1"/>
          </a:solidFill>
        </p:grpSpPr>
        <p:sp>
          <p:nvSpPr>
            <p:cNvPr id="7" name="Vrije vorm 6">
              <a:extLst>
                <a:ext uri="{FF2B5EF4-FFF2-40B4-BE49-F238E27FC236}">
                  <a16:creationId xmlns:a16="http://schemas.microsoft.com/office/drawing/2014/main" id="{99F1A110-79DE-4345-C5B8-B1B96E56F708}"/>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B12AB30F-6434-77B2-B3F6-85220FC29892}"/>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0D3E8387-3F39-59D1-C780-6AB23B44FA85}"/>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CFEAC7F8-6237-4B2E-93AF-8FE213B5DF6F}"/>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FF186923-722B-CFFF-E56D-BD2B6952F990}"/>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78BAED32-DEA1-53BA-37AA-2AC9970DDF1A}"/>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7F49FBB9-E210-A1CD-55C1-E5AD20B83967}"/>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AB4948C3-BBFF-43D9-7648-19DE247BCA9C}"/>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7" name="Subtitle 2">
            <a:extLst>
              <a:ext uri="{FF2B5EF4-FFF2-40B4-BE49-F238E27FC236}">
                <a16:creationId xmlns:a16="http://schemas.microsoft.com/office/drawing/2014/main" id="{B5E5664A-FDD4-7F06-5241-43C8675857F7}"/>
              </a:ext>
            </a:extLst>
          </p:cNvPr>
          <p:cNvSpPr>
            <a:spLocks noGrp="1"/>
          </p:cNvSpPr>
          <p:nvPr>
            <p:ph type="subTitle" idx="1" hasCustomPrompt="1"/>
          </p:nvPr>
        </p:nvSpPr>
        <p:spPr>
          <a:xfrm>
            <a:off x="6588049" y="4597046"/>
            <a:ext cx="5016576" cy="769441"/>
          </a:xfrm>
          <a:noFill/>
        </p:spPr>
        <p:txBody>
          <a:bodyPr wrap="square" anchor="b" anchorCtr="0">
            <a:spAutoFit/>
          </a:bodyPr>
          <a:lstStyle>
            <a:lvl1pPr marL="0" indent="0" algn="l">
              <a:buNone/>
              <a:defRPr sz="50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Titel</a:t>
            </a:r>
          </a:p>
        </p:txBody>
      </p:sp>
    </p:spTree>
    <p:extLst>
      <p:ext uri="{BB962C8B-B14F-4D97-AF65-F5344CB8AC3E}">
        <p14:creationId xmlns:p14="http://schemas.microsoft.com/office/powerpoint/2010/main" val="42604964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eeld combi II">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2" name="Freeform: Shape 1">
            <a:extLst>
              <a:ext uri="{FF2B5EF4-FFF2-40B4-BE49-F238E27FC236}">
                <a16:creationId xmlns:a16="http://schemas.microsoft.com/office/drawing/2014/main" id="{E3307B83-DBC3-7D62-5A15-A61F544B5BF7}"/>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3" name="Picture Placeholder 16">
            <a:extLst>
              <a:ext uri="{FF2B5EF4-FFF2-40B4-BE49-F238E27FC236}">
                <a16:creationId xmlns:a16="http://schemas.microsoft.com/office/drawing/2014/main" id="{0F3F83B8-F1DF-3F06-9CE1-76864D54D29C}"/>
              </a:ext>
            </a:extLst>
          </p:cNvPr>
          <p:cNvSpPr>
            <a:spLocks noGrp="1"/>
          </p:cNvSpPr>
          <p:nvPr>
            <p:ph type="pic" sz="quarter" idx="11" hasCustomPrompt="1"/>
          </p:nvPr>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0 w 4740914"/>
              <a:gd name="connsiteY0" fmla="*/ 685800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589444 w 5330358"/>
              <a:gd name="connsiteY0" fmla="*/ 6858000 h 6858000"/>
              <a:gd name="connsiteX1" fmla="*/ 594525 w 5330358"/>
              <a:gd name="connsiteY1" fmla="*/ 4813300 h 6858000"/>
              <a:gd name="connsiteX2" fmla="*/ 5325277 w 5330358"/>
              <a:gd name="connsiteY2" fmla="*/ 5190 h 6858000"/>
              <a:gd name="connsiteX3" fmla="*/ 5325277 w 5330358"/>
              <a:gd name="connsiteY3" fmla="*/ 0 h 6858000"/>
              <a:gd name="connsiteX4" fmla="*/ 5330358 w 5330358"/>
              <a:gd name="connsiteY4" fmla="*/ 0 h 6858000"/>
              <a:gd name="connsiteX5" fmla="*/ 5330358 w 5330358"/>
              <a:gd name="connsiteY5" fmla="*/ 6858000 h 6858000"/>
              <a:gd name="connsiteX6" fmla="*/ 589444 w 5330358"/>
              <a:gd name="connsiteY6" fmla="*/ 6858000 h 6858000"/>
              <a:gd name="connsiteX0" fmla="*/ 0 w 4740914"/>
              <a:gd name="connsiteY0" fmla="*/ 6858000 h 6858000"/>
              <a:gd name="connsiteX1" fmla="*/ 5081 w 4740914"/>
              <a:gd name="connsiteY1" fmla="*/ 4813300 h 6858000"/>
              <a:gd name="connsiteX2" fmla="*/ 4735833 w 4740914"/>
              <a:gd name="connsiteY2" fmla="*/ 5190 h 6858000"/>
              <a:gd name="connsiteX3" fmla="*/ 4735833 w 4740914"/>
              <a:gd name="connsiteY3" fmla="*/ 0 h 6858000"/>
              <a:gd name="connsiteX4" fmla="*/ 4740914 w 4740914"/>
              <a:gd name="connsiteY4" fmla="*/ 0 h 6858000"/>
              <a:gd name="connsiteX5" fmla="*/ 4740914 w 4740914"/>
              <a:gd name="connsiteY5" fmla="*/ 6858000 h 6858000"/>
              <a:gd name="connsiteX6" fmla="*/ 0 w 474091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0914" h="6858000">
                <a:moveTo>
                  <a:pt x="0" y="6858000"/>
                </a:moveTo>
                <a:cubicBezTo>
                  <a:pt x="1694" y="6176433"/>
                  <a:pt x="3387" y="5494867"/>
                  <a:pt x="5081" y="4813300"/>
                </a:cubicBezTo>
                <a:lnTo>
                  <a:pt x="4735833" y="5190"/>
                </a:lnTo>
                <a:lnTo>
                  <a:pt x="4735833" y="0"/>
                </a:lnTo>
                <a:lnTo>
                  <a:pt x="4740914" y="0"/>
                </a:lnTo>
                <a:lnTo>
                  <a:pt x="4740914" y="6858000"/>
                </a:lnTo>
                <a:lnTo>
                  <a:pt x="0" y="6858000"/>
                </a:lnTo>
                <a:close/>
              </a:path>
            </a:pathLst>
          </a:custGeom>
          <a:solidFill>
            <a:schemeClr val="bg1">
              <a:lumMod val="95000"/>
            </a:schemeClr>
          </a:solidFill>
        </p:spPr>
        <p:txBody>
          <a:bodyPr wrap="square" bIns="731520" anchor="b" anchorCtr="0">
            <a:noAutofit/>
          </a:bodyPr>
          <a:lstStyle>
            <a:lvl1pPr algn="ctr">
              <a:defRPr sz="1800"/>
            </a:lvl1pPr>
          </a:lstStyle>
          <a:p>
            <a:r>
              <a:rPr lang="en-GB" dirty="0" err="1"/>
              <a:t>Beeld</a:t>
            </a:r>
            <a:endParaRPr lang="en-GB" dirty="0"/>
          </a:p>
        </p:txBody>
      </p:sp>
      <p:sp>
        <p:nvSpPr>
          <p:cNvPr id="5" name="Freeform: Shape 4">
            <a:extLst>
              <a:ext uri="{FF2B5EF4-FFF2-40B4-BE49-F238E27FC236}">
                <a16:creationId xmlns:a16="http://schemas.microsoft.com/office/drawing/2014/main" id="{4446B1C0-15D9-F2CA-72FD-FAAE18B0F47D}"/>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chemeClr val="accent5"/>
          </a:solidFill>
          <a:ln w="6208" cap="flat">
            <a:solidFill>
              <a:schemeClr val="accent5"/>
            </a:solidFill>
            <a:prstDash val="solid"/>
            <a:miter/>
          </a:ln>
        </p:spPr>
        <p:txBody>
          <a:bodyPr rtlCol="0" anchor="ctr"/>
          <a:lstStyle/>
          <a:p>
            <a:pPr lvl="0"/>
            <a:endParaRPr lang="en-GB"/>
          </a:p>
        </p:txBody>
      </p:sp>
      <p:sp>
        <p:nvSpPr>
          <p:cNvPr id="6" name="Freeform: Shape 5">
            <a:extLst>
              <a:ext uri="{FF2B5EF4-FFF2-40B4-BE49-F238E27FC236}">
                <a16:creationId xmlns:a16="http://schemas.microsoft.com/office/drawing/2014/main" id="{9ABB4701-D74D-5E59-D292-17E5679479BF}"/>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00501C"/>
          </a:solidFill>
          <a:ln w="12700" cap="flat">
            <a:solidFill>
              <a:srgbClr val="00501C"/>
            </a:solidFill>
            <a:prstDash val="solid"/>
            <a:miter/>
          </a:ln>
        </p:spPr>
        <p:txBody>
          <a:bodyPr rtlCol="0" anchor="ctr"/>
          <a:lstStyle/>
          <a:p>
            <a:pPr lvl="0"/>
            <a:endParaRPr lang="en-GB"/>
          </a:p>
        </p:txBody>
      </p:sp>
      <p:sp>
        <p:nvSpPr>
          <p:cNvPr id="7" name="Freeform: Shape 6">
            <a:extLst>
              <a:ext uri="{FF2B5EF4-FFF2-40B4-BE49-F238E27FC236}">
                <a16:creationId xmlns:a16="http://schemas.microsoft.com/office/drawing/2014/main" id="{D06DBBCB-A858-8C7A-9509-4DCFC2A4B3AF}"/>
              </a:ext>
            </a:extLst>
          </p:cNvPr>
          <p:cNvSpPr/>
          <p:nvPr userDrawn="1"/>
        </p:nvSpPr>
        <p:spPr>
          <a:xfrm>
            <a:off x="5414619"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4"/>
          </a:solidFill>
          <a:ln w="19050"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8" name="Picture Placeholder 14">
            <a:extLst>
              <a:ext uri="{FF2B5EF4-FFF2-40B4-BE49-F238E27FC236}">
                <a16:creationId xmlns:a16="http://schemas.microsoft.com/office/drawing/2014/main" id="{12BD120E-42F7-F9A4-6792-01EA17A07D96}"/>
              </a:ext>
            </a:extLst>
          </p:cNvPr>
          <p:cNvSpPr>
            <a:spLocks noGrp="1"/>
          </p:cNvSpPr>
          <p:nvPr>
            <p:ph type="pic" sz="quarter" idx="10" hasCustomPrompt="1"/>
          </p:nvPr>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4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4"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bg1">
              <a:lumMod val="95000"/>
            </a:schemeClr>
          </a:solidFill>
        </p:spPr>
        <p:txBody>
          <a:bodyPr wrap="square" tIns="1097280" anchor="t" anchorCtr="0">
            <a:noAutofit/>
          </a:bodyPr>
          <a:lstStyle>
            <a:lvl1pPr algn="ctr">
              <a:defRPr sz="1800"/>
            </a:lvl1pPr>
          </a:lstStyle>
          <a:p>
            <a:r>
              <a:rPr lang="en-GB" dirty="0" err="1"/>
              <a:t>Beeld</a:t>
            </a:r>
            <a:endParaRPr lang="en-GB" dirty="0"/>
          </a:p>
        </p:txBody>
      </p:sp>
    </p:spTree>
    <p:extLst>
      <p:ext uri="{BB962C8B-B14F-4D97-AF65-F5344CB8AC3E}">
        <p14:creationId xmlns:p14="http://schemas.microsoft.com/office/powerpoint/2010/main" val="30788800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ussenslide I">
    <p:bg>
      <p:bgPr>
        <a:solidFill>
          <a:schemeClr val="accent4"/>
        </a:solidFill>
        <a:effectLst/>
      </p:bgPr>
    </p:bg>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52194ED2-1E66-F63A-7D0B-3BC47230579C}"/>
              </a:ext>
            </a:extLst>
          </p:cNvPr>
          <p:cNvSpPr/>
          <p:nvPr userDrawn="1"/>
        </p:nvSpPr>
        <p:spPr>
          <a:xfrm>
            <a:off x="6096000"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rgbClr val="00501C"/>
          </a:solidFill>
          <a:ln w="12700" cap="flat">
            <a:solidFill>
              <a:srgbClr val="00501C"/>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11" name="Freeform: Shape 10">
            <a:extLst>
              <a:ext uri="{FF2B5EF4-FFF2-40B4-BE49-F238E27FC236}">
                <a16:creationId xmlns:a16="http://schemas.microsoft.com/office/drawing/2014/main" id="{CE230D00-821E-A97C-3C64-78835ACBF57E}"/>
              </a:ext>
            </a:extLst>
          </p:cNvPr>
          <p:cNvSpPr/>
          <p:nvPr userDrawn="1"/>
        </p:nvSpPr>
        <p:spPr>
          <a:xfrm>
            <a:off x="0" y="585773"/>
            <a:ext cx="6096000" cy="6272226"/>
          </a:xfrm>
          <a:custGeom>
            <a:avLst/>
            <a:gdLst>
              <a:gd name="connsiteX0" fmla="*/ 4998000 w 6096000"/>
              <a:gd name="connsiteY0" fmla="*/ 1045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272226">
                <a:moveTo>
                  <a:pt x="4998000" y="1045"/>
                </a:moveTo>
                <a:cubicBezTo>
                  <a:pt x="5278788" y="-4567"/>
                  <a:pt x="5544424" y="12614"/>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lose/>
              </a:path>
            </a:pathLst>
          </a:cu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3" name="Freeform: Shape 12">
            <a:extLst>
              <a:ext uri="{FF2B5EF4-FFF2-40B4-BE49-F238E27FC236}">
                <a16:creationId xmlns:a16="http://schemas.microsoft.com/office/drawing/2014/main" id="{0CAF0B02-B07D-6CBB-91CE-6DF133882610}"/>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rgbClr val="00501C"/>
          </a:solidFill>
          <a:ln w="12700" cap="flat">
            <a:solidFill>
              <a:srgbClr val="00501C"/>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4" name="Freeform: Shape 3">
            <a:extLst>
              <a:ext uri="{FF2B5EF4-FFF2-40B4-BE49-F238E27FC236}">
                <a16:creationId xmlns:a16="http://schemas.microsoft.com/office/drawing/2014/main" id="{F9643337-EDA8-DCC2-5C96-060ED8196F27}"/>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E2391183-0B13-93D9-5DC9-1F76830F77F4}"/>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2" name="Title 1">
            <a:extLst>
              <a:ext uri="{FF2B5EF4-FFF2-40B4-BE49-F238E27FC236}">
                <a16:creationId xmlns:a16="http://schemas.microsoft.com/office/drawing/2014/main" id="{C2AF113C-2F48-BD5F-C395-C449D5F33877}"/>
              </a:ext>
            </a:extLst>
          </p:cNvPr>
          <p:cNvSpPr>
            <a:spLocks noGrp="1"/>
          </p:cNvSpPr>
          <p:nvPr>
            <p:ph type="ctrTitle" hasCustomPrompt="1"/>
          </p:nvPr>
        </p:nvSpPr>
        <p:spPr>
          <a:xfrm>
            <a:off x="1137600" y="4218920"/>
            <a:ext cx="6840000" cy="900000"/>
          </a:xfrm>
          <a:noFill/>
        </p:spPr>
        <p:txBody>
          <a:bodyPr wrap="square" anchor="b">
            <a:spAutoFit/>
          </a:bodyPr>
          <a:lstStyle>
            <a:lvl1pPr algn="l">
              <a:lnSpc>
                <a:spcPct val="80000"/>
              </a:lnSpc>
              <a:defRPr sz="7000" b="1">
                <a:solidFill>
                  <a:schemeClr val="bg1"/>
                </a:solidFill>
                <a:latin typeface="+mj-lt"/>
              </a:defRPr>
            </a:lvl1pPr>
          </a:lstStyle>
          <a:p>
            <a:r>
              <a:rPr lang="nl-NL" noProof="0" dirty="0"/>
              <a:t>Tekst</a:t>
            </a:r>
          </a:p>
        </p:txBody>
      </p:sp>
      <p:grpSp>
        <p:nvGrpSpPr>
          <p:cNvPr id="16" name="Group 15">
            <a:extLst>
              <a:ext uri="{FF2B5EF4-FFF2-40B4-BE49-F238E27FC236}">
                <a16:creationId xmlns:a16="http://schemas.microsoft.com/office/drawing/2014/main" id="{C0E06EFE-A610-BA6D-483F-746DFC2BA8BA}"/>
              </a:ext>
            </a:extLst>
          </p:cNvPr>
          <p:cNvGrpSpPr/>
          <p:nvPr userDrawn="1"/>
        </p:nvGrpSpPr>
        <p:grpSpPr>
          <a:xfrm>
            <a:off x="2335919" y="-761999"/>
            <a:ext cx="7122406" cy="608276"/>
            <a:chOff x="2335919" y="-761999"/>
            <a:chExt cx="7122406" cy="608276"/>
          </a:xfrm>
        </p:grpSpPr>
        <p:sp>
          <p:nvSpPr>
            <p:cNvPr id="17" name="Rectangle 16">
              <a:extLst>
                <a:ext uri="{FF2B5EF4-FFF2-40B4-BE49-F238E27FC236}">
                  <a16:creationId xmlns:a16="http://schemas.microsoft.com/office/drawing/2014/main" id="{AD8974B7-DF5D-E351-AA6A-652426C70EF6}"/>
                </a:ext>
              </a:extLst>
            </p:cNvPr>
            <p:cNvSpPr/>
            <p:nvPr userDrawn="1"/>
          </p:nvSpPr>
          <p:spPr>
            <a:xfrm>
              <a:off x="2733675" y="-761999"/>
              <a:ext cx="6724650" cy="608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20" name="TextBox 19">
              <a:extLst>
                <a:ext uri="{FF2B5EF4-FFF2-40B4-BE49-F238E27FC236}">
                  <a16:creationId xmlns:a16="http://schemas.microsoft.com/office/drawing/2014/main" id="{0E88B590-2DC6-E424-4C9A-67F70CE0DCCB}"/>
                </a:ext>
              </a:extLst>
            </p:cNvPr>
            <p:cNvSpPr txBox="1"/>
            <p:nvPr userDrawn="1"/>
          </p:nvSpPr>
          <p:spPr>
            <a:xfrm>
              <a:off x="2335919" y="-581676"/>
              <a:ext cx="6337430" cy="261610"/>
            </a:xfrm>
            <a:prstGeom prst="rect">
              <a:avLst/>
            </a:prstGeom>
            <a:noFill/>
          </p:spPr>
          <p:txBody>
            <a:bodyPr wrap="square" rtlCol="0">
              <a:spAutoFit/>
            </a:bodyPr>
            <a:lstStyle/>
            <a:p>
              <a:pPr algn="ctr"/>
              <a:r>
                <a:rPr lang="nl-NL" sz="1100" noProof="1">
                  <a:solidFill>
                    <a:schemeClr val="tx1"/>
                  </a:solidFill>
                </a:rPr>
                <a:t>1 var. kleurvlak (accentkleur) via wijzigen achtergrond / kies alleen deze accentkleuren</a:t>
              </a:r>
            </a:p>
          </p:txBody>
        </p:sp>
        <p:grpSp>
          <p:nvGrpSpPr>
            <p:cNvPr id="21" name="Group 20">
              <a:extLst>
                <a:ext uri="{FF2B5EF4-FFF2-40B4-BE49-F238E27FC236}">
                  <a16:creationId xmlns:a16="http://schemas.microsoft.com/office/drawing/2014/main" id="{2C18DEE8-6CD6-6589-168C-9BAFD1A93A58}"/>
                </a:ext>
              </a:extLst>
            </p:cNvPr>
            <p:cNvGrpSpPr/>
            <p:nvPr userDrawn="1"/>
          </p:nvGrpSpPr>
          <p:grpSpPr>
            <a:xfrm>
              <a:off x="8550833" y="-543417"/>
              <a:ext cx="743864" cy="176763"/>
              <a:chOff x="4205004" y="-519709"/>
              <a:chExt cx="1108072" cy="263308"/>
            </a:xfrm>
          </p:grpSpPr>
          <p:sp>
            <p:nvSpPr>
              <p:cNvPr id="23" name="Rectangle 22">
                <a:extLst>
                  <a:ext uri="{FF2B5EF4-FFF2-40B4-BE49-F238E27FC236}">
                    <a16:creationId xmlns:a16="http://schemas.microsoft.com/office/drawing/2014/main" id="{E22D231A-8D12-29DD-E039-2CFF028FF8C8}"/>
                  </a:ext>
                </a:extLst>
              </p:cNvPr>
              <p:cNvSpPr/>
              <p:nvPr userDrawn="1"/>
            </p:nvSpPr>
            <p:spPr>
              <a:xfrm>
                <a:off x="4205004" y="-519709"/>
                <a:ext cx="276225" cy="26330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24" name="Rectangle 23">
                <a:extLst>
                  <a:ext uri="{FF2B5EF4-FFF2-40B4-BE49-F238E27FC236}">
                    <a16:creationId xmlns:a16="http://schemas.microsoft.com/office/drawing/2014/main" id="{AD916594-0ECB-32C9-CF69-837A00B0A3E9}"/>
                  </a:ext>
                </a:extLst>
              </p:cNvPr>
              <p:cNvSpPr/>
              <p:nvPr userDrawn="1"/>
            </p:nvSpPr>
            <p:spPr>
              <a:xfrm>
                <a:off x="5036851" y="-519709"/>
                <a:ext cx="276225" cy="263308"/>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25" name="Rectangle 24">
                <a:extLst>
                  <a:ext uri="{FF2B5EF4-FFF2-40B4-BE49-F238E27FC236}">
                    <a16:creationId xmlns:a16="http://schemas.microsoft.com/office/drawing/2014/main" id="{D27A1A8C-95D2-158A-175B-CAACBC090CBF}"/>
                  </a:ext>
                </a:extLst>
              </p:cNvPr>
              <p:cNvSpPr/>
              <p:nvPr userDrawn="1"/>
            </p:nvSpPr>
            <p:spPr>
              <a:xfrm>
                <a:off x="4631249" y="-519709"/>
                <a:ext cx="276225" cy="263308"/>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cxnSp>
          <p:nvCxnSpPr>
            <p:cNvPr id="22" name="Straight Connector 21">
              <a:extLst>
                <a:ext uri="{FF2B5EF4-FFF2-40B4-BE49-F238E27FC236}">
                  <a16:creationId xmlns:a16="http://schemas.microsoft.com/office/drawing/2014/main" id="{5C80E51E-E940-C170-98D0-BB6CA635E4A3}"/>
                </a:ext>
              </a:extLst>
            </p:cNvPr>
            <p:cNvCxnSpPr>
              <a:cxnSpLocks/>
            </p:cNvCxnSpPr>
            <p:nvPr userDrawn="1"/>
          </p:nvCxnSpPr>
          <p:spPr>
            <a:xfrm>
              <a:off x="2657475" y="-255323"/>
              <a:ext cx="67625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ep 4">
            <a:extLst>
              <a:ext uri="{FF2B5EF4-FFF2-40B4-BE49-F238E27FC236}">
                <a16:creationId xmlns:a16="http://schemas.microsoft.com/office/drawing/2014/main" id="{634E4C8B-A135-0829-2109-6ED86928FCC6}"/>
              </a:ext>
            </a:extLst>
          </p:cNvPr>
          <p:cNvGrpSpPr/>
          <p:nvPr userDrawn="1"/>
        </p:nvGrpSpPr>
        <p:grpSpPr>
          <a:xfrm>
            <a:off x="10014482" y="5839298"/>
            <a:ext cx="1599388" cy="433809"/>
            <a:chOff x="3101010" y="1249096"/>
            <a:chExt cx="3978412" cy="1079079"/>
          </a:xfrm>
          <a:solidFill>
            <a:schemeClr val="bg1"/>
          </a:solidFill>
        </p:grpSpPr>
        <p:sp>
          <p:nvSpPr>
            <p:cNvPr id="7" name="Vrije vorm 6">
              <a:extLst>
                <a:ext uri="{FF2B5EF4-FFF2-40B4-BE49-F238E27FC236}">
                  <a16:creationId xmlns:a16="http://schemas.microsoft.com/office/drawing/2014/main" id="{764E17BB-0466-62C1-AA12-4373A279DB70}"/>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662147A3-81AE-7CDA-06DF-FF1E8DF73402}"/>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70AC099C-7523-D2CF-3795-18329AD08DA7}"/>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B9FD0D2E-56C9-CF2A-8170-D87C44F823C8}"/>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459E4B52-8C3D-4338-B9F8-FD503BFDB89D}"/>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A6D01950-9A65-3957-375E-DF7560CF4701}"/>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59E4B37D-54B5-22BE-7E03-31D3562EBF36}"/>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14D952A8-2334-0AD0-33F3-1E0F3DBD04F4}"/>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8458098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eeld combi III">
    <p:bg>
      <p:bgPr>
        <a:solidFill>
          <a:schemeClr val="bg1"/>
        </a:soli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4" name="Freeform: Shape 3">
            <a:extLst>
              <a:ext uri="{FF2B5EF4-FFF2-40B4-BE49-F238E27FC236}">
                <a16:creationId xmlns:a16="http://schemas.microsoft.com/office/drawing/2014/main" id="{C47570DD-D844-02A3-1859-571774A8A2AE}"/>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DD34A338-3EE4-C4B2-6F59-B8A8C0C123B2}"/>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3" name="Picture Placeholder 2">
            <a:extLst>
              <a:ext uri="{FF2B5EF4-FFF2-40B4-BE49-F238E27FC236}">
                <a16:creationId xmlns:a16="http://schemas.microsoft.com/office/drawing/2014/main" id="{107E3771-29F0-2126-520E-7460D06590A7}"/>
              </a:ext>
            </a:extLst>
          </p:cNvPr>
          <p:cNvSpPr>
            <a:spLocks noGrp="1"/>
          </p:cNvSpPr>
          <p:nvPr>
            <p:ph type="pic" sz="quarter" idx="10" hasCustomPrompt="1"/>
          </p:nvPr>
        </p:nvSpPr>
        <p:spPr>
          <a:xfrm>
            <a:off x="0" y="546736"/>
            <a:ext cx="8858789" cy="6311263"/>
          </a:xfrm>
          <a:custGeom>
            <a:avLst/>
            <a:gdLst>
              <a:gd name="connsiteX0" fmla="*/ 0 w 8858789"/>
              <a:gd name="connsiteY0" fmla="*/ 0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9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0 w 8858789"/>
              <a:gd name="connsiteY0" fmla="*/ 4342128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9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98900 w 8957689"/>
              <a:gd name="connsiteY0" fmla="*/ 3795391 h 6311263"/>
              <a:gd name="connsiteX1" fmla="*/ 98901 w 8957689"/>
              <a:gd name="connsiteY1" fmla="*/ 3780248 h 6311263"/>
              <a:gd name="connsiteX2" fmla="*/ 1434066 w 8957689"/>
              <a:gd name="connsiteY2" fmla="*/ 1712382 h 6311263"/>
              <a:gd name="connsiteX3" fmla="*/ 5386652 w 8957689"/>
              <a:gd name="connsiteY3" fmla="*/ 1066 h 6311263"/>
              <a:gd name="connsiteX4" fmla="*/ 6178419 w 8957689"/>
              <a:gd name="connsiteY4" fmla="*/ 48251 h 6311263"/>
              <a:gd name="connsiteX5" fmla="*/ 8925370 w 8957689"/>
              <a:gd name="connsiteY5" fmla="*/ 1494767 h 6311263"/>
              <a:gd name="connsiteX6" fmla="*/ 8957689 w 8957689"/>
              <a:gd name="connsiteY6" fmla="*/ 1525097 h 6311263"/>
              <a:gd name="connsiteX7" fmla="*/ 8957689 w 8957689"/>
              <a:gd name="connsiteY7" fmla="*/ 1538249 h 6311263"/>
              <a:gd name="connsiteX8" fmla="*/ 4208438 w 8957689"/>
              <a:gd name="connsiteY8" fmla="*/ 6311263 h 6311263"/>
              <a:gd name="connsiteX9" fmla="*/ 98901 w 8957689"/>
              <a:gd name="connsiteY9" fmla="*/ 6311263 h 6311263"/>
              <a:gd name="connsiteX10" fmla="*/ 98901 w 8957689"/>
              <a:gd name="connsiteY10" fmla="*/ 3795389 h 6311263"/>
              <a:gd name="connsiteX11" fmla="*/ 98900 w 8957689"/>
              <a:gd name="connsiteY11" fmla="*/ 3795391 h 6311263"/>
              <a:gd name="connsiteX0" fmla="*/ 0 w 8858789"/>
              <a:gd name="connsiteY0" fmla="*/ 3795391 h 6311263"/>
              <a:gd name="connsiteX1" fmla="*/ 1 w 8858789"/>
              <a:gd name="connsiteY1" fmla="*/ 3780248 h 6311263"/>
              <a:gd name="connsiteX2" fmla="*/ 1335166 w 8858789"/>
              <a:gd name="connsiteY2" fmla="*/ 1712382 h 6311263"/>
              <a:gd name="connsiteX3" fmla="*/ 5287752 w 8858789"/>
              <a:gd name="connsiteY3" fmla="*/ 1066 h 6311263"/>
              <a:gd name="connsiteX4" fmla="*/ 6079519 w 8858789"/>
              <a:gd name="connsiteY4" fmla="*/ 48251 h 6311263"/>
              <a:gd name="connsiteX5" fmla="*/ 8826470 w 8858789"/>
              <a:gd name="connsiteY5" fmla="*/ 1494767 h 6311263"/>
              <a:gd name="connsiteX6" fmla="*/ 8858789 w 8858789"/>
              <a:gd name="connsiteY6" fmla="*/ 1525097 h 6311263"/>
              <a:gd name="connsiteX7" fmla="*/ 8858789 w 8858789"/>
              <a:gd name="connsiteY7" fmla="*/ 1538249 h 6311263"/>
              <a:gd name="connsiteX8" fmla="*/ 4109538 w 8858789"/>
              <a:gd name="connsiteY8" fmla="*/ 6311263 h 6311263"/>
              <a:gd name="connsiteX9" fmla="*/ 1 w 8858789"/>
              <a:gd name="connsiteY9" fmla="*/ 6311263 h 6311263"/>
              <a:gd name="connsiteX10" fmla="*/ 1 w 8858789"/>
              <a:gd name="connsiteY10" fmla="*/ 3795389 h 6311263"/>
              <a:gd name="connsiteX11" fmla="*/ 0 w 8858789"/>
              <a:gd name="connsiteY11" fmla="*/ 3795391 h 63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789" h="6311263">
                <a:moveTo>
                  <a:pt x="0" y="3795391"/>
                </a:moveTo>
                <a:cubicBezTo>
                  <a:pt x="0" y="3790343"/>
                  <a:pt x="1" y="3785296"/>
                  <a:pt x="1" y="3780248"/>
                </a:cubicBezTo>
                <a:cubicBezTo>
                  <a:pt x="267925" y="3068601"/>
                  <a:pt x="696857" y="2353120"/>
                  <a:pt x="1335166" y="1712382"/>
                </a:cubicBezTo>
                <a:cubicBezTo>
                  <a:pt x="2563733" y="479137"/>
                  <a:pt x="4068321" y="25656"/>
                  <a:pt x="5287752" y="1066"/>
                </a:cubicBezTo>
                <a:cubicBezTo>
                  <a:pt x="5569159" y="-4609"/>
                  <a:pt x="5835380" y="12558"/>
                  <a:pt x="6079519" y="48251"/>
                </a:cubicBezTo>
                <a:cubicBezTo>
                  <a:pt x="6707087" y="137127"/>
                  <a:pt x="7661107" y="472509"/>
                  <a:pt x="8826470" y="1494767"/>
                </a:cubicBezTo>
                <a:lnTo>
                  <a:pt x="8858789" y="1525097"/>
                </a:lnTo>
                <a:lnTo>
                  <a:pt x="8858789" y="1538249"/>
                </a:lnTo>
                <a:lnTo>
                  <a:pt x="4109538" y="6311263"/>
                </a:lnTo>
                <a:lnTo>
                  <a:pt x="1" y="6311263"/>
                </a:lnTo>
                <a:lnTo>
                  <a:pt x="1" y="3795389"/>
                </a:lnTo>
                <a:cubicBezTo>
                  <a:pt x="1" y="3795390"/>
                  <a:pt x="0" y="3795390"/>
                  <a:pt x="0" y="3795391"/>
                </a:cubicBezTo>
                <a:close/>
              </a:path>
            </a:pathLst>
          </a:custGeom>
          <a:solidFill>
            <a:schemeClr val="bg1">
              <a:lumMod val="95000"/>
            </a:schemeClr>
          </a:solidFill>
        </p:spPr>
        <p:txBody>
          <a:bodyPr wrap="square" lIns="1280160" tIns="0" bIns="2926080" anchor="ctr">
            <a:noAutofit/>
          </a:bodyPr>
          <a:lstStyle>
            <a:lvl1pPr algn="ctr">
              <a:defRPr sz="1800"/>
            </a:lvl1pPr>
          </a:lstStyle>
          <a:p>
            <a:r>
              <a:rPr lang="en-GB" dirty="0" err="1"/>
              <a:t>Beeld</a:t>
            </a:r>
            <a:endParaRPr lang="en-GB" dirty="0"/>
          </a:p>
        </p:txBody>
      </p:sp>
      <p:sp>
        <p:nvSpPr>
          <p:cNvPr id="8" name="Freeform: Shape 7">
            <a:extLst>
              <a:ext uri="{FF2B5EF4-FFF2-40B4-BE49-F238E27FC236}">
                <a16:creationId xmlns:a16="http://schemas.microsoft.com/office/drawing/2014/main" id="{3F570637-18F0-FBCE-15DF-28316C597581}"/>
              </a:ext>
            </a:extLst>
          </p:cNvPr>
          <p:cNvSpPr/>
          <p:nvPr userDrawn="1"/>
        </p:nvSpPr>
        <p:spPr>
          <a:xfrm>
            <a:off x="4109538" y="2081881"/>
            <a:ext cx="8082463" cy="4776119"/>
          </a:xfrm>
          <a:custGeom>
            <a:avLst/>
            <a:gdLst>
              <a:gd name="connsiteX0" fmla="*/ 4752340 w 8082463"/>
              <a:gd name="connsiteY0" fmla="*/ 0 h 4776119"/>
              <a:gd name="connsiteX1" fmla="*/ 4808220 w 8082463"/>
              <a:gd name="connsiteY1" fmla="*/ 49784 h 4776119"/>
              <a:gd name="connsiteX2" fmla="*/ 4812030 w 8082463"/>
              <a:gd name="connsiteY2" fmla="*/ 52976 h 4776119"/>
              <a:gd name="connsiteX3" fmla="*/ 4864734 w 8082463"/>
              <a:gd name="connsiteY3" fmla="*/ 100845 h 4776119"/>
              <a:gd name="connsiteX4" fmla="*/ 4872990 w 8082463"/>
              <a:gd name="connsiteY4" fmla="*/ 108505 h 4776119"/>
              <a:gd name="connsiteX5" fmla="*/ 4922520 w 8082463"/>
              <a:gd name="connsiteY5" fmla="*/ 153821 h 4776119"/>
              <a:gd name="connsiteX6" fmla="*/ 4935855 w 8082463"/>
              <a:gd name="connsiteY6" fmla="*/ 165948 h 4776119"/>
              <a:gd name="connsiteX7" fmla="*/ 4980940 w 8082463"/>
              <a:gd name="connsiteY7" fmla="*/ 208712 h 4776119"/>
              <a:gd name="connsiteX8" fmla="*/ 4999356 w 8082463"/>
              <a:gd name="connsiteY8" fmla="*/ 225945 h 4776119"/>
              <a:gd name="connsiteX9" fmla="*/ 5039995 w 8082463"/>
              <a:gd name="connsiteY9" fmla="*/ 264879 h 4776119"/>
              <a:gd name="connsiteX10" fmla="*/ 5065395 w 8082463"/>
              <a:gd name="connsiteY10" fmla="*/ 289134 h 4776119"/>
              <a:gd name="connsiteX11" fmla="*/ 5100956 w 8082463"/>
              <a:gd name="connsiteY11" fmla="*/ 322960 h 4776119"/>
              <a:gd name="connsiteX12" fmla="*/ 5135880 w 8082463"/>
              <a:gd name="connsiteY12" fmla="*/ 356789 h 4776119"/>
              <a:gd name="connsiteX13" fmla="*/ 5162550 w 8082463"/>
              <a:gd name="connsiteY13" fmla="*/ 382958 h 4776119"/>
              <a:gd name="connsiteX14" fmla="*/ 5224780 w 8082463"/>
              <a:gd name="connsiteY14" fmla="*/ 444869 h 4776119"/>
              <a:gd name="connsiteX15" fmla="*/ 8082463 w 8082463"/>
              <a:gd name="connsiteY15" fmla="*/ 3317235 h 4776119"/>
              <a:gd name="connsiteX16" fmla="*/ 8082463 w 8082463"/>
              <a:gd name="connsiteY16" fmla="*/ 4776119 h 4776119"/>
              <a:gd name="connsiteX17" fmla="*/ 0 w 8082463"/>
              <a:gd name="connsiteY17" fmla="*/ 4776119 h 477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82463" h="4776119">
                <a:moveTo>
                  <a:pt x="4752340" y="0"/>
                </a:moveTo>
                <a:cubicBezTo>
                  <a:pt x="4770756" y="16595"/>
                  <a:pt x="4789805" y="33190"/>
                  <a:pt x="4808220" y="49784"/>
                </a:cubicBezTo>
                <a:cubicBezTo>
                  <a:pt x="4809490" y="51061"/>
                  <a:pt x="4810760" y="51700"/>
                  <a:pt x="4812030" y="52976"/>
                </a:cubicBezTo>
                <a:cubicBezTo>
                  <a:pt x="4829175" y="68933"/>
                  <a:pt x="4846956" y="84889"/>
                  <a:pt x="4864734" y="100845"/>
                </a:cubicBezTo>
                <a:cubicBezTo>
                  <a:pt x="4867910" y="103398"/>
                  <a:pt x="4870450" y="105951"/>
                  <a:pt x="4872990" y="108505"/>
                </a:cubicBezTo>
                <a:cubicBezTo>
                  <a:pt x="4889500" y="123185"/>
                  <a:pt x="4906010" y="138503"/>
                  <a:pt x="4922520" y="153821"/>
                </a:cubicBezTo>
                <a:cubicBezTo>
                  <a:pt x="4926965" y="157651"/>
                  <a:pt x="4931410" y="162119"/>
                  <a:pt x="4935855" y="165948"/>
                </a:cubicBezTo>
                <a:cubicBezTo>
                  <a:pt x="4950460" y="179990"/>
                  <a:pt x="4965700" y="194670"/>
                  <a:pt x="4980940" y="208712"/>
                </a:cubicBezTo>
                <a:cubicBezTo>
                  <a:pt x="4987290" y="214457"/>
                  <a:pt x="4993006" y="220201"/>
                  <a:pt x="4999356" y="225945"/>
                </a:cubicBezTo>
                <a:cubicBezTo>
                  <a:pt x="5012690" y="238710"/>
                  <a:pt x="5026025" y="251476"/>
                  <a:pt x="5039995" y="264879"/>
                </a:cubicBezTo>
                <a:cubicBezTo>
                  <a:pt x="5048886" y="273176"/>
                  <a:pt x="5057140" y="280836"/>
                  <a:pt x="5065395" y="289134"/>
                </a:cubicBezTo>
                <a:cubicBezTo>
                  <a:pt x="5077460" y="299984"/>
                  <a:pt x="5088890" y="311473"/>
                  <a:pt x="5100956" y="322960"/>
                </a:cubicBezTo>
                <a:cubicBezTo>
                  <a:pt x="5113020" y="333812"/>
                  <a:pt x="5124450" y="345301"/>
                  <a:pt x="5135880" y="356789"/>
                </a:cubicBezTo>
                <a:cubicBezTo>
                  <a:pt x="5144770" y="365724"/>
                  <a:pt x="5153660" y="374022"/>
                  <a:pt x="5162550" y="382958"/>
                </a:cubicBezTo>
                <a:cubicBezTo>
                  <a:pt x="5182871" y="403382"/>
                  <a:pt x="5203826" y="423807"/>
                  <a:pt x="5224780" y="444869"/>
                </a:cubicBezTo>
                <a:lnTo>
                  <a:pt x="8082463" y="3317235"/>
                </a:lnTo>
                <a:lnTo>
                  <a:pt x="8082463" y="4776119"/>
                </a:lnTo>
                <a:lnTo>
                  <a:pt x="0" y="4776119"/>
                </a:lnTo>
                <a:close/>
              </a:path>
            </a:pathLst>
          </a:custGeom>
          <a:solidFill>
            <a:srgbClr val="00501C"/>
          </a:solidFill>
          <a:ln w="19050" cap="flat">
            <a:solidFill>
              <a:srgbClr val="00501C"/>
            </a:solidFill>
            <a:prstDash val="solid"/>
            <a:miter/>
          </a:ln>
        </p:spPr>
        <p:txBody>
          <a:bodyPr wrap="square" rtlCol="0" anchor="ctr">
            <a:noAutofit/>
          </a:bodyPr>
          <a:lstStyle/>
          <a:p>
            <a:endParaRPr lang="en-GB"/>
          </a:p>
        </p:txBody>
      </p:sp>
      <p:sp>
        <p:nvSpPr>
          <p:cNvPr id="9" name="Freeform: Shape 8">
            <a:extLst>
              <a:ext uri="{FF2B5EF4-FFF2-40B4-BE49-F238E27FC236}">
                <a16:creationId xmlns:a16="http://schemas.microsoft.com/office/drawing/2014/main" id="{F0EC8357-8687-486C-5B38-4E2AC33FF34F}"/>
              </a:ext>
            </a:extLst>
          </p:cNvPr>
          <p:cNvSpPr/>
          <p:nvPr userDrawn="1"/>
        </p:nvSpPr>
        <p:spPr>
          <a:xfrm>
            <a:off x="-1" y="0"/>
            <a:ext cx="10949305" cy="4342128"/>
          </a:xfrm>
          <a:custGeom>
            <a:avLst/>
            <a:gdLst>
              <a:gd name="connsiteX0" fmla="*/ 0 w 10949305"/>
              <a:gd name="connsiteY0" fmla="*/ 0 h 4342128"/>
              <a:gd name="connsiteX1" fmla="*/ 10949305 w 10949305"/>
              <a:gd name="connsiteY1" fmla="*/ 0 h 4342128"/>
              <a:gd name="connsiteX2" fmla="*/ 8844237 w 10949305"/>
              <a:gd name="connsiteY2" fmla="*/ 2105068 h 4342128"/>
              <a:gd name="connsiteX3" fmla="*/ 8840883 w 10949305"/>
              <a:gd name="connsiteY3" fmla="*/ 2101933 h 4342128"/>
              <a:gd name="connsiteX4" fmla="*/ 8865033 w 10949305"/>
              <a:gd name="connsiteY4" fmla="*/ 2077694 h 4342128"/>
              <a:gd name="connsiteX5" fmla="*/ 8826470 w 10949305"/>
              <a:gd name="connsiteY5" fmla="*/ 2041504 h 4342128"/>
              <a:gd name="connsiteX6" fmla="*/ 6079518 w 10949305"/>
              <a:gd name="connsiteY6" fmla="*/ 594988 h 4342128"/>
              <a:gd name="connsiteX7" fmla="*/ 5287752 w 10949305"/>
              <a:gd name="connsiteY7" fmla="*/ 547803 h 4342128"/>
              <a:gd name="connsiteX8" fmla="*/ 1335166 w 10949305"/>
              <a:gd name="connsiteY8" fmla="*/ 2259119 h 4342128"/>
              <a:gd name="connsiteX9" fmla="*/ 1 w 10949305"/>
              <a:gd name="connsiteY9" fmla="*/ 4326985 h 4342128"/>
              <a:gd name="connsiteX10" fmla="*/ 1 w 10949305"/>
              <a:gd name="connsiteY10" fmla="*/ 4342126 h 4342128"/>
              <a:gd name="connsiteX11" fmla="*/ 0 w 10949305"/>
              <a:gd name="connsiteY11" fmla="*/ 4342128 h 4342128"/>
              <a:gd name="connsiteX12" fmla="*/ 0 w 10949305"/>
              <a:gd name="connsiteY12" fmla="*/ 0 h 4342128"/>
              <a:gd name="connsiteX0" fmla="*/ 0 w 10949305"/>
              <a:gd name="connsiteY0" fmla="*/ 0 h 4342128"/>
              <a:gd name="connsiteX1" fmla="*/ 10949305 w 10949305"/>
              <a:gd name="connsiteY1" fmla="*/ 0 h 4342128"/>
              <a:gd name="connsiteX2" fmla="*/ 8844237 w 10949305"/>
              <a:gd name="connsiteY2" fmla="*/ 2105068 h 4342128"/>
              <a:gd name="connsiteX3" fmla="*/ 8865033 w 10949305"/>
              <a:gd name="connsiteY3" fmla="*/ 2077694 h 4342128"/>
              <a:gd name="connsiteX4" fmla="*/ 8826470 w 10949305"/>
              <a:gd name="connsiteY4" fmla="*/ 2041504 h 4342128"/>
              <a:gd name="connsiteX5" fmla="*/ 6079518 w 10949305"/>
              <a:gd name="connsiteY5" fmla="*/ 594988 h 4342128"/>
              <a:gd name="connsiteX6" fmla="*/ 5287752 w 10949305"/>
              <a:gd name="connsiteY6" fmla="*/ 547803 h 4342128"/>
              <a:gd name="connsiteX7" fmla="*/ 1335166 w 10949305"/>
              <a:gd name="connsiteY7" fmla="*/ 2259119 h 4342128"/>
              <a:gd name="connsiteX8" fmla="*/ 1 w 10949305"/>
              <a:gd name="connsiteY8" fmla="*/ 4326985 h 4342128"/>
              <a:gd name="connsiteX9" fmla="*/ 1 w 10949305"/>
              <a:gd name="connsiteY9" fmla="*/ 4342126 h 4342128"/>
              <a:gd name="connsiteX10" fmla="*/ 0 w 10949305"/>
              <a:gd name="connsiteY10" fmla="*/ 4342128 h 4342128"/>
              <a:gd name="connsiteX11" fmla="*/ 0 w 10949305"/>
              <a:gd name="connsiteY11" fmla="*/ 0 h 43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305" h="4342128">
                <a:moveTo>
                  <a:pt x="0" y="0"/>
                </a:moveTo>
                <a:lnTo>
                  <a:pt x="10949305" y="0"/>
                </a:lnTo>
                <a:lnTo>
                  <a:pt x="8844237" y="2105068"/>
                </a:lnTo>
                <a:lnTo>
                  <a:pt x="8865033" y="2077694"/>
                </a:lnTo>
                <a:lnTo>
                  <a:pt x="8826470" y="2041504"/>
                </a:lnTo>
                <a:cubicBezTo>
                  <a:pt x="7661107" y="1019246"/>
                  <a:pt x="6707087" y="683864"/>
                  <a:pt x="6079518" y="594988"/>
                </a:cubicBezTo>
                <a:cubicBezTo>
                  <a:pt x="5835380" y="559295"/>
                  <a:pt x="5569159" y="542128"/>
                  <a:pt x="5287752" y="547803"/>
                </a:cubicBezTo>
                <a:cubicBezTo>
                  <a:pt x="4068321" y="572393"/>
                  <a:pt x="2563733" y="1025874"/>
                  <a:pt x="1335166" y="2259119"/>
                </a:cubicBezTo>
                <a:cubicBezTo>
                  <a:pt x="696857" y="2899857"/>
                  <a:pt x="267925" y="3615338"/>
                  <a:pt x="1" y="4326985"/>
                </a:cubicBezTo>
                <a:lnTo>
                  <a:pt x="1" y="4342126"/>
                </a:lnTo>
                <a:cubicBezTo>
                  <a:pt x="1" y="4342127"/>
                  <a:pt x="0" y="4342127"/>
                  <a:pt x="0" y="4342128"/>
                </a:cubicBezTo>
                <a:lnTo>
                  <a:pt x="0" y="0"/>
                </a:lnTo>
                <a:close/>
              </a:path>
            </a:pathLst>
          </a:cu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Picture Placeholder 4">
            <a:extLst>
              <a:ext uri="{FF2B5EF4-FFF2-40B4-BE49-F238E27FC236}">
                <a16:creationId xmlns:a16="http://schemas.microsoft.com/office/drawing/2014/main" id="{FEBEE4DA-0A98-1426-1093-5E3B7543FD25}"/>
              </a:ext>
            </a:extLst>
          </p:cNvPr>
          <p:cNvSpPr>
            <a:spLocks noGrp="1"/>
          </p:cNvSpPr>
          <p:nvPr>
            <p:ph type="pic" sz="quarter" idx="11" hasCustomPrompt="1"/>
          </p:nvPr>
        </p:nvSpPr>
        <p:spPr>
          <a:xfrm>
            <a:off x="8864810" y="1"/>
            <a:ext cx="3327190" cy="5399115"/>
          </a:xfrm>
          <a:custGeom>
            <a:avLst/>
            <a:gdLst>
              <a:gd name="connsiteX0" fmla="*/ 2084494 w 3327190"/>
              <a:gd name="connsiteY0" fmla="*/ 0 h 5399115"/>
              <a:gd name="connsiteX1" fmla="*/ 3327190 w 3327190"/>
              <a:gd name="connsiteY1" fmla="*/ 0 h 5399115"/>
              <a:gd name="connsiteX2" fmla="*/ 3327190 w 3327190"/>
              <a:gd name="connsiteY2" fmla="*/ 5399115 h 5399115"/>
              <a:gd name="connsiteX3" fmla="*/ 469508 w 3327190"/>
              <a:gd name="connsiteY3" fmla="*/ 2526750 h 5399115"/>
              <a:gd name="connsiteX4" fmla="*/ 407278 w 3327190"/>
              <a:gd name="connsiteY4" fmla="*/ 2464839 h 5399115"/>
              <a:gd name="connsiteX5" fmla="*/ 380608 w 3327190"/>
              <a:gd name="connsiteY5" fmla="*/ 2438670 h 5399115"/>
              <a:gd name="connsiteX6" fmla="*/ 345684 w 3327190"/>
              <a:gd name="connsiteY6" fmla="*/ 2404841 h 5399115"/>
              <a:gd name="connsiteX7" fmla="*/ 310123 w 3327190"/>
              <a:gd name="connsiteY7" fmla="*/ 2371015 h 5399115"/>
              <a:gd name="connsiteX8" fmla="*/ 284723 w 3327190"/>
              <a:gd name="connsiteY8" fmla="*/ 2346760 h 5399115"/>
              <a:gd name="connsiteX9" fmla="*/ 244084 w 3327190"/>
              <a:gd name="connsiteY9" fmla="*/ 2307826 h 5399115"/>
              <a:gd name="connsiteX10" fmla="*/ 225668 w 3327190"/>
              <a:gd name="connsiteY10" fmla="*/ 2290593 h 5399115"/>
              <a:gd name="connsiteX11" fmla="*/ 180583 w 3327190"/>
              <a:gd name="connsiteY11" fmla="*/ 2247829 h 5399115"/>
              <a:gd name="connsiteX12" fmla="*/ 167248 w 3327190"/>
              <a:gd name="connsiteY12" fmla="*/ 2235702 h 5399115"/>
              <a:gd name="connsiteX13" fmla="*/ 117718 w 3327190"/>
              <a:gd name="connsiteY13" fmla="*/ 2190386 h 5399115"/>
              <a:gd name="connsiteX14" fmla="*/ 109462 w 3327190"/>
              <a:gd name="connsiteY14" fmla="*/ 2182726 h 5399115"/>
              <a:gd name="connsiteX15" fmla="*/ 56758 w 3327190"/>
              <a:gd name="connsiteY15" fmla="*/ 2134857 h 5399115"/>
              <a:gd name="connsiteX16" fmla="*/ 52948 w 3327190"/>
              <a:gd name="connsiteY16" fmla="*/ 2131665 h 5399115"/>
              <a:gd name="connsiteX17" fmla="*/ 0 w 3327190"/>
              <a:gd name="connsiteY17" fmla="*/ 2084494 h 539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27190" h="5399115">
                <a:moveTo>
                  <a:pt x="2084494" y="0"/>
                </a:moveTo>
                <a:lnTo>
                  <a:pt x="3327190" y="0"/>
                </a:lnTo>
                <a:lnTo>
                  <a:pt x="3327190" y="5399115"/>
                </a:lnTo>
                <a:lnTo>
                  <a:pt x="469508" y="2526750"/>
                </a:lnTo>
                <a:cubicBezTo>
                  <a:pt x="448554" y="2505688"/>
                  <a:pt x="427599" y="2485263"/>
                  <a:pt x="407278" y="2464839"/>
                </a:cubicBezTo>
                <a:cubicBezTo>
                  <a:pt x="398388" y="2455903"/>
                  <a:pt x="389498" y="2447605"/>
                  <a:pt x="380608" y="2438670"/>
                </a:cubicBezTo>
                <a:cubicBezTo>
                  <a:pt x="369178" y="2427182"/>
                  <a:pt x="357748" y="2415693"/>
                  <a:pt x="345684" y="2404841"/>
                </a:cubicBezTo>
                <a:cubicBezTo>
                  <a:pt x="333618" y="2393354"/>
                  <a:pt x="322188" y="2381865"/>
                  <a:pt x="310123" y="2371015"/>
                </a:cubicBezTo>
                <a:cubicBezTo>
                  <a:pt x="301868" y="2362717"/>
                  <a:pt x="293614" y="2355057"/>
                  <a:pt x="284723" y="2346760"/>
                </a:cubicBezTo>
                <a:cubicBezTo>
                  <a:pt x="270753" y="2333357"/>
                  <a:pt x="257418" y="2320591"/>
                  <a:pt x="244084" y="2307826"/>
                </a:cubicBezTo>
                <a:cubicBezTo>
                  <a:pt x="237734" y="2302082"/>
                  <a:pt x="232018" y="2296338"/>
                  <a:pt x="225668" y="2290593"/>
                </a:cubicBezTo>
                <a:cubicBezTo>
                  <a:pt x="210428" y="2276551"/>
                  <a:pt x="195188" y="2261871"/>
                  <a:pt x="180583" y="2247829"/>
                </a:cubicBezTo>
                <a:cubicBezTo>
                  <a:pt x="176138" y="2244000"/>
                  <a:pt x="171693" y="2239532"/>
                  <a:pt x="167248" y="2235702"/>
                </a:cubicBezTo>
                <a:cubicBezTo>
                  <a:pt x="150738" y="2220384"/>
                  <a:pt x="134228" y="2205066"/>
                  <a:pt x="117718" y="2190386"/>
                </a:cubicBezTo>
                <a:cubicBezTo>
                  <a:pt x="115178" y="2187832"/>
                  <a:pt x="112638" y="2185279"/>
                  <a:pt x="109462" y="2182726"/>
                </a:cubicBezTo>
                <a:cubicBezTo>
                  <a:pt x="91684" y="2166770"/>
                  <a:pt x="73903" y="2150814"/>
                  <a:pt x="56758" y="2134857"/>
                </a:cubicBezTo>
                <a:cubicBezTo>
                  <a:pt x="55488" y="2133581"/>
                  <a:pt x="54218" y="2132942"/>
                  <a:pt x="52948" y="2131665"/>
                </a:cubicBezTo>
                <a:lnTo>
                  <a:pt x="0" y="2084494"/>
                </a:lnTo>
                <a:close/>
              </a:path>
            </a:pathLst>
          </a:custGeom>
          <a:solidFill>
            <a:schemeClr val="bg1">
              <a:lumMod val="95000"/>
            </a:schemeClr>
          </a:solidFill>
        </p:spPr>
        <p:txBody>
          <a:bodyPr wrap="square" lIns="548640" bIns="1737360" anchor="ctr">
            <a:noAutofit/>
          </a:bodyPr>
          <a:lstStyle>
            <a:lvl1pPr algn="ctr">
              <a:defRPr sz="1800"/>
            </a:lvl1pPr>
          </a:lstStyle>
          <a:p>
            <a:r>
              <a:rPr lang="en-GB" dirty="0" err="1"/>
              <a:t>Beeld</a:t>
            </a:r>
            <a:endParaRPr lang="en-GB" dirty="0"/>
          </a:p>
        </p:txBody>
      </p:sp>
      <p:sp>
        <p:nvSpPr>
          <p:cNvPr id="11" name="Freeform: Shape 10">
            <a:extLst>
              <a:ext uri="{FF2B5EF4-FFF2-40B4-BE49-F238E27FC236}">
                <a16:creationId xmlns:a16="http://schemas.microsoft.com/office/drawing/2014/main" id="{388CDD20-1321-D267-4055-D43E148D69A0}"/>
              </a:ext>
            </a:extLst>
          </p:cNvPr>
          <p:cNvSpPr/>
          <p:nvPr userDrawn="1"/>
        </p:nvSpPr>
        <p:spPr>
          <a:xfrm>
            <a:off x="8858788" y="2071834"/>
            <a:ext cx="6244" cy="13152"/>
          </a:xfrm>
          <a:custGeom>
            <a:avLst/>
            <a:gdLst>
              <a:gd name="connsiteX0" fmla="*/ 0 w 6244"/>
              <a:gd name="connsiteY0" fmla="*/ 0 h 13152"/>
              <a:gd name="connsiteX1" fmla="*/ 6244 w 6244"/>
              <a:gd name="connsiteY1" fmla="*/ 5860 h 13152"/>
              <a:gd name="connsiteX2" fmla="*/ 2980 w 6244"/>
              <a:gd name="connsiteY2" fmla="*/ 10157 h 13152"/>
              <a:gd name="connsiteX3" fmla="*/ 0 w 6244"/>
              <a:gd name="connsiteY3" fmla="*/ 13152 h 13152"/>
              <a:gd name="connsiteX4" fmla="*/ 0 w 6244"/>
              <a:gd name="connsiteY4" fmla="*/ 0 h 1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2">
                <a:moveTo>
                  <a:pt x="0" y="0"/>
                </a:moveTo>
                <a:lnTo>
                  <a:pt x="6244" y="5860"/>
                </a:lnTo>
                <a:lnTo>
                  <a:pt x="2980" y="10157"/>
                </a:lnTo>
                <a:lnTo>
                  <a:pt x="0" y="13152"/>
                </a:lnTo>
                <a:lnTo>
                  <a:pt x="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2" name="Freeform: Shape 11">
            <a:extLst>
              <a:ext uri="{FF2B5EF4-FFF2-40B4-BE49-F238E27FC236}">
                <a16:creationId xmlns:a16="http://schemas.microsoft.com/office/drawing/2014/main" id="{E8B95446-AD4E-5FEC-3072-843BFC1A00EF}"/>
              </a:ext>
            </a:extLst>
          </p:cNvPr>
          <p:cNvSpPr/>
          <p:nvPr userDrawn="1"/>
        </p:nvSpPr>
        <p:spPr>
          <a:xfrm>
            <a:off x="8858788" y="2081881"/>
            <a:ext cx="6022" cy="8635"/>
          </a:xfrm>
          <a:custGeom>
            <a:avLst/>
            <a:gdLst>
              <a:gd name="connsiteX0" fmla="*/ 3089 w 6022"/>
              <a:gd name="connsiteY0" fmla="*/ 0 h 8635"/>
              <a:gd name="connsiteX1" fmla="*/ 6022 w 6022"/>
              <a:gd name="connsiteY1" fmla="*/ 2613 h 8635"/>
              <a:gd name="connsiteX2" fmla="*/ 0 w 6022"/>
              <a:gd name="connsiteY2" fmla="*/ 8635 h 8635"/>
              <a:gd name="connsiteX3" fmla="*/ 0 w 6022"/>
              <a:gd name="connsiteY3" fmla="*/ 4032 h 8635"/>
              <a:gd name="connsiteX4" fmla="*/ 2980 w 6022"/>
              <a:gd name="connsiteY4" fmla="*/ 110 h 8635"/>
              <a:gd name="connsiteX5" fmla="*/ 3089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89" y="0"/>
                </a:moveTo>
                <a:lnTo>
                  <a:pt x="6022" y="2613"/>
                </a:lnTo>
                <a:lnTo>
                  <a:pt x="0" y="8635"/>
                </a:lnTo>
                <a:lnTo>
                  <a:pt x="0" y="4032"/>
                </a:lnTo>
                <a:lnTo>
                  <a:pt x="2980" y="110"/>
                </a:lnTo>
                <a:lnTo>
                  <a:pt x="3089"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3" name="Freeform: Shape 12">
            <a:extLst>
              <a:ext uri="{FF2B5EF4-FFF2-40B4-BE49-F238E27FC236}">
                <a16:creationId xmlns:a16="http://schemas.microsoft.com/office/drawing/2014/main" id="{FE6FD458-7CC1-5363-6474-791605B40C0A}"/>
              </a:ext>
            </a:extLst>
          </p:cNvPr>
          <p:cNvSpPr/>
          <p:nvPr userDrawn="1"/>
        </p:nvSpPr>
        <p:spPr>
          <a:xfrm>
            <a:off x="8858788" y="2081991"/>
            <a:ext cx="2980" cy="3922"/>
          </a:xfrm>
          <a:custGeom>
            <a:avLst/>
            <a:gdLst>
              <a:gd name="connsiteX0" fmla="*/ 2980 w 2980"/>
              <a:gd name="connsiteY0" fmla="*/ 0 h 3922"/>
              <a:gd name="connsiteX1" fmla="*/ 0 w 2980"/>
              <a:gd name="connsiteY1" fmla="*/ 3922 h 3922"/>
              <a:gd name="connsiteX2" fmla="*/ 0 w 2980"/>
              <a:gd name="connsiteY2" fmla="*/ 2995 h 3922"/>
              <a:gd name="connsiteX3" fmla="*/ 2980 w 2980"/>
              <a:gd name="connsiteY3" fmla="*/ 0 h 3922"/>
            </a:gdLst>
            <a:ahLst/>
            <a:cxnLst>
              <a:cxn ang="0">
                <a:pos x="connsiteX0" y="connsiteY0"/>
              </a:cxn>
              <a:cxn ang="0">
                <a:pos x="connsiteX1" y="connsiteY1"/>
              </a:cxn>
              <a:cxn ang="0">
                <a:pos x="connsiteX2" y="connsiteY2"/>
              </a:cxn>
              <a:cxn ang="0">
                <a:pos x="connsiteX3" y="connsiteY3"/>
              </a:cxn>
            </a:cxnLst>
            <a:rect l="l" t="t" r="r" b="b"/>
            <a:pathLst>
              <a:path w="2980" h="3922">
                <a:moveTo>
                  <a:pt x="2980" y="0"/>
                </a:moveTo>
                <a:lnTo>
                  <a:pt x="0" y="3922"/>
                </a:lnTo>
                <a:lnTo>
                  <a:pt x="0" y="2995"/>
                </a:lnTo>
                <a:lnTo>
                  <a:pt x="298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4" name="Freeform: Shape 13">
            <a:extLst>
              <a:ext uri="{FF2B5EF4-FFF2-40B4-BE49-F238E27FC236}">
                <a16:creationId xmlns:a16="http://schemas.microsoft.com/office/drawing/2014/main" id="{FC7B1AAF-18D4-5316-A81D-D9D5DE1D792A}"/>
              </a:ext>
            </a:extLst>
          </p:cNvPr>
          <p:cNvSpPr/>
          <p:nvPr userDrawn="1"/>
        </p:nvSpPr>
        <p:spPr>
          <a:xfrm>
            <a:off x="8844236" y="2085913"/>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5" name="Freeform: Shape 14">
            <a:extLst>
              <a:ext uri="{FF2B5EF4-FFF2-40B4-BE49-F238E27FC236}">
                <a16:creationId xmlns:a16="http://schemas.microsoft.com/office/drawing/2014/main" id="{853C73B2-7A4D-134B-7C9D-091302B8BFB9}"/>
              </a:ext>
            </a:extLst>
          </p:cNvPr>
          <p:cNvSpPr/>
          <p:nvPr userDrawn="1"/>
        </p:nvSpPr>
        <p:spPr>
          <a:xfrm>
            <a:off x="8858788" y="2081995"/>
            <a:ext cx="2976" cy="3918"/>
          </a:xfrm>
          <a:custGeom>
            <a:avLst/>
            <a:gdLst>
              <a:gd name="connsiteX0" fmla="*/ 2976 w 2976"/>
              <a:gd name="connsiteY0" fmla="*/ 0 h 3918"/>
              <a:gd name="connsiteX1" fmla="*/ 0 w 2976"/>
              <a:gd name="connsiteY1" fmla="*/ 3918 h 3918"/>
              <a:gd name="connsiteX2" fmla="*/ 0 w 2976"/>
              <a:gd name="connsiteY2" fmla="*/ 2992 h 3918"/>
              <a:gd name="connsiteX3" fmla="*/ 2976 w 2976"/>
              <a:gd name="connsiteY3" fmla="*/ 0 h 3918"/>
            </a:gdLst>
            <a:ahLst/>
            <a:cxnLst>
              <a:cxn ang="0">
                <a:pos x="connsiteX0" y="connsiteY0"/>
              </a:cxn>
              <a:cxn ang="0">
                <a:pos x="connsiteX1" y="connsiteY1"/>
              </a:cxn>
              <a:cxn ang="0">
                <a:pos x="connsiteX2" y="connsiteY2"/>
              </a:cxn>
              <a:cxn ang="0">
                <a:pos x="connsiteX3" y="connsiteY3"/>
              </a:cxn>
            </a:cxnLst>
            <a:rect l="l" t="t" r="r" b="b"/>
            <a:pathLst>
              <a:path w="2976" h="3918">
                <a:moveTo>
                  <a:pt x="2976" y="0"/>
                </a:moveTo>
                <a:lnTo>
                  <a:pt x="0" y="3918"/>
                </a:lnTo>
                <a:lnTo>
                  <a:pt x="0" y="2992"/>
                </a:lnTo>
                <a:lnTo>
                  <a:pt x="2976"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6" name="Freeform: Shape 15">
            <a:extLst>
              <a:ext uri="{FF2B5EF4-FFF2-40B4-BE49-F238E27FC236}">
                <a16:creationId xmlns:a16="http://schemas.microsoft.com/office/drawing/2014/main" id="{75C404F9-94B7-8CF6-0750-76896E3FE8A2}"/>
              </a:ext>
            </a:extLst>
          </p:cNvPr>
          <p:cNvSpPr/>
          <p:nvPr userDrawn="1"/>
        </p:nvSpPr>
        <p:spPr>
          <a:xfrm>
            <a:off x="8844236" y="2085914"/>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7" name="Freeform: Shape 16">
            <a:extLst>
              <a:ext uri="{FF2B5EF4-FFF2-40B4-BE49-F238E27FC236}">
                <a16:creationId xmlns:a16="http://schemas.microsoft.com/office/drawing/2014/main" id="{5911F414-CE46-2A08-2211-5D19FE58E79D}"/>
              </a:ext>
            </a:extLst>
          </p:cNvPr>
          <p:cNvSpPr/>
          <p:nvPr userDrawn="1"/>
        </p:nvSpPr>
        <p:spPr>
          <a:xfrm>
            <a:off x="8858788" y="2071835"/>
            <a:ext cx="6244" cy="13153"/>
          </a:xfrm>
          <a:custGeom>
            <a:avLst/>
            <a:gdLst>
              <a:gd name="connsiteX0" fmla="*/ 0 w 6244"/>
              <a:gd name="connsiteY0" fmla="*/ 0 h 13153"/>
              <a:gd name="connsiteX1" fmla="*/ 6244 w 6244"/>
              <a:gd name="connsiteY1" fmla="*/ 5860 h 13153"/>
              <a:gd name="connsiteX2" fmla="*/ 2976 w 6244"/>
              <a:gd name="connsiteY2" fmla="*/ 10161 h 13153"/>
              <a:gd name="connsiteX3" fmla="*/ 0 w 6244"/>
              <a:gd name="connsiteY3" fmla="*/ 13153 h 13153"/>
              <a:gd name="connsiteX4" fmla="*/ 0 w 6244"/>
              <a:gd name="connsiteY4" fmla="*/ 0 h 1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3">
                <a:moveTo>
                  <a:pt x="0" y="0"/>
                </a:moveTo>
                <a:lnTo>
                  <a:pt x="6244" y="5860"/>
                </a:lnTo>
                <a:lnTo>
                  <a:pt x="2976" y="10161"/>
                </a:lnTo>
                <a:lnTo>
                  <a:pt x="0" y="13153"/>
                </a:lnTo>
                <a:lnTo>
                  <a:pt x="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0" name="Freeform: Shape 19">
            <a:extLst>
              <a:ext uri="{FF2B5EF4-FFF2-40B4-BE49-F238E27FC236}">
                <a16:creationId xmlns:a16="http://schemas.microsoft.com/office/drawing/2014/main" id="{B85A7D1A-35B8-1EA7-CCFD-B0C4E711CCEA}"/>
              </a:ext>
            </a:extLst>
          </p:cNvPr>
          <p:cNvSpPr/>
          <p:nvPr userDrawn="1"/>
        </p:nvSpPr>
        <p:spPr>
          <a:xfrm>
            <a:off x="8858788" y="2081882"/>
            <a:ext cx="6022" cy="8635"/>
          </a:xfrm>
          <a:custGeom>
            <a:avLst/>
            <a:gdLst>
              <a:gd name="connsiteX0" fmla="*/ 3090 w 6022"/>
              <a:gd name="connsiteY0" fmla="*/ 0 h 8635"/>
              <a:gd name="connsiteX1" fmla="*/ 6022 w 6022"/>
              <a:gd name="connsiteY1" fmla="*/ 2613 h 8635"/>
              <a:gd name="connsiteX2" fmla="*/ 0 w 6022"/>
              <a:gd name="connsiteY2" fmla="*/ 8635 h 8635"/>
              <a:gd name="connsiteX3" fmla="*/ 0 w 6022"/>
              <a:gd name="connsiteY3" fmla="*/ 4032 h 8635"/>
              <a:gd name="connsiteX4" fmla="*/ 2976 w 6022"/>
              <a:gd name="connsiteY4" fmla="*/ 114 h 8635"/>
              <a:gd name="connsiteX5" fmla="*/ 3090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90" y="0"/>
                </a:moveTo>
                <a:lnTo>
                  <a:pt x="6022" y="2613"/>
                </a:lnTo>
                <a:lnTo>
                  <a:pt x="0" y="8635"/>
                </a:lnTo>
                <a:lnTo>
                  <a:pt x="0" y="4032"/>
                </a:lnTo>
                <a:lnTo>
                  <a:pt x="2976" y="114"/>
                </a:lnTo>
                <a:lnTo>
                  <a:pt x="309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 name="Subtitle 2">
            <a:extLst>
              <a:ext uri="{FF2B5EF4-FFF2-40B4-BE49-F238E27FC236}">
                <a16:creationId xmlns:a16="http://schemas.microsoft.com/office/drawing/2014/main" id="{C5806AE7-85F3-CD07-7347-C15C6844C13C}"/>
              </a:ext>
            </a:extLst>
          </p:cNvPr>
          <p:cNvSpPr>
            <a:spLocks noGrp="1"/>
          </p:cNvSpPr>
          <p:nvPr>
            <p:ph type="subTitle" idx="1" hasCustomPrompt="1"/>
          </p:nvPr>
        </p:nvSpPr>
        <p:spPr>
          <a:xfrm>
            <a:off x="6588049" y="4597046"/>
            <a:ext cx="5016576" cy="769441"/>
          </a:xfrm>
          <a:noFill/>
        </p:spPr>
        <p:txBody>
          <a:bodyPr wrap="square" anchor="b" anchorCtr="0">
            <a:spAutoFit/>
          </a:bodyPr>
          <a:lstStyle>
            <a:lvl1pPr marL="0" indent="0" algn="l">
              <a:buNone/>
              <a:defRPr sz="50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Titel</a:t>
            </a:r>
          </a:p>
        </p:txBody>
      </p:sp>
    </p:spTree>
    <p:extLst>
      <p:ext uri="{BB962C8B-B14F-4D97-AF65-F5344CB8AC3E}">
        <p14:creationId xmlns:p14="http://schemas.microsoft.com/office/powerpoint/2010/main" val="31736450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act / bee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74A6C65-F574-5A49-FF35-2AF79C74B3A9}"/>
              </a:ext>
            </a:extLst>
          </p:cNvPr>
          <p:cNvSpPr/>
          <p:nvPr userDrawn="1"/>
        </p:nvSpPr>
        <p:spPr>
          <a:xfrm>
            <a:off x="0" y="546736"/>
            <a:ext cx="8858789" cy="6311263"/>
          </a:xfrm>
          <a:custGeom>
            <a:avLst/>
            <a:gdLst>
              <a:gd name="connsiteX0" fmla="*/ 0 w 8858789"/>
              <a:gd name="connsiteY0" fmla="*/ 0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8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13" fmla="*/ 0 w 8858789"/>
              <a:gd name="connsiteY13" fmla="*/ 0 h 6858000"/>
              <a:gd name="connsiteX0" fmla="*/ 0 w 8858789"/>
              <a:gd name="connsiteY0" fmla="*/ 4342128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8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98900 w 8957689"/>
              <a:gd name="connsiteY0" fmla="*/ 3795391 h 6311263"/>
              <a:gd name="connsiteX1" fmla="*/ 98901 w 8957689"/>
              <a:gd name="connsiteY1" fmla="*/ 3780248 h 6311263"/>
              <a:gd name="connsiteX2" fmla="*/ 1434066 w 8957689"/>
              <a:gd name="connsiteY2" fmla="*/ 1712382 h 6311263"/>
              <a:gd name="connsiteX3" fmla="*/ 5386652 w 8957689"/>
              <a:gd name="connsiteY3" fmla="*/ 1066 h 6311263"/>
              <a:gd name="connsiteX4" fmla="*/ 6178418 w 8957689"/>
              <a:gd name="connsiteY4" fmla="*/ 48251 h 6311263"/>
              <a:gd name="connsiteX5" fmla="*/ 8925370 w 8957689"/>
              <a:gd name="connsiteY5" fmla="*/ 1494767 h 6311263"/>
              <a:gd name="connsiteX6" fmla="*/ 8957689 w 8957689"/>
              <a:gd name="connsiteY6" fmla="*/ 1525097 h 6311263"/>
              <a:gd name="connsiteX7" fmla="*/ 8957689 w 8957689"/>
              <a:gd name="connsiteY7" fmla="*/ 1538249 h 6311263"/>
              <a:gd name="connsiteX8" fmla="*/ 4208438 w 8957689"/>
              <a:gd name="connsiteY8" fmla="*/ 6311263 h 6311263"/>
              <a:gd name="connsiteX9" fmla="*/ 98901 w 8957689"/>
              <a:gd name="connsiteY9" fmla="*/ 6311263 h 6311263"/>
              <a:gd name="connsiteX10" fmla="*/ 98901 w 8957689"/>
              <a:gd name="connsiteY10" fmla="*/ 3795389 h 6311263"/>
              <a:gd name="connsiteX11" fmla="*/ 98900 w 8957689"/>
              <a:gd name="connsiteY11" fmla="*/ 3795391 h 6311263"/>
              <a:gd name="connsiteX0" fmla="*/ 0 w 8858789"/>
              <a:gd name="connsiteY0" fmla="*/ 3795391 h 6311263"/>
              <a:gd name="connsiteX1" fmla="*/ 1 w 8858789"/>
              <a:gd name="connsiteY1" fmla="*/ 3780248 h 6311263"/>
              <a:gd name="connsiteX2" fmla="*/ 1335166 w 8858789"/>
              <a:gd name="connsiteY2" fmla="*/ 1712382 h 6311263"/>
              <a:gd name="connsiteX3" fmla="*/ 5287752 w 8858789"/>
              <a:gd name="connsiteY3" fmla="*/ 1066 h 6311263"/>
              <a:gd name="connsiteX4" fmla="*/ 6079518 w 8858789"/>
              <a:gd name="connsiteY4" fmla="*/ 48251 h 6311263"/>
              <a:gd name="connsiteX5" fmla="*/ 8826470 w 8858789"/>
              <a:gd name="connsiteY5" fmla="*/ 1494767 h 6311263"/>
              <a:gd name="connsiteX6" fmla="*/ 8858789 w 8858789"/>
              <a:gd name="connsiteY6" fmla="*/ 1525097 h 6311263"/>
              <a:gd name="connsiteX7" fmla="*/ 8858789 w 8858789"/>
              <a:gd name="connsiteY7" fmla="*/ 1538249 h 6311263"/>
              <a:gd name="connsiteX8" fmla="*/ 4109538 w 8858789"/>
              <a:gd name="connsiteY8" fmla="*/ 6311263 h 6311263"/>
              <a:gd name="connsiteX9" fmla="*/ 1 w 8858789"/>
              <a:gd name="connsiteY9" fmla="*/ 6311263 h 6311263"/>
              <a:gd name="connsiteX10" fmla="*/ 1 w 8858789"/>
              <a:gd name="connsiteY10" fmla="*/ 3795389 h 6311263"/>
              <a:gd name="connsiteX11" fmla="*/ 0 w 8858789"/>
              <a:gd name="connsiteY11" fmla="*/ 3795391 h 63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789" h="6311263">
                <a:moveTo>
                  <a:pt x="0" y="3795391"/>
                </a:moveTo>
                <a:cubicBezTo>
                  <a:pt x="0" y="3790343"/>
                  <a:pt x="1" y="3785296"/>
                  <a:pt x="1" y="3780248"/>
                </a:cubicBezTo>
                <a:cubicBezTo>
                  <a:pt x="267925" y="3068601"/>
                  <a:pt x="696857" y="2353120"/>
                  <a:pt x="1335166" y="1712382"/>
                </a:cubicBezTo>
                <a:cubicBezTo>
                  <a:pt x="2563733" y="479137"/>
                  <a:pt x="4068321" y="25656"/>
                  <a:pt x="5287752" y="1066"/>
                </a:cubicBezTo>
                <a:cubicBezTo>
                  <a:pt x="5569159" y="-4609"/>
                  <a:pt x="5835380" y="12558"/>
                  <a:pt x="6079518" y="48251"/>
                </a:cubicBezTo>
                <a:cubicBezTo>
                  <a:pt x="6707087" y="137127"/>
                  <a:pt x="7661107" y="472509"/>
                  <a:pt x="8826470" y="1494767"/>
                </a:cubicBezTo>
                <a:lnTo>
                  <a:pt x="8858789" y="1525097"/>
                </a:lnTo>
                <a:lnTo>
                  <a:pt x="8858789" y="1538249"/>
                </a:lnTo>
                <a:lnTo>
                  <a:pt x="4109538" y="6311263"/>
                </a:lnTo>
                <a:lnTo>
                  <a:pt x="1" y="6311263"/>
                </a:lnTo>
                <a:lnTo>
                  <a:pt x="1" y="3795389"/>
                </a:lnTo>
                <a:cubicBezTo>
                  <a:pt x="1" y="3795390"/>
                  <a:pt x="0" y="3795390"/>
                  <a:pt x="0" y="3795391"/>
                </a:cubicBezTo>
                <a:close/>
              </a:path>
            </a:pathLst>
          </a:custGeom>
          <a:solidFill>
            <a:srgbClr val="00501C"/>
          </a:solidFill>
          <a:ln w="12700" cap="flat">
            <a:solidFill>
              <a:srgbClr val="00501C"/>
            </a:solidFill>
            <a:prstDash val="solid"/>
            <a:miter/>
          </a:ln>
        </p:spPr>
        <p:txBody>
          <a:bodyPr wrap="square" rtlCol="0" anchor="ctr">
            <a:noAutofit/>
          </a:bodyPr>
          <a:lstStyle/>
          <a:p>
            <a:endParaRPr lang="en-GB" dirty="0"/>
          </a:p>
        </p:txBody>
      </p:sp>
      <p:sp>
        <p:nvSpPr>
          <p:cNvPr id="8" name="Freeform: Shape 7">
            <a:extLst>
              <a:ext uri="{FF2B5EF4-FFF2-40B4-BE49-F238E27FC236}">
                <a16:creationId xmlns:a16="http://schemas.microsoft.com/office/drawing/2014/main" id="{0019CB90-A3E6-6CE0-8889-AF6353A3E372}"/>
              </a:ext>
            </a:extLst>
          </p:cNvPr>
          <p:cNvSpPr/>
          <p:nvPr userDrawn="1"/>
        </p:nvSpPr>
        <p:spPr>
          <a:xfrm>
            <a:off x="-1" y="0"/>
            <a:ext cx="10949305" cy="4342128"/>
          </a:xfrm>
          <a:custGeom>
            <a:avLst/>
            <a:gdLst>
              <a:gd name="connsiteX0" fmla="*/ 0 w 10949305"/>
              <a:gd name="connsiteY0" fmla="*/ 0 h 4342128"/>
              <a:gd name="connsiteX1" fmla="*/ 10949305 w 10949305"/>
              <a:gd name="connsiteY1" fmla="*/ 0 h 4342128"/>
              <a:gd name="connsiteX2" fmla="*/ 8844237 w 10949305"/>
              <a:gd name="connsiteY2" fmla="*/ 2105068 h 4342128"/>
              <a:gd name="connsiteX3" fmla="*/ 8840883 w 10949305"/>
              <a:gd name="connsiteY3" fmla="*/ 2101933 h 4342128"/>
              <a:gd name="connsiteX4" fmla="*/ 8865033 w 10949305"/>
              <a:gd name="connsiteY4" fmla="*/ 2077694 h 4342128"/>
              <a:gd name="connsiteX5" fmla="*/ 8826470 w 10949305"/>
              <a:gd name="connsiteY5" fmla="*/ 2041504 h 4342128"/>
              <a:gd name="connsiteX6" fmla="*/ 6079518 w 10949305"/>
              <a:gd name="connsiteY6" fmla="*/ 594988 h 4342128"/>
              <a:gd name="connsiteX7" fmla="*/ 5287752 w 10949305"/>
              <a:gd name="connsiteY7" fmla="*/ 547803 h 4342128"/>
              <a:gd name="connsiteX8" fmla="*/ 1335166 w 10949305"/>
              <a:gd name="connsiteY8" fmla="*/ 2259119 h 4342128"/>
              <a:gd name="connsiteX9" fmla="*/ 1 w 10949305"/>
              <a:gd name="connsiteY9" fmla="*/ 4326985 h 4342128"/>
              <a:gd name="connsiteX10" fmla="*/ 1 w 10949305"/>
              <a:gd name="connsiteY10" fmla="*/ 4342126 h 4342128"/>
              <a:gd name="connsiteX11" fmla="*/ 0 w 10949305"/>
              <a:gd name="connsiteY11" fmla="*/ 4342128 h 4342128"/>
              <a:gd name="connsiteX12" fmla="*/ 0 w 10949305"/>
              <a:gd name="connsiteY12" fmla="*/ 0 h 4342128"/>
              <a:gd name="connsiteX0" fmla="*/ 0 w 10949305"/>
              <a:gd name="connsiteY0" fmla="*/ 0 h 4342128"/>
              <a:gd name="connsiteX1" fmla="*/ 10949305 w 10949305"/>
              <a:gd name="connsiteY1" fmla="*/ 0 h 4342128"/>
              <a:gd name="connsiteX2" fmla="*/ 8844237 w 10949305"/>
              <a:gd name="connsiteY2" fmla="*/ 2105068 h 4342128"/>
              <a:gd name="connsiteX3" fmla="*/ 8865033 w 10949305"/>
              <a:gd name="connsiteY3" fmla="*/ 2077694 h 4342128"/>
              <a:gd name="connsiteX4" fmla="*/ 8826470 w 10949305"/>
              <a:gd name="connsiteY4" fmla="*/ 2041504 h 4342128"/>
              <a:gd name="connsiteX5" fmla="*/ 6079518 w 10949305"/>
              <a:gd name="connsiteY5" fmla="*/ 594988 h 4342128"/>
              <a:gd name="connsiteX6" fmla="*/ 5287752 w 10949305"/>
              <a:gd name="connsiteY6" fmla="*/ 547803 h 4342128"/>
              <a:gd name="connsiteX7" fmla="*/ 1335166 w 10949305"/>
              <a:gd name="connsiteY7" fmla="*/ 2259119 h 4342128"/>
              <a:gd name="connsiteX8" fmla="*/ 1 w 10949305"/>
              <a:gd name="connsiteY8" fmla="*/ 4326985 h 4342128"/>
              <a:gd name="connsiteX9" fmla="*/ 1 w 10949305"/>
              <a:gd name="connsiteY9" fmla="*/ 4342126 h 4342128"/>
              <a:gd name="connsiteX10" fmla="*/ 0 w 10949305"/>
              <a:gd name="connsiteY10" fmla="*/ 4342128 h 4342128"/>
              <a:gd name="connsiteX11" fmla="*/ 0 w 10949305"/>
              <a:gd name="connsiteY11" fmla="*/ 0 h 43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305" h="4342128">
                <a:moveTo>
                  <a:pt x="0" y="0"/>
                </a:moveTo>
                <a:lnTo>
                  <a:pt x="10949305" y="0"/>
                </a:lnTo>
                <a:lnTo>
                  <a:pt x="8844237" y="2105068"/>
                </a:lnTo>
                <a:lnTo>
                  <a:pt x="8865033" y="2077694"/>
                </a:lnTo>
                <a:lnTo>
                  <a:pt x="8826470" y="2041504"/>
                </a:lnTo>
                <a:cubicBezTo>
                  <a:pt x="7661107" y="1019246"/>
                  <a:pt x="6707087" y="683864"/>
                  <a:pt x="6079518" y="594988"/>
                </a:cubicBezTo>
                <a:cubicBezTo>
                  <a:pt x="5835380" y="559295"/>
                  <a:pt x="5569159" y="542128"/>
                  <a:pt x="5287752" y="547803"/>
                </a:cubicBezTo>
                <a:cubicBezTo>
                  <a:pt x="4068321" y="572393"/>
                  <a:pt x="2563733" y="1025874"/>
                  <a:pt x="1335166" y="2259119"/>
                </a:cubicBezTo>
                <a:cubicBezTo>
                  <a:pt x="696857" y="2899857"/>
                  <a:pt x="267925" y="3615338"/>
                  <a:pt x="1" y="4326985"/>
                </a:cubicBezTo>
                <a:lnTo>
                  <a:pt x="1" y="4342126"/>
                </a:lnTo>
                <a:cubicBezTo>
                  <a:pt x="1" y="4342127"/>
                  <a:pt x="0" y="4342127"/>
                  <a:pt x="0" y="4342128"/>
                </a:cubicBezTo>
                <a:lnTo>
                  <a:pt x="0" y="0"/>
                </a:lnTo>
                <a:close/>
              </a:path>
            </a:pathLst>
          </a:cu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Freeform: Shape 9">
            <a:extLst>
              <a:ext uri="{FF2B5EF4-FFF2-40B4-BE49-F238E27FC236}">
                <a16:creationId xmlns:a16="http://schemas.microsoft.com/office/drawing/2014/main" id="{E20172B7-39DA-FF71-2EA4-96F309218C44}"/>
              </a:ext>
            </a:extLst>
          </p:cNvPr>
          <p:cNvSpPr/>
          <p:nvPr userDrawn="1"/>
        </p:nvSpPr>
        <p:spPr>
          <a:xfrm>
            <a:off x="8864810" y="0"/>
            <a:ext cx="3327190" cy="5399115"/>
          </a:xfrm>
          <a:custGeom>
            <a:avLst/>
            <a:gdLst>
              <a:gd name="connsiteX0" fmla="*/ 2084494 w 3327190"/>
              <a:gd name="connsiteY0" fmla="*/ 0 h 5399115"/>
              <a:gd name="connsiteX1" fmla="*/ 3327190 w 3327190"/>
              <a:gd name="connsiteY1" fmla="*/ 0 h 5399115"/>
              <a:gd name="connsiteX2" fmla="*/ 3327190 w 3327190"/>
              <a:gd name="connsiteY2" fmla="*/ 5399115 h 5399115"/>
              <a:gd name="connsiteX3" fmla="*/ 469508 w 3327190"/>
              <a:gd name="connsiteY3" fmla="*/ 2526750 h 5399115"/>
              <a:gd name="connsiteX4" fmla="*/ 407278 w 3327190"/>
              <a:gd name="connsiteY4" fmla="*/ 2464839 h 5399115"/>
              <a:gd name="connsiteX5" fmla="*/ 380608 w 3327190"/>
              <a:gd name="connsiteY5" fmla="*/ 2438670 h 5399115"/>
              <a:gd name="connsiteX6" fmla="*/ 345684 w 3327190"/>
              <a:gd name="connsiteY6" fmla="*/ 2404841 h 5399115"/>
              <a:gd name="connsiteX7" fmla="*/ 310123 w 3327190"/>
              <a:gd name="connsiteY7" fmla="*/ 2371015 h 5399115"/>
              <a:gd name="connsiteX8" fmla="*/ 284723 w 3327190"/>
              <a:gd name="connsiteY8" fmla="*/ 2346760 h 5399115"/>
              <a:gd name="connsiteX9" fmla="*/ 244084 w 3327190"/>
              <a:gd name="connsiteY9" fmla="*/ 2307826 h 5399115"/>
              <a:gd name="connsiteX10" fmla="*/ 225668 w 3327190"/>
              <a:gd name="connsiteY10" fmla="*/ 2290593 h 5399115"/>
              <a:gd name="connsiteX11" fmla="*/ 180583 w 3327190"/>
              <a:gd name="connsiteY11" fmla="*/ 2247829 h 5399115"/>
              <a:gd name="connsiteX12" fmla="*/ 167248 w 3327190"/>
              <a:gd name="connsiteY12" fmla="*/ 2235702 h 5399115"/>
              <a:gd name="connsiteX13" fmla="*/ 117718 w 3327190"/>
              <a:gd name="connsiteY13" fmla="*/ 2190386 h 5399115"/>
              <a:gd name="connsiteX14" fmla="*/ 109462 w 3327190"/>
              <a:gd name="connsiteY14" fmla="*/ 2182726 h 5399115"/>
              <a:gd name="connsiteX15" fmla="*/ 56758 w 3327190"/>
              <a:gd name="connsiteY15" fmla="*/ 2134857 h 5399115"/>
              <a:gd name="connsiteX16" fmla="*/ 52948 w 3327190"/>
              <a:gd name="connsiteY16" fmla="*/ 2131665 h 5399115"/>
              <a:gd name="connsiteX17" fmla="*/ 0 w 3327190"/>
              <a:gd name="connsiteY17" fmla="*/ 2084494 h 5399115"/>
              <a:gd name="connsiteX18" fmla="*/ 2084494 w 3327190"/>
              <a:gd name="connsiteY18" fmla="*/ 0 h 539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27190" h="5399115">
                <a:moveTo>
                  <a:pt x="2084494" y="0"/>
                </a:moveTo>
                <a:lnTo>
                  <a:pt x="3327190" y="0"/>
                </a:lnTo>
                <a:lnTo>
                  <a:pt x="3327190" y="5399115"/>
                </a:lnTo>
                <a:lnTo>
                  <a:pt x="469508" y="2526750"/>
                </a:lnTo>
                <a:cubicBezTo>
                  <a:pt x="448554" y="2505688"/>
                  <a:pt x="427599" y="2485263"/>
                  <a:pt x="407278" y="2464839"/>
                </a:cubicBezTo>
                <a:cubicBezTo>
                  <a:pt x="398388" y="2455903"/>
                  <a:pt x="389498" y="2447605"/>
                  <a:pt x="380608" y="2438670"/>
                </a:cubicBezTo>
                <a:cubicBezTo>
                  <a:pt x="369178" y="2427182"/>
                  <a:pt x="357748" y="2415693"/>
                  <a:pt x="345684" y="2404841"/>
                </a:cubicBezTo>
                <a:cubicBezTo>
                  <a:pt x="333618" y="2393354"/>
                  <a:pt x="322188" y="2381865"/>
                  <a:pt x="310123" y="2371015"/>
                </a:cubicBezTo>
                <a:cubicBezTo>
                  <a:pt x="301868" y="2362717"/>
                  <a:pt x="293614" y="2355057"/>
                  <a:pt x="284723" y="2346760"/>
                </a:cubicBezTo>
                <a:cubicBezTo>
                  <a:pt x="270753" y="2333357"/>
                  <a:pt x="257418" y="2320591"/>
                  <a:pt x="244084" y="2307826"/>
                </a:cubicBezTo>
                <a:cubicBezTo>
                  <a:pt x="237734" y="2302082"/>
                  <a:pt x="232018" y="2296338"/>
                  <a:pt x="225668" y="2290593"/>
                </a:cubicBezTo>
                <a:cubicBezTo>
                  <a:pt x="210428" y="2276551"/>
                  <a:pt x="195188" y="2261871"/>
                  <a:pt x="180583" y="2247829"/>
                </a:cubicBezTo>
                <a:cubicBezTo>
                  <a:pt x="176138" y="2244000"/>
                  <a:pt x="171693" y="2239532"/>
                  <a:pt x="167248" y="2235702"/>
                </a:cubicBezTo>
                <a:cubicBezTo>
                  <a:pt x="150738" y="2220384"/>
                  <a:pt x="134228" y="2205066"/>
                  <a:pt x="117718" y="2190386"/>
                </a:cubicBezTo>
                <a:cubicBezTo>
                  <a:pt x="115178" y="2187832"/>
                  <a:pt x="112638" y="2185279"/>
                  <a:pt x="109462" y="2182726"/>
                </a:cubicBezTo>
                <a:cubicBezTo>
                  <a:pt x="91684" y="2166770"/>
                  <a:pt x="73903" y="2150814"/>
                  <a:pt x="56758" y="2134857"/>
                </a:cubicBezTo>
                <a:cubicBezTo>
                  <a:pt x="55488" y="2133581"/>
                  <a:pt x="54218" y="2132942"/>
                  <a:pt x="52948" y="2131665"/>
                </a:cubicBezTo>
                <a:lnTo>
                  <a:pt x="0" y="2084494"/>
                </a:lnTo>
                <a:lnTo>
                  <a:pt x="2084494" y="0"/>
                </a:lnTo>
                <a:close/>
              </a:path>
            </a:pathLst>
          </a:custGeom>
          <a:solidFill>
            <a:srgbClr val="00501C"/>
          </a:solidFill>
          <a:ln w="12700">
            <a:solidFill>
              <a:srgbClr val="0050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6" name="Freeform: Shape 5">
            <a:extLst>
              <a:ext uri="{FF2B5EF4-FFF2-40B4-BE49-F238E27FC236}">
                <a16:creationId xmlns:a16="http://schemas.microsoft.com/office/drawing/2014/main" id="{B93F6A57-A779-6046-0EB8-C09B5A1CF949}"/>
              </a:ext>
            </a:extLst>
          </p:cNvPr>
          <p:cNvSpPr/>
          <p:nvPr userDrawn="1"/>
        </p:nvSpPr>
        <p:spPr>
          <a:xfrm>
            <a:off x="4109538" y="2081881"/>
            <a:ext cx="8082463" cy="4776119"/>
          </a:xfrm>
          <a:custGeom>
            <a:avLst/>
            <a:gdLst>
              <a:gd name="connsiteX0" fmla="*/ 4752340 w 8082463"/>
              <a:gd name="connsiteY0" fmla="*/ 0 h 4776119"/>
              <a:gd name="connsiteX1" fmla="*/ 4808220 w 8082463"/>
              <a:gd name="connsiteY1" fmla="*/ 49784 h 4776119"/>
              <a:gd name="connsiteX2" fmla="*/ 4812030 w 8082463"/>
              <a:gd name="connsiteY2" fmla="*/ 52976 h 4776119"/>
              <a:gd name="connsiteX3" fmla="*/ 4864734 w 8082463"/>
              <a:gd name="connsiteY3" fmla="*/ 100845 h 4776119"/>
              <a:gd name="connsiteX4" fmla="*/ 4872990 w 8082463"/>
              <a:gd name="connsiteY4" fmla="*/ 108505 h 4776119"/>
              <a:gd name="connsiteX5" fmla="*/ 4922520 w 8082463"/>
              <a:gd name="connsiteY5" fmla="*/ 153821 h 4776119"/>
              <a:gd name="connsiteX6" fmla="*/ 4935855 w 8082463"/>
              <a:gd name="connsiteY6" fmla="*/ 165948 h 4776119"/>
              <a:gd name="connsiteX7" fmla="*/ 4980940 w 8082463"/>
              <a:gd name="connsiteY7" fmla="*/ 208712 h 4776119"/>
              <a:gd name="connsiteX8" fmla="*/ 4999356 w 8082463"/>
              <a:gd name="connsiteY8" fmla="*/ 225945 h 4776119"/>
              <a:gd name="connsiteX9" fmla="*/ 5039995 w 8082463"/>
              <a:gd name="connsiteY9" fmla="*/ 264879 h 4776119"/>
              <a:gd name="connsiteX10" fmla="*/ 5065395 w 8082463"/>
              <a:gd name="connsiteY10" fmla="*/ 289134 h 4776119"/>
              <a:gd name="connsiteX11" fmla="*/ 5100956 w 8082463"/>
              <a:gd name="connsiteY11" fmla="*/ 322960 h 4776119"/>
              <a:gd name="connsiteX12" fmla="*/ 5135880 w 8082463"/>
              <a:gd name="connsiteY12" fmla="*/ 356789 h 4776119"/>
              <a:gd name="connsiteX13" fmla="*/ 5162550 w 8082463"/>
              <a:gd name="connsiteY13" fmla="*/ 382958 h 4776119"/>
              <a:gd name="connsiteX14" fmla="*/ 5224780 w 8082463"/>
              <a:gd name="connsiteY14" fmla="*/ 444869 h 4776119"/>
              <a:gd name="connsiteX15" fmla="*/ 8082463 w 8082463"/>
              <a:gd name="connsiteY15" fmla="*/ 3317235 h 4776119"/>
              <a:gd name="connsiteX16" fmla="*/ 8082463 w 8082463"/>
              <a:gd name="connsiteY16" fmla="*/ 4776119 h 4776119"/>
              <a:gd name="connsiteX17" fmla="*/ 0 w 8082463"/>
              <a:gd name="connsiteY17" fmla="*/ 4776119 h 477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82463" h="4776119">
                <a:moveTo>
                  <a:pt x="4752340" y="0"/>
                </a:moveTo>
                <a:cubicBezTo>
                  <a:pt x="4770756" y="16595"/>
                  <a:pt x="4789805" y="33190"/>
                  <a:pt x="4808220" y="49784"/>
                </a:cubicBezTo>
                <a:cubicBezTo>
                  <a:pt x="4809490" y="51061"/>
                  <a:pt x="4810760" y="51700"/>
                  <a:pt x="4812030" y="52976"/>
                </a:cubicBezTo>
                <a:cubicBezTo>
                  <a:pt x="4829175" y="68933"/>
                  <a:pt x="4846956" y="84889"/>
                  <a:pt x="4864734" y="100845"/>
                </a:cubicBezTo>
                <a:cubicBezTo>
                  <a:pt x="4867910" y="103398"/>
                  <a:pt x="4870450" y="105951"/>
                  <a:pt x="4872990" y="108505"/>
                </a:cubicBezTo>
                <a:cubicBezTo>
                  <a:pt x="4889500" y="123185"/>
                  <a:pt x="4906010" y="138503"/>
                  <a:pt x="4922520" y="153821"/>
                </a:cubicBezTo>
                <a:cubicBezTo>
                  <a:pt x="4926965" y="157651"/>
                  <a:pt x="4931410" y="162119"/>
                  <a:pt x="4935855" y="165948"/>
                </a:cubicBezTo>
                <a:cubicBezTo>
                  <a:pt x="4950460" y="179990"/>
                  <a:pt x="4965700" y="194670"/>
                  <a:pt x="4980940" y="208712"/>
                </a:cubicBezTo>
                <a:cubicBezTo>
                  <a:pt x="4987290" y="214457"/>
                  <a:pt x="4993006" y="220201"/>
                  <a:pt x="4999356" y="225945"/>
                </a:cubicBezTo>
                <a:cubicBezTo>
                  <a:pt x="5012690" y="238710"/>
                  <a:pt x="5026025" y="251476"/>
                  <a:pt x="5039995" y="264879"/>
                </a:cubicBezTo>
                <a:cubicBezTo>
                  <a:pt x="5048886" y="273176"/>
                  <a:pt x="5057140" y="280836"/>
                  <a:pt x="5065395" y="289134"/>
                </a:cubicBezTo>
                <a:cubicBezTo>
                  <a:pt x="5077460" y="299984"/>
                  <a:pt x="5088890" y="311473"/>
                  <a:pt x="5100956" y="322960"/>
                </a:cubicBezTo>
                <a:cubicBezTo>
                  <a:pt x="5113020" y="333812"/>
                  <a:pt x="5124450" y="345301"/>
                  <a:pt x="5135880" y="356789"/>
                </a:cubicBezTo>
                <a:cubicBezTo>
                  <a:pt x="5144770" y="365724"/>
                  <a:pt x="5153660" y="374022"/>
                  <a:pt x="5162550" y="382958"/>
                </a:cubicBezTo>
                <a:cubicBezTo>
                  <a:pt x="5182871" y="403382"/>
                  <a:pt x="5203826" y="423807"/>
                  <a:pt x="5224780" y="444869"/>
                </a:cubicBezTo>
                <a:lnTo>
                  <a:pt x="8082463" y="3317235"/>
                </a:lnTo>
                <a:lnTo>
                  <a:pt x="8082463" y="4776119"/>
                </a:lnTo>
                <a:lnTo>
                  <a:pt x="0" y="4776119"/>
                </a:lnTo>
                <a:close/>
              </a:path>
            </a:pathLst>
          </a:custGeom>
          <a:solidFill>
            <a:schemeClr val="accent5"/>
          </a:solidFill>
          <a:ln w="12700" cap="flat">
            <a:solidFill>
              <a:schemeClr val="accent5"/>
            </a:solidFill>
            <a:prstDash val="solid"/>
            <a:miter/>
          </a:ln>
        </p:spPr>
        <p:txBody>
          <a:bodyPr wrap="square" rtlCol="0" anchor="ctr">
            <a:noAutofit/>
          </a:bodyPr>
          <a:lstStyle/>
          <a:p>
            <a:endParaRPr lang="en-GB"/>
          </a:p>
        </p:txBody>
      </p:sp>
      <p:sp>
        <p:nvSpPr>
          <p:cNvPr id="41" name="Title 1">
            <a:extLst>
              <a:ext uri="{FF2B5EF4-FFF2-40B4-BE49-F238E27FC236}">
                <a16:creationId xmlns:a16="http://schemas.microsoft.com/office/drawing/2014/main" id="{28CFD1A7-076B-DEF9-8D83-50E9E82FA68F}"/>
              </a:ext>
            </a:extLst>
          </p:cNvPr>
          <p:cNvSpPr>
            <a:spLocks noGrp="1"/>
          </p:cNvSpPr>
          <p:nvPr>
            <p:ph type="ctrTitle" hasCustomPrompt="1"/>
          </p:nvPr>
        </p:nvSpPr>
        <p:spPr>
          <a:xfrm>
            <a:off x="1137600" y="3207024"/>
            <a:ext cx="6812280" cy="449482"/>
          </a:xfrm>
          <a:noFill/>
        </p:spPr>
        <p:txBody>
          <a:bodyPr wrap="square" anchor="b">
            <a:spAutoFit/>
          </a:bodyPr>
          <a:lstStyle>
            <a:lvl1pPr algn="l">
              <a:lnSpc>
                <a:spcPct val="80000"/>
              </a:lnSpc>
              <a:defRPr sz="3600" b="1">
                <a:solidFill>
                  <a:schemeClr val="bg1"/>
                </a:solidFill>
              </a:defRPr>
            </a:lvl1pPr>
          </a:lstStyle>
          <a:p>
            <a:r>
              <a:rPr lang="nl-NL" noProof="0" dirty="0"/>
              <a:t>Naam</a:t>
            </a:r>
          </a:p>
        </p:txBody>
      </p:sp>
      <p:sp>
        <p:nvSpPr>
          <p:cNvPr id="42" name="Subtitle 2">
            <a:extLst>
              <a:ext uri="{FF2B5EF4-FFF2-40B4-BE49-F238E27FC236}">
                <a16:creationId xmlns:a16="http://schemas.microsoft.com/office/drawing/2014/main" id="{7FCF5694-9FEB-58DA-9F56-07296AE6C366}"/>
              </a:ext>
            </a:extLst>
          </p:cNvPr>
          <p:cNvSpPr>
            <a:spLocks noGrp="1"/>
          </p:cNvSpPr>
          <p:nvPr>
            <p:ph type="subTitle" idx="1" hasCustomPrompt="1"/>
          </p:nvPr>
        </p:nvSpPr>
        <p:spPr>
          <a:xfrm>
            <a:off x="1137600" y="3696048"/>
            <a:ext cx="6812280" cy="369332"/>
          </a:xfrm>
          <a:noFill/>
        </p:spPr>
        <p:txBody>
          <a:bodyPr wrap="square" anchor="t">
            <a:spAutoFit/>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Afdeling/Functie</a:t>
            </a:r>
          </a:p>
        </p:txBody>
      </p:sp>
      <p:sp>
        <p:nvSpPr>
          <p:cNvPr id="3" name="Tekstvak 2">
            <a:extLst>
              <a:ext uri="{FF2B5EF4-FFF2-40B4-BE49-F238E27FC236}">
                <a16:creationId xmlns:a16="http://schemas.microsoft.com/office/drawing/2014/main" id="{9806E908-3F22-CE3A-A292-6379B07428C1}"/>
              </a:ext>
            </a:extLst>
          </p:cNvPr>
          <p:cNvSpPr txBox="1"/>
          <p:nvPr userDrawn="1"/>
        </p:nvSpPr>
        <p:spPr>
          <a:xfrm>
            <a:off x="1137600" y="5870262"/>
            <a:ext cx="6102350" cy="276999"/>
          </a:xfrm>
          <a:prstGeom prst="rect">
            <a:avLst/>
          </a:prstGeom>
          <a:noFill/>
        </p:spPr>
        <p:txBody>
          <a:bodyPr wrap="square" lIns="0" tIns="0" rIns="0" bIns="0">
            <a:spAutoFit/>
          </a:bodyPr>
          <a:lstStyle/>
          <a:p>
            <a:r>
              <a:rPr lang="nl-NL" sz="1800" dirty="0">
                <a:solidFill>
                  <a:schemeClr val="bg1"/>
                </a:solidFill>
                <a:effectLst/>
                <a:latin typeface="+mn-lt"/>
              </a:rPr>
              <a:t>heartofhealth.com </a:t>
            </a:r>
            <a:endParaRPr lang="en-GB" dirty="0">
              <a:solidFill>
                <a:schemeClr val="bg1"/>
              </a:solidFill>
              <a:latin typeface="+mn-lt"/>
            </a:endParaRPr>
          </a:p>
        </p:txBody>
      </p:sp>
      <p:sp>
        <p:nvSpPr>
          <p:cNvPr id="5" name="Text Placeholder 4">
            <a:extLst>
              <a:ext uri="{FF2B5EF4-FFF2-40B4-BE49-F238E27FC236}">
                <a16:creationId xmlns:a16="http://schemas.microsoft.com/office/drawing/2014/main" id="{A9255E2B-5841-681C-09E3-97F577DF72BF}"/>
              </a:ext>
            </a:extLst>
          </p:cNvPr>
          <p:cNvSpPr>
            <a:spLocks noGrp="1"/>
          </p:cNvSpPr>
          <p:nvPr>
            <p:ph type="body" sz="quarter" idx="19" hasCustomPrompt="1"/>
          </p:nvPr>
        </p:nvSpPr>
        <p:spPr>
          <a:xfrm>
            <a:off x="1137600" y="4381670"/>
            <a:ext cx="6811962" cy="276999"/>
          </a:xfrm>
        </p:spPr>
        <p:txBody>
          <a:bodyPr>
            <a:spAutoFit/>
          </a:bodyPr>
          <a:lstStyle>
            <a:lvl1pPr>
              <a:defRPr sz="1800">
                <a:solidFill>
                  <a:schemeClr val="bg1"/>
                </a:solidFill>
              </a:defRPr>
            </a:lvl1pPr>
          </a:lstStyle>
          <a:p>
            <a:pPr lvl="0"/>
            <a:r>
              <a:rPr lang="nl-NL" noProof="0" dirty="0"/>
              <a:t>email</a:t>
            </a:r>
          </a:p>
        </p:txBody>
      </p:sp>
      <p:sp>
        <p:nvSpPr>
          <p:cNvPr id="11" name="Picture Placeholder 8">
            <a:extLst>
              <a:ext uri="{FF2B5EF4-FFF2-40B4-BE49-F238E27FC236}">
                <a16:creationId xmlns:a16="http://schemas.microsoft.com/office/drawing/2014/main" id="{3F035AA5-F14A-BEA7-72CD-B8BA66669A56}"/>
              </a:ext>
            </a:extLst>
          </p:cNvPr>
          <p:cNvSpPr>
            <a:spLocks noGrp="1"/>
          </p:cNvSpPr>
          <p:nvPr>
            <p:ph type="pic" sz="quarter" idx="20"/>
          </p:nvPr>
        </p:nvSpPr>
        <p:spPr>
          <a:xfrm>
            <a:off x="6808663" y="1514846"/>
            <a:ext cx="3845172" cy="3828308"/>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grpSp>
        <p:nvGrpSpPr>
          <p:cNvPr id="2" name="Groep 1">
            <a:extLst>
              <a:ext uri="{FF2B5EF4-FFF2-40B4-BE49-F238E27FC236}">
                <a16:creationId xmlns:a16="http://schemas.microsoft.com/office/drawing/2014/main" id="{87AE091C-B0D8-82B1-D994-76044ACB4B49}"/>
              </a:ext>
            </a:extLst>
          </p:cNvPr>
          <p:cNvGrpSpPr/>
          <p:nvPr userDrawn="1"/>
        </p:nvGrpSpPr>
        <p:grpSpPr>
          <a:xfrm>
            <a:off x="10014482" y="5839298"/>
            <a:ext cx="1599388" cy="433809"/>
            <a:chOff x="3101010" y="1249096"/>
            <a:chExt cx="3978412" cy="1079079"/>
          </a:xfrm>
          <a:solidFill>
            <a:schemeClr val="bg1"/>
          </a:solidFill>
        </p:grpSpPr>
        <p:sp>
          <p:nvSpPr>
            <p:cNvPr id="4" name="Vrije vorm 3">
              <a:extLst>
                <a:ext uri="{FF2B5EF4-FFF2-40B4-BE49-F238E27FC236}">
                  <a16:creationId xmlns:a16="http://schemas.microsoft.com/office/drawing/2014/main" id="{BE01A867-5351-DF72-BB40-A82EEC52CB0C}"/>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4377C5CF-E5BD-0B76-D8E3-0CD896700247}"/>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CBF666B4-2E7B-073A-79A1-152E4CB0DD3D}"/>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63B67466-CE83-044E-12EE-C5CB73A55FA4}"/>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E9AE048F-75FD-A6CB-21CF-9FB29108EBC3}"/>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72F64390-92C9-F155-EDBE-6D075CCC2B8B}"/>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E70A7D4C-5EC8-EE7F-6A5F-588F656DA118}"/>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58ACC5BB-9445-F131-D9EA-BD52D34AF0CA}"/>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8" name="Graphic 11">
            <a:extLst>
              <a:ext uri="{FF2B5EF4-FFF2-40B4-BE49-F238E27FC236}">
                <a16:creationId xmlns:a16="http://schemas.microsoft.com/office/drawing/2014/main" id="{756DEDA8-E317-B5C1-FBD3-79F9916C04CE}"/>
              </a:ext>
              <a:ext uri="{C183D7F6-B498-43B3-948B-1728B52AA6E4}">
                <adec:decorative xmlns:adec="http://schemas.microsoft.com/office/drawing/2017/decorative" val="0"/>
              </a:ext>
            </a:extLst>
          </p:cNvPr>
          <p:cNvSpPr/>
          <p:nvPr userDrawn="1"/>
        </p:nvSpPr>
        <p:spPr>
          <a:xfrm>
            <a:off x="1154113" y="4893269"/>
            <a:ext cx="366523" cy="366523"/>
          </a:xfrm>
          <a:custGeom>
            <a:avLst/>
            <a:gdLst>
              <a:gd name="connsiteX0" fmla="*/ 354337 w 382607"/>
              <a:gd name="connsiteY0" fmla="*/ 0 h 382607"/>
              <a:gd name="connsiteX1" fmla="*/ 28270 w 382607"/>
              <a:gd name="connsiteY1" fmla="*/ 0 h 382607"/>
              <a:gd name="connsiteX2" fmla="*/ 0 w 382607"/>
              <a:gd name="connsiteY2" fmla="*/ 27633 h 382607"/>
              <a:gd name="connsiteX3" fmla="*/ 0 w 382607"/>
              <a:gd name="connsiteY3" fmla="*/ 354974 h 382607"/>
              <a:gd name="connsiteX4" fmla="*/ 28270 w 382607"/>
              <a:gd name="connsiteY4" fmla="*/ 382607 h 382607"/>
              <a:gd name="connsiteX5" fmla="*/ 354337 w 382607"/>
              <a:gd name="connsiteY5" fmla="*/ 382607 h 382607"/>
              <a:gd name="connsiteX6" fmla="*/ 382607 w 382607"/>
              <a:gd name="connsiteY6" fmla="*/ 354974 h 382607"/>
              <a:gd name="connsiteX7" fmla="*/ 382607 w 382607"/>
              <a:gd name="connsiteY7" fmla="*/ 27633 h 382607"/>
              <a:gd name="connsiteX8" fmla="*/ 354337 w 382607"/>
              <a:gd name="connsiteY8" fmla="*/ 0 h 382607"/>
              <a:gd name="connsiteX9" fmla="*/ 113507 w 382607"/>
              <a:gd name="connsiteY9" fmla="*/ 326066 h 382607"/>
              <a:gd name="connsiteX10" fmla="*/ 56647 w 382607"/>
              <a:gd name="connsiteY10" fmla="*/ 326066 h 382607"/>
              <a:gd name="connsiteX11" fmla="*/ 56647 w 382607"/>
              <a:gd name="connsiteY11" fmla="*/ 143478 h 382607"/>
              <a:gd name="connsiteX12" fmla="*/ 113401 w 382607"/>
              <a:gd name="connsiteY12" fmla="*/ 143478 h 382607"/>
              <a:gd name="connsiteX13" fmla="*/ 113401 w 382607"/>
              <a:gd name="connsiteY13" fmla="*/ 326066 h 382607"/>
              <a:gd name="connsiteX14" fmla="*/ 85130 w 382607"/>
              <a:gd name="connsiteY14" fmla="*/ 118502 h 382607"/>
              <a:gd name="connsiteX15" fmla="*/ 52183 w 382607"/>
              <a:gd name="connsiteY15" fmla="*/ 85555 h 382607"/>
              <a:gd name="connsiteX16" fmla="*/ 85130 w 382607"/>
              <a:gd name="connsiteY16" fmla="*/ 52608 h 382607"/>
              <a:gd name="connsiteX17" fmla="*/ 117971 w 382607"/>
              <a:gd name="connsiteY17" fmla="*/ 85555 h 382607"/>
              <a:gd name="connsiteX18" fmla="*/ 85130 w 382607"/>
              <a:gd name="connsiteY18" fmla="*/ 118502 h 382607"/>
              <a:gd name="connsiteX19" fmla="*/ 326066 w 382607"/>
              <a:gd name="connsiteY19" fmla="*/ 326066 h 382607"/>
              <a:gd name="connsiteX20" fmla="*/ 269313 w 382607"/>
              <a:gd name="connsiteY20" fmla="*/ 326066 h 382607"/>
              <a:gd name="connsiteX21" fmla="*/ 269313 w 382607"/>
              <a:gd name="connsiteY21" fmla="*/ 237323 h 382607"/>
              <a:gd name="connsiteX22" fmla="*/ 239873 w 382607"/>
              <a:gd name="connsiteY22" fmla="*/ 188859 h 382607"/>
              <a:gd name="connsiteX23" fmla="*/ 205864 w 382607"/>
              <a:gd name="connsiteY23" fmla="*/ 235728 h 382607"/>
              <a:gd name="connsiteX24" fmla="*/ 205864 w 382607"/>
              <a:gd name="connsiteY24" fmla="*/ 326066 h 382607"/>
              <a:gd name="connsiteX25" fmla="*/ 149217 w 382607"/>
              <a:gd name="connsiteY25" fmla="*/ 326066 h 382607"/>
              <a:gd name="connsiteX26" fmla="*/ 149217 w 382607"/>
              <a:gd name="connsiteY26" fmla="*/ 143478 h 382607"/>
              <a:gd name="connsiteX27" fmla="*/ 203632 w 382607"/>
              <a:gd name="connsiteY27" fmla="*/ 143478 h 382607"/>
              <a:gd name="connsiteX28" fmla="*/ 203632 w 382607"/>
              <a:gd name="connsiteY28" fmla="*/ 168453 h 382607"/>
              <a:gd name="connsiteX29" fmla="*/ 204376 w 382607"/>
              <a:gd name="connsiteY29" fmla="*/ 168453 h 382607"/>
              <a:gd name="connsiteX30" fmla="*/ 258047 w 382607"/>
              <a:gd name="connsiteY30" fmla="*/ 139014 h 382607"/>
              <a:gd name="connsiteX31" fmla="*/ 326173 w 382607"/>
              <a:gd name="connsiteY31" fmla="*/ 225951 h 382607"/>
              <a:gd name="connsiteX32" fmla="*/ 326173 w 382607"/>
              <a:gd name="connsiteY32" fmla="*/ 326066 h 382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2607" h="382607">
                <a:moveTo>
                  <a:pt x="354337" y="0"/>
                </a:moveTo>
                <a:lnTo>
                  <a:pt x="28270" y="0"/>
                </a:lnTo>
                <a:cubicBezTo>
                  <a:pt x="12647" y="0"/>
                  <a:pt x="0" y="12328"/>
                  <a:pt x="0" y="27633"/>
                </a:cubicBezTo>
                <a:lnTo>
                  <a:pt x="0" y="354974"/>
                </a:lnTo>
                <a:cubicBezTo>
                  <a:pt x="0" y="370279"/>
                  <a:pt x="12647" y="382607"/>
                  <a:pt x="28270" y="382607"/>
                </a:cubicBezTo>
                <a:lnTo>
                  <a:pt x="354337" y="382607"/>
                </a:lnTo>
                <a:cubicBezTo>
                  <a:pt x="369854" y="382607"/>
                  <a:pt x="382607" y="370279"/>
                  <a:pt x="382607" y="354974"/>
                </a:cubicBezTo>
                <a:lnTo>
                  <a:pt x="382607" y="27633"/>
                </a:lnTo>
                <a:cubicBezTo>
                  <a:pt x="382607" y="12328"/>
                  <a:pt x="369854" y="0"/>
                  <a:pt x="354337" y="0"/>
                </a:cubicBezTo>
                <a:close/>
                <a:moveTo>
                  <a:pt x="113507" y="326066"/>
                </a:moveTo>
                <a:lnTo>
                  <a:pt x="56647" y="326066"/>
                </a:lnTo>
                <a:lnTo>
                  <a:pt x="56647" y="143478"/>
                </a:lnTo>
                <a:lnTo>
                  <a:pt x="113401" y="143478"/>
                </a:lnTo>
                <a:lnTo>
                  <a:pt x="113401" y="326066"/>
                </a:lnTo>
                <a:close/>
                <a:moveTo>
                  <a:pt x="85130" y="118502"/>
                </a:moveTo>
                <a:cubicBezTo>
                  <a:pt x="66956" y="118502"/>
                  <a:pt x="52183" y="103729"/>
                  <a:pt x="52183" y="85555"/>
                </a:cubicBezTo>
                <a:cubicBezTo>
                  <a:pt x="52183" y="67381"/>
                  <a:pt x="66850" y="52608"/>
                  <a:pt x="85130" y="52608"/>
                </a:cubicBezTo>
                <a:cubicBezTo>
                  <a:pt x="103304" y="52608"/>
                  <a:pt x="117971" y="67381"/>
                  <a:pt x="117971" y="85555"/>
                </a:cubicBezTo>
                <a:cubicBezTo>
                  <a:pt x="117971" y="103729"/>
                  <a:pt x="103304" y="118502"/>
                  <a:pt x="85130" y="118502"/>
                </a:cubicBezTo>
                <a:close/>
                <a:moveTo>
                  <a:pt x="326066" y="326066"/>
                </a:moveTo>
                <a:lnTo>
                  <a:pt x="269313" y="326066"/>
                </a:lnTo>
                <a:lnTo>
                  <a:pt x="269313" y="237323"/>
                </a:lnTo>
                <a:cubicBezTo>
                  <a:pt x="269313" y="216173"/>
                  <a:pt x="268994" y="188859"/>
                  <a:pt x="239873" y="188859"/>
                </a:cubicBezTo>
                <a:cubicBezTo>
                  <a:pt x="210328" y="188859"/>
                  <a:pt x="205864" y="211922"/>
                  <a:pt x="205864" y="235728"/>
                </a:cubicBezTo>
                <a:lnTo>
                  <a:pt x="205864" y="326066"/>
                </a:lnTo>
                <a:lnTo>
                  <a:pt x="149217" y="326066"/>
                </a:lnTo>
                <a:lnTo>
                  <a:pt x="149217" y="143478"/>
                </a:lnTo>
                <a:lnTo>
                  <a:pt x="203632" y="143478"/>
                </a:lnTo>
                <a:lnTo>
                  <a:pt x="203632" y="168453"/>
                </a:lnTo>
                <a:lnTo>
                  <a:pt x="204376" y="168453"/>
                </a:lnTo>
                <a:cubicBezTo>
                  <a:pt x="211922" y="154106"/>
                  <a:pt x="230415" y="139014"/>
                  <a:pt x="258047" y="139014"/>
                </a:cubicBezTo>
                <a:cubicBezTo>
                  <a:pt x="315545" y="139014"/>
                  <a:pt x="326173" y="176849"/>
                  <a:pt x="326173" y="225951"/>
                </a:cubicBezTo>
                <a:lnTo>
                  <a:pt x="326173" y="326066"/>
                </a:lnTo>
                <a:close/>
              </a:path>
            </a:pathLst>
          </a:custGeom>
          <a:solidFill>
            <a:schemeClr val="bg1"/>
          </a:solidFill>
          <a:ln w="10432" cap="flat">
            <a:noFill/>
            <a:prstDash val="solid"/>
            <a:miter/>
          </a:ln>
        </p:spPr>
        <p:txBody>
          <a:bodyPr rtlCol="0" anchor="ctr"/>
          <a:lstStyle/>
          <a:p>
            <a:endParaRPr lang="en-GB"/>
          </a:p>
        </p:txBody>
      </p:sp>
    </p:spTree>
    <p:extLst>
      <p:ext uri="{BB962C8B-B14F-4D97-AF65-F5344CB8AC3E}">
        <p14:creationId xmlns:p14="http://schemas.microsoft.com/office/powerpoint/2010/main" val="26849005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fsluiting / Beeld">
    <p:bg>
      <p:bgPr>
        <a:solidFill>
          <a:schemeClr val="accent1"/>
        </a:solidFill>
        <a:effectLst/>
      </p:bgPr>
    </p:bg>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750D8FE7-C87B-9F36-0BB1-F47746731658}"/>
              </a:ext>
            </a:extLst>
          </p:cNvPr>
          <p:cNvSpPr>
            <a:spLocks noGrp="1"/>
          </p:cNvSpPr>
          <p:nvPr>
            <p:ph type="pic" sz="quarter" idx="19"/>
          </p:nvPr>
        </p:nvSpPr>
        <p:spPr>
          <a:xfrm>
            <a:off x="0" y="-6038"/>
            <a:ext cx="6182350" cy="6216857"/>
          </a:xfrm>
          <a:custGeom>
            <a:avLst/>
            <a:gdLst>
              <a:gd name="connsiteX0" fmla="*/ 6182350 w 6182350"/>
              <a:gd name="connsiteY0" fmla="*/ 5672849 h 6216857"/>
              <a:gd name="connsiteX1" fmla="*/ 6182303 w 6182350"/>
              <a:gd name="connsiteY1" fmla="*/ 5672878 h 6216857"/>
              <a:gd name="connsiteX2" fmla="*/ 5983423 w 6182350"/>
              <a:gd name="connsiteY2" fmla="*/ 5779967 h 6216857"/>
              <a:gd name="connsiteX3" fmla="*/ 5983423 w 6182350"/>
              <a:gd name="connsiteY3" fmla="*/ 5779967 h 6216857"/>
              <a:gd name="connsiteX4" fmla="*/ 0 w 6182350"/>
              <a:gd name="connsiteY4" fmla="*/ 0 h 6216857"/>
              <a:gd name="connsiteX5" fmla="*/ 5983422 w 6182350"/>
              <a:gd name="connsiteY5" fmla="*/ 0 h 6216857"/>
              <a:gd name="connsiteX6" fmla="*/ 5983422 w 6182350"/>
              <a:gd name="connsiteY6" fmla="*/ 5779967 h 6216857"/>
              <a:gd name="connsiteX7" fmla="*/ 5811051 w 6182350"/>
              <a:gd name="connsiteY7" fmla="*/ 5863717 h 6216857"/>
              <a:gd name="connsiteX8" fmla="*/ 4806520 w 6182350"/>
              <a:gd name="connsiteY8" fmla="*/ 6172938 h 6216857"/>
              <a:gd name="connsiteX9" fmla="*/ 477737 w 6182350"/>
              <a:gd name="connsiteY9" fmla="*/ 4659542 h 6216857"/>
              <a:gd name="connsiteX10" fmla="*/ 226169 w 6182350"/>
              <a:gd name="connsiteY10" fmla="*/ 4390367 h 6216857"/>
              <a:gd name="connsiteX11" fmla="*/ 0 w 6182350"/>
              <a:gd name="connsiteY11" fmla="*/ 4113334 h 621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82350" h="6216857">
                <a:moveTo>
                  <a:pt x="6182350" y="5672849"/>
                </a:moveTo>
                <a:lnTo>
                  <a:pt x="6182303" y="5672878"/>
                </a:lnTo>
                <a:lnTo>
                  <a:pt x="5983423" y="5779967"/>
                </a:lnTo>
                <a:lnTo>
                  <a:pt x="5983423" y="5779967"/>
                </a:lnTo>
                <a:close/>
                <a:moveTo>
                  <a:pt x="0" y="0"/>
                </a:moveTo>
                <a:lnTo>
                  <a:pt x="5983422" y="0"/>
                </a:lnTo>
                <a:lnTo>
                  <a:pt x="5983422" y="5779967"/>
                </a:lnTo>
                <a:lnTo>
                  <a:pt x="5811051" y="5863717"/>
                </a:lnTo>
                <a:cubicBezTo>
                  <a:pt x="5416730" y="6045561"/>
                  <a:pt x="5078116" y="6134419"/>
                  <a:pt x="4806520" y="6172938"/>
                </a:cubicBezTo>
                <a:cubicBezTo>
                  <a:pt x="3618360" y="6346219"/>
                  <a:pt x="1857337" y="6039674"/>
                  <a:pt x="477737" y="4659542"/>
                </a:cubicBezTo>
                <a:cubicBezTo>
                  <a:pt x="389527" y="4571298"/>
                  <a:pt x="305732" y="4481488"/>
                  <a:pt x="226169" y="4390367"/>
                </a:cubicBezTo>
                <a:lnTo>
                  <a:pt x="0" y="4113334"/>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6" name="Vrije vorm 25">
            <a:extLst>
              <a:ext uri="{FF2B5EF4-FFF2-40B4-BE49-F238E27FC236}">
                <a16:creationId xmlns:a16="http://schemas.microsoft.com/office/drawing/2014/main" id="{0D2933BE-CBC4-6C62-C7C3-37ACB5A9EDAB}"/>
              </a:ext>
            </a:extLst>
          </p:cNvPr>
          <p:cNvSpPr/>
          <p:nvPr userDrawn="1"/>
        </p:nvSpPr>
        <p:spPr>
          <a:xfrm>
            <a:off x="5983422" y="-3841"/>
            <a:ext cx="6212267" cy="6868873"/>
          </a:xfrm>
          <a:custGeom>
            <a:avLst/>
            <a:gdLst>
              <a:gd name="connsiteX0" fmla="*/ 6212268 w 6212267"/>
              <a:gd name="connsiteY0" fmla="*/ 6868874 h 6868873"/>
              <a:gd name="connsiteX1" fmla="*/ 6212268 w 6212267"/>
              <a:gd name="connsiteY1" fmla="*/ 0 h 6868873"/>
              <a:gd name="connsiteX2" fmla="*/ 1796677 w 6212267"/>
              <a:gd name="connsiteY2" fmla="*/ 4417336 h 6868873"/>
              <a:gd name="connsiteX3" fmla="*/ 0 w 6212267"/>
              <a:gd name="connsiteY3" fmla="*/ 5777770 h 6868873"/>
              <a:gd name="connsiteX4" fmla="*/ 0 w 6212267"/>
              <a:gd name="connsiteY4" fmla="*/ 6868874 h 6868873"/>
              <a:gd name="connsiteX5" fmla="*/ 6212268 w 6212267"/>
              <a:gd name="connsiteY5" fmla="*/ 6868874 h 686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2267" h="6868873">
                <a:moveTo>
                  <a:pt x="6212268" y="6868874"/>
                </a:moveTo>
                <a:lnTo>
                  <a:pt x="6212268" y="0"/>
                </a:lnTo>
                <a:lnTo>
                  <a:pt x="1796677" y="4417336"/>
                </a:lnTo>
                <a:cubicBezTo>
                  <a:pt x="1126082" y="5088166"/>
                  <a:pt x="519608" y="5512547"/>
                  <a:pt x="0" y="5777770"/>
                </a:cubicBezTo>
                <a:lnTo>
                  <a:pt x="0" y="6868874"/>
                </a:lnTo>
                <a:lnTo>
                  <a:pt x="6212268" y="6868874"/>
                </a:lnTo>
                <a:close/>
              </a:path>
            </a:pathLst>
          </a:custGeom>
          <a:solidFill>
            <a:schemeClr val="accent5"/>
          </a:solidFill>
          <a:ln w="11535" cap="flat">
            <a:solidFill>
              <a:schemeClr val="accent5"/>
            </a:solid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1B4EB234-DB26-D2B9-6394-EA97F26864A6}"/>
              </a:ext>
            </a:extLst>
          </p:cNvPr>
          <p:cNvSpPr/>
          <p:nvPr userDrawn="1"/>
        </p:nvSpPr>
        <p:spPr>
          <a:xfrm>
            <a:off x="0" y="4107295"/>
            <a:ext cx="5983422" cy="2757736"/>
          </a:xfrm>
          <a:custGeom>
            <a:avLst/>
            <a:gdLst>
              <a:gd name="connsiteX0" fmla="*/ 0 w 5983422"/>
              <a:gd name="connsiteY0" fmla="*/ 0 h 2757736"/>
              <a:gd name="connsiteX1" fmla="*/ 0 w 5983422"/>
              <a:gd name="connsiteY1" fmla="*/ 2757736 h 2757736"/>
              <a:gd name="connsiteX2" fmla="*/ 5983423 w 5983422"/>
              <a:gd name="connsiteY2" fmla="*/ 2757736 h 2757736"/>
              <a:gd name="connsiteX3" fmla="*/ 5983423 w 5983422"/>
              <a:gd name="connsiteY3" fmla="*/ 1666633 h 2757736"/>
              <a:gd name="connsiteX4" fmla="*/ 4806520 w 5983422"/>
              <a:gd name="connsiteY4" fmla="*/ 2059605 h 2757736"/>
              <a:gd name="connsiteX5" fmla="*/ 477737 w 5983422"/>
              <a:gd name="connsiteY5" fmla="*/ 546209 h 2757736"/>
              <a:gd name="connsiteX6" fmla="*/ 0 w 5983422"/>
              <a:gd name="connsiteY6" fmla="*/ 0 h 275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3422" h="2757736">
                <a:moveTo>
                  <a:pt x="0" y="0"/>
                </a:moveTo>
                <a:lnTo>
                  <a:pt x="0" y="2757736"/>
                </a:lnTo>
                <a:lnTo>
                  <a:pt x="5983423" y="2757736"/>
                </a:lnTo>
                <a:lnTo>
                  <a:pt x="5983423" y="1666633"/>
                </a:lnTo>
                <a:cubicBezTo>
                  <a:pt x="5514844" y="1905813"/>
                  <a:pt x="5116915" y="2015583"/>
                  <a:pt x="4806520" y="2059605"/>
                </a:cubicBezTo>
                <a:cubicBezTo>
                  <a:pt x="3618360" y="2232886"/>
                  <a:pt x="1857337" y="1926341"/>
                  <a:pt x="477737" y="546209"/>
                </a:cubicBezTo>
                <a:cubicBezTo>
                  <a:pt x="301317" y="369721"/>
                  <a:pt x="142555" y="186966"/>
                  <a:pt x="0" y="0"/>
                </a:cubicBezTo>
              </a:path>
            </a:pathLst>
          </a:custGeom>
          <a:solidFill>
            <a:srgbClr val="00501C"/>
          </a:solidFill>
          <a:ln w="11535" cap="flat">
            <a:solidFill>
              <a:srgbClr val="00501C"/>
            </a:solidFill>
            <a:prstDash val="solid"/>
            <a:miter/>
          </a:ln>
        </p:spPr>
        <p:txBody>
          <a:bodyPr rtlCol="0" anchor="ctr"/>
          <a:lstStyle/>
          <a:p>
            <a:endParaRPr lang="nl-NL"/>
          </a:p>
        </p:txBody>
      </p:sp>
      <p:sp>
        <p:nvSpPr>
          <p:cNvPr id="28" name="Vrije vorm 27">
            <a:extLst>
              <a:ext uri="{FF2B5EF4-FFF2-40B4-BE49-F238E27FC236}">
                <a16:creationId xmlns:a16="http://schemas.microsoft.com/office/drawing/2014/main" id="{3658FEB1-68B3-77E1-5752-DAE16069FAC9}"/>
              </a:ext>
            </a:extLst>
          </p:cNvPr>
          <p:cNvSpPr/>
          <p:nvPr userDrawn="1"/>
        </p:nvSpPr>
        <p:spPr>
          <a:xfrm>
            <a:off x="5983422" y="-3848"/>
            <a:ext cx="6212267" cy="5777776"/>
          </a:xfrm>
          <a:custGeom>
            <a:avLst/>
            <a:gdLst>
              <a:gd name="connsiteX0" fmla="*/ 0 w 6212267"/>
              <a:gd name="connsiteY0" fmla="*/ 5777777 h 5777776"/>
              <a:gd name="connsiteX1" fmla="*/ 1796677 w 6212267"/>
              <a:gd name="connsiteY1" fmla="*/ 4417331 h 5777776"/>
              <a:gd name="connsiteX2" fmla="*/ 6212268 w 6212267"/>
              <a:gd name="connsiteY2" fmla="*/ 0 h 5777776"/>
              <a:gd name="connsiteX3" fmla="*/ 0 w 6212267"/>
              <a:gd name="connsiteY3" fmla="*/ 11 h 5777776"/>
              <a:gd name="connsiteX4" fmla="*/ 0 w 6212267"/>
              <a:gd name="connsiteY4" fmla="*/ 5777777 h 5777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2267" h="5777776">
                <a:moveTo>
                  <a:pt x="0" y="5777777"/>
                </a:moveTo>
                <a:cubicBezTo>
                  <a:pt x="519596" y="5512553"/>
                  <a:pt x="1126082" y="5088161"/>
                  <a:pt x="1796677" y="4417331"/>
                </a:cubicBezTo>
                <a:lnTo>
                  <a:pt x="6212268" y="0"/>
                </a:lnTo>
                <a:lnTo>
                  <a:pt x="0" y="11"/>
                </a:lnTo>
                <a:lnTo>
                  <a:pt x="0" y="5777777"/>
                </a:lnTo>
                <a:close/>
              </a:path>
            </a:pathLst>
          </a:custGeom>
          <a:solidFill>
            <a:srgbClr val="00501C"/>
          </a:solidFill>
          <a:ln w="11535" cap="flat">
            <a:solidFill>
              <a:srgbClr val="00501C"/>
            </a:solidFill>
            <a:prstDash val="solid"/>
            <a:miter/>
          </a:ln>
        </p:spPr>
        <p:txBody>
          <a:bodyPr rtlCol="0" anchor="ctr"/>
          <a:lstStyle/>
          <a:p>
            <a:endParaRPr lang="nl-NL"/>
          </a:p>
        </p:txBody>
      </p:sp>
      <p:sp>
        <p:nvSpPr>
          <p:cNvPr id="2" name="Titel 1">
            <a:extLst>
              <a:ext uri="{FF2B5EF4-FFF2-40B4-BE49-F238E27FC236}">
                <a16:creationId xmlns:a16="http://schemas.microsoft.com/office/drawing/2014/main" id="{9C22CEDD-0BA5-7B67-45FA-777969FEB4B5}"/>
              </a:ext>
            </a:extLst>
          </p:cNvPr>
          <p:cNvSpPr>
            <a:spLocks noGrp="1"/>
          </p:cNvSpPr>
          <p:nvPr>
            <p:ph type="title" hasCustomPrompt="1"/>
          </p:nvPr>
        </p:nvSpPr>
        <p:spPr>
          <a:xfrm>
            <a:off x="6588049" y="4936253"/>
            <a:ext cx="5016576" cy="692497"/>
          </a:xfrm>
        </p:spPr>
        <p:txBody>
          <a:bodyPr wrap="square" anchor="b" anchorCtr="0">
            <a:spAutoFit/>
          </a:bodyPr>
          <a:lstStyle>
            <a:lvl1pPr>
              <a:defRPr sz="5000">
                <a:solidFill>
                  <a:schemeClr val="bg1"/>
                </a:solidFill>
              </a:defRPr>
            </a:lvl1pPr>
          </a:lstStyle>
          <a:p>
            <a:r>
              <a:rPr lang="nl-NL" dirty="0"/>
              <a:t>Afsluiting</a:t>
            </a:r>
          </a:p>
        </p:txBody>
      </p:sp>
      <p:grpSp>
        <p:nvGrpSpPr>
          <p:cNvPr id="5" name="Groep 4">
            <a:extLst>
              <a:ext uri="{FF2B5EF4-FFF2-40B4-BE49-F238E27FC236}">
                <a16:creationId xmlns:a16="http://schemas.microsoft.com/office/drawing/2014/main" id="{82117802-456D-6AF4-E7D2-18FB3465A58A}"/>
              </a:ext>
            </a:extLst>
          </p:cNvPr>
          <p:cNvGrpSpPr/>
          <p:nvPr userDrawn="1"/>
        </p:nvGrpSpPr>
        <p:grpSpPr>
          <a:xfrm>
            <a:off x="9131077" y="510242"/>
            <a:ext cx="2473548" cy="670910"/>
            <a:chOff x="3101010" y="1249097"/>
            <a:chExt cx="3978412" cy="1079078"/>
          </a:xfrm>
          <a:solidFill>
            <a:schemeClr val="bg1"/>
          </a:solidFill>
        </p:grpSpPr>
        <p:sp>
          <p:nvSpPr>
            <p:cNvPr id="6" name="Vrije vorm 5">
              <a:extLst>
                <a:ext uri="{FF2B5EF4-FFF2-40B4-BE49-F238E27FC236}">
                  <a16:creationId xmlns:a16="http://schemas.microsoft.com/office/drawing/2014/main" id="{0FED2527-BEA9-7AF9-7316-311C3BF89D23}"/>
                </a:ext>
              </a:extLst>
            </p:cNvPr>
            <p:cNvSpPr/>
            <p:nvPr/>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1B541DF7-90F8-4878-482E-CC59764E06C7}"/>
                </a:ext>
              </a:extLst>
            </p:cNvPr>
            <p:cNvSpPr/>
            <p:nvPr/>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9733BCED-EAE3-C324-7205-D83F9338DEB0}"/>
                </a:ext>
              </a:extLst>
            </p:cNvPr>
            <p:cNvSpPr/>
            <p:nvPr/>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A8590B33-E181-BB42-A07C-965B75F49726}"/>
                </a:ext>
              </a:extLst>
            </p:cNvPr>
            <p:cNvSpPr/>
            <p:nvPr/>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D8B49135-7172-D2B7-4D24-88D7B3B3F609}"/>
                </a:ext>
              </a:extLst>
            </p:cNvPr>
            <p:cNvSpPr/>
            <p:nvPr/>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523CEF53-D3F5-3A4D-FD65-B951F455A647}"/>
                </a:ext>
              </a:extLst>
            </p:cNvPr>
            <p:cNvSpPr/>
            <p:nvPr/>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28721FAD-2360-9AB6-4B28-87610BC5E47C}"/>
                </a:ext>
              </a:extLst>
            </p:cNvPr>
            <p:cNvSpPr/>
            <p:nvPr/>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DA9B6AF1-3B48-8780-24BF-AC783FE8A52B}"/>
                </a:ext>
              </a:extLst>
            </p:cNvPr>
            <p:cNvSpPr/>
            <p:nvPr/>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5" name="Subtitle 2">
            <a:extLst>
              <a:ext uri="{FF2B5EF4-FFF2-40B4-BE49-F238E27FC236}">
                <a16:creationId xmlns:a16="http://schemas.microsoft.com/office/drawing/2014/main" id="{5FC5C1CF-68A8-8DCD-2F45-C441E28129A6}"/>
              </a:ext>
            </a:extLst>
          </p:cNvPr>
          <p:cNvSpPr>
            <a:spLocks noGrp="1"/>
          </p:cNvSpPr>
          <p:nvPr>
            <p:ph type="subTitle" idx="1" hasCustomPrompt="1"/>
          </p:nvPr>
        </p:nvSpPr>
        <p:spPr>
          <a:xfrm>
            <a:off x="6588049" y="5829147"/>
            <a:ext cx="5016576" cy="430887"/>
          </a:xfrm>
          <a:noFill/>
        </p:spPr>
        <p:txBody>
          <a:bodyPr wrap="square" anchor="b" anchorCtr="0">
            <a:spAutoFit/>
          </a:bodyPr>
          <a:lstStyle>
            <a:lvl1pPr marL="0" indent="0" algn="l">
              <a:buNone/>
              <a:defRPr sz="2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Subtitel</a:t>
            </a:r>
          </a:p>
        </p:txBody>
      </p:sp>
      <p:sp>
        <p:nvSpPr>
          <p:cNvPr id="16" name="Content Placeholder 2">
            <a:extLst>
              <a:ext uri="{FF2B5EF4-FFF2-40B4-BE49-F238E27FC236}">
                <a16:creationId xmlns:a16="http://schemas.microsoft.com/office/drawing/2014/main" id="{EFB7DEB3-7883-503E-2476-9B5D764EA356}"/>
              </a:ext>
            </a:extLst>
          </p:cNvPr>
          <p:cNvSpPr>
            <a:spLocks noGrp="1"/>
          </p:cNvSpPr>
          <p:nvPr>
            <p:ph idx="17" hasCustomPrompt="1"/>
          </p:nvPr>
        </p:nvSpPr>
        <p:spPr>
          <a:xfrm>
            <a:off x="587375" y="6044590"/>
            <a:ext cx="1428991" cy="215444"/>
          </a:xfrm>
          <a:noFill/>
        </p:spPr>
        <p:txBody>
          <a:bodyPr wrap="square" anchor="ctr">
            <a:spAutoFit/>
          </a:bodyPr>
          <a:lstStyle>
            <a:lvl1pPr>
              <a:defRPr sz="1400">
                <a:solidFill>
                  <a:schemeClr val="bg1"/>
                </a:solidFill>
              </a:defRPr>
            </a:lvl1pPr>
            <a:lvl2pPr marL="0" indent="0">
              <a:spcAft>
                <a:spcPts val="0"/>
              </a:spcAft>
              <a:buNone/>
              <a:defRPr sz="1400">
                <a:solidFill>
                  <a:schemeClr val="bg1"/>
                </a:solidFill>
              </a:defRPr>
            </a:lvl2pPr>
          </a:lstStyle>
          <a:p>
            <a:pPr lvl="0"/>
            <a:r>
              <a:rPr lang="nl-NL" noProof="0"/>
              <a:t>Datum </a:t>
            </a:r>
          </a:p>
        </p:txBody>
      </p:sp>
    </p:spTree>
    <p:extLst>
      <p:ext uri="{BB962C8B-B14F-4D97-AF65-F5344CB8AC3E}">
        <p14:creationId xmlns:p14="http://schemas.microsoft.com/office/powerpoint/2010/main" val="33661722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 I / Beeld">
    <p:bg>
      <p:bgPr>
        <a:solidFill>
          <a:schemeClr val="accent1"/>
        </a:solidFill>
        <a:effectLst/>
      </p:bgPr>
    </p:bg>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750D8FE7-C87B-9F36-0BB1-F47746731658}"/>
              </a:ext>
            </a:extLst>
          </p:cNvPr>
          <p:cNvSpPr>
            <a:spLocks noGrp="1"/>
          </p:cNvSpPr>
          <p:nvPr>
            <p:ph type="pic" sz="quarter" idx="19"/>
          </p:nvPr>
        </p:nvSpPr>
        <p:spPr>
          <a:xfrm>
            <a:off x="0" y="-6038"/>
            <a:ext cx="6182350" cy="6216857"/>
          </a:xfrm>
          <a:custGeom>
            <a:avLst/>
            <a:gdLst>
              <a:gd name="connsiteX0" fmla="*/ 6182350 w 6182350"/>
              <a:gd name="connsiteY0" fmla="*/ 5672849 h 6216857"/>
              <a:gd name="connsiteX1" fmla="*/ 6182303 w 6182350"/>
              <a:gd name="connsiteY1" fmla="*/ 5672878 h 6216857"/>
              <a:gd name="connsiteX2" fmla="*/ 5983423 w 6182350"/>
              <a:gd name="connsiteY2" fmla="*/ 5779967 h 6216857"/>
              <a:gd name="connsiteX3" fmla="*/ 5983423 w 6182350"/>
              <a:gd name="connsiteY3" fmla="*/ 5779967 h 6216857"/>
              <a:gd name="connsiteX4" fmla="*/ 0 w 6182350"/>
              <a:gd name="connsiteY4" fmla="*/ 0 h 6216857"/>
              <a:gd name="connsiteX5" fmla="*/ 5983422 w 6182350"/>
              <a:gd name="connsiteY5" fmla="*/ 0 h 6216857"/>
              <a:gd name="connsiteX6" fmla="*/ 5983422 w 6182350"/>
              <a:gd name="connsiteY6" fmla="*/ 5779967 h 6216857"/>
              <a:gd name="connsiteX7" fmla="*/ 5811051 w 6182350"/>
              <a:gd name="connsiteY7" fmla="*/ 5863717 h 6216857"/>
              <a:gd name="connsiteX8" fmla="*/ 4806520 w 6182350"/>
              <a:gd name="connsiteY8" fmla="*/ 6172938 h 6216857"/>
              <a:gd name="connsiteX9" fmla="*/ 477737 w 6182350"/>
              <a:gd name="connsiteY9" fmla="*/ 4659542 h 6216857"/>
              <a:gd name="connsiteX10" fmla="*/ 226169 w 6182350"/>
              <a:gd name="connsiteY10" fmla="*/ 4390367 h 6216857"/>
              <a:gd name="connsiteX11" fmla="*/ 0 w 6182350"/>
              <a:gd name="connsiteY11" fmla="*/ 4113334 h 621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82350" h="6216857">
                <a:moveTo>
                  <a:pt x="6182350" y="5672849"/>
                </a:moveTo>
                <a:lnTo>
                  <a:pt x="6182303" y="5672878"/>
                </a:lnTo>
                <a:lnTo>
                  <a:pt x="5983423" y="5779967"/>
                </a:lnTo>
                <a:lnTo>
                  <a:pt x="5983423" y="5779967"/>
                </a:lnTo>
                <a:close/>
                <a:moveTo>
                  <a:pt x="0" y="0"/>
                </a:moveTo>
                <a:lnTo>
                  <a:pt x="5983422" y="0"/>
                </a:lnTo>
                <a:lnTo>
                  <a:pt x="5983422" y="5779967"/>
                </a:lnTo>
                <a:lnTo>
                  <a:pt x="5811051" y="5863717"/>
                </a:lnTo>
                <a:cubicBezTo>
                  <a:pt x="5416730" y="6045561"/>
                  <a:pt x="5078116" y="6134419"/>
                  <a:pt x="4806520" y="6172938"/>
                </a:cubicBezTo>
                <a:cubicBezTo>
                  <a:pt x="3618360" y="6346219"/>
                  <a:pt x="1857337" y="6039674"/>
                  <a:pt x="477737" y="4659542"/>
                </a:cubicBezTo>
                <a:cubicBezTo>
                  <a:pt x="389527" y="4571298"/>
                  <a:pt x="305732" y="4481488"/>
                  <a:pt x="226169" y="4390367"/>
                </a:cubicBezTo>
                <a:lnTo>
                  <a:pt x="0" y="4113334"/>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6" name="Vrije vorm 25">
            <a:extLst>
              <a:ext uri="{FF2B5EF4-FFF2-40B4-BE49-F238E27FC236}">
                <a16:creationId xmlns:a16="http://schemas.microsoft.com/office/drawing/2014/main" id="{0D2933BE-CBC4-6C62-C7C3-37ACB5A9EDAB}"/>
              </a:ext>
            </a:extLst>
          </p:cNvPr>
          <p:cNvSpPr/>
          <p:nvPr userDrawn="1"/>
        </p:nvSpPr>
        <p:spPr>
          <a:xfrm>
            <a:off x="5983422" y="-3841"/>
            <a:ext cx="6212267" cy="6868873"/>
          </a:xfrm>
          <a:custGeom>
            <a:avLst/>
            <a:gdLst>
              <a:gd name="connsiteX0" fmla="*/ 6212268 w 6212267"/>
              <a:gd name="connsiteY0" fmla="*/ 6868874 h 6868873"/>
              <a:gd name="connsiteX1" fmla="*/ 6212268 w 6212267"/>
              <a:gd name="connsiteY1" fmla="*/ 0 h 6868873"/>
              <a:gd name="connsiteX2" fmla="*/ 1796677 w 6212267"/>
              <a:gd name="connsiteY2" fmla="*/ 4417336 h 6868873"/>
              <a:gd name="connsiteX3" fmla="*/ 0 w 6212267"/>
              <a:gd name="connsiteY3" fmla="*/ 5777770 h 6868873"/>
              <a:gd name="connsiteX4" fmla="*/ 0 w 6212267"/>
              <a:gd name="connsiteY4" fmla="*/ 6868874 h 6868873"/>
              <a:gd name="connsiteX5" fmla="*/ 6212268 w 6212267"/>
              <a:gd name="connsiteY5" fmla="*/ 6868874 h 686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2267" h="6868873">
                <a:moveTo>
                  <a:pt x="6212268" y="6868874"/>
                </a:moveTo>
                <a:lnTo>
                  <a:pt x="6212268" y="0"/>
                </a:lnTo>
                <a:lnTo>
                  <a:pt x="1796677" y="4417336"/>
                </a:lnTo>
                <a:cubicBezTo>
                  <a:pt x="1126082" y="5088166"/>
                  <a:pt x="519608" y="5512547"/>
                  <a:pt x="0" y="5777770"/>
                </a:cubicBezTo>
                <a:lnTo>
                  <a:pt x="0" y="6868874"/>
                </a:lnTo>
                <a:lnTo>
                  <a:pt x="6212268" y="6868874"/>
                </a:lnTo>
                <a:close/>
              </a:path>
            </a:pathLst>
          </a:custGeom>
          <a:solidFill>
            <a:schemeClr val="accent1"/>
          </a:solidFill>
          <a:ln w="11535" cap="flat">
            <a:solidFill>
              <a:schemeClr val="accent1"/>
            </a:solid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1B4EB234-DB26-D2B9-6394-EA97F26864A6}"/>
              </a:ext>
            </a:extLst>
          </p:cNvPr>
          <p:cNvSpPr/>
          <p:nvPr userDrawn="1"/>
        </p:nvSpPr>
        <p:spPr>
          <a:xfrm>
            <a:off x="0" y="4107295"/>
            <a:ext cx="5983422" cy="2757736"/>
          </a:xfrm>
          <a:custGeom>
            <a:avLst/>
            <a:gdLst>
              <a:gd name="connsiteX0" fmla="*/ 0 w 5983422"/>
              <a:gd name="connsiteY0" fmla="*/ 0 h 2757736"/>
              <a:gd name="connsiteX1" fmla="*/ 0 w 5983422"/>
              <a:gd name="connsiteY1" fmla="*/ 2757736 h 2757736"/>
              <a:gd name="connsiteX2" fmla="*/ 5983423 w 5983422"/>
              <a:gd name="connsiteY2" fmla="*/ 2757736 h 2757736"/>
              <a:gd name="connsiteX3" fmla="*/ 5983423 w 5983422"/>
              <a:gd name="connsiteY3" fmla="*/ 1666633 h 2757736"/>
              <a:gd name="connsiteX4" fmla="*/ 4806520 w 5983422"/>
              <a:gd name="connsiteY4" fmla="*/ 2059605 h 2757736"/>
              <a:gd name="connsiteX5" fmla="*/ 477737 w 5983422"/>
              <a:gd name="connsiteY5" fmla="*/ 546209 h 2757736"/>
              <a:gd name="connsiteX6" fmla="*/ 0 w 5983422"/>
              <a:gd name="connsiteY6" fmla="*/ 0 h 275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3422" h="2757736">
                <a:moveTo>
                  <a:pt x="0" y="0"/>
                </a:moveTo>
                <a:lnTo>
                  <a:pt x="0" y="2757736"/>
                </a:lnTo>
                <a:lnTo>
                  <a:pt x="5983423" y="2757736"/>
                </a:lnTo>
                <a:lnTo>
                  <a:pt x="5983423" y="1666633"/>
                </a:lnTo>
                <a:cubicBezTo>
                  <a:pt x="5514844" y="1905813"/>
                  <a:pt x="5116915" y="2015583"/>
                  <a:pt x="4806520" y="2059605"/>
                </a:cubicBezTo>
                <a:cubicBezTo>
                  <a:pt x="3618360" y="2232886"/>
                  <a:pt x="1857337" y="1926341"/>
                  <a:pt x="477737" y="546209"/>
                </a:cubicBezTo>
                <a:cubicBezTo>
                  <a:pt x="301317" y="369721"/>
                  <a:pt x="142555" y="186966"/>
                  <a:pt x="0" y="0"/>
                </a:cubicBezTo>
              </a:path>
            </a:pathLst>
          </a:custGeom>
          <a:solidFill>
            <a:srgbClr val="7A3500"/>
          </a:solidFill>
          <a:ln w="12700" cap="flat">
            <a:solidFill>
              <a:srgbClr val="7A3500"/>
            </a:solidFill>
            <a:prstDash val="solid"/>
            <a:miter/>
          </a:ln>
        </p:spPr>
        <p:txBody>
          <a:bodyPr rtlCol="0" anchor="ctr"/>
          <a:lstStyle/>
          <a:p>
            <a:endParaRPr lang="nl-NL"/>
          </a:p>
        </p:txBody>
      </p:sp>
      <p:sp>
        <p:nvSpPr>
          <p:cNvPr id="28" name="Vrije vorm 27">
            <a:extLst>
              <a:ext uri="{FF2B5EF4-FFF2-40B4-BE49-F238E27FC236}">
                <a16:creationId xmlns:a16="http://schemas.microsoft.com/office/drawing/2014/main" id="{3658FEB1-68B3-77E1-5752-DAE16069FAC9}"/>
              </a:ext>
            </a:extLst>
          </p:cNvPr>
          <p:cNvSpPr/>
          <p:nvPr userDrawn="1"/>
        </p:nvSpPr>
        <p:spPr>
          <a:xfrm>
            <a:off x="5983422" y="-3848"/>
            <a:ext cx="6212267" cy="5777776"/>
          </a:xfrm>
          <a:custGeom>
            <a:avLst/>
            <a:gdLst>
              <a:gd name="connsiteX0" fmla="*/ 0 w 6212267"/>
              <a:gd name="connsiteY0" fmla="*/ 5777777 h 5777776"/>
              <a:gd name="connsiteX1" fmla="*/ 1796677 w 6212267"/>
              <a:gd name="connsiteY1" fmla="*/ 4417331 h 5777776"/>
              <a:gd name="connsiteX2" fmla="*/ 6212268 w 6212267"/>
              <a:gd name="connsiteY2" fmla="*/ 0 h 5777776"/>
              <a:gd name="connsiteX3" fmla="*/ 0 w 6212267"/>
              <a:gd name="connsiteY3" fmla="*/ 11 h 5777776"/>
              <a:gd name="connsiteX4" fmla="*/ 0 w 6212267"/>
              <a:gd name="connsiteY4" fmla="*/ 5777777 h 5777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2267" h="5777776">
                <a:moveTo>
                  <a:pt x="0" y="5777777"/>
                </a:moveTo>
                <a:cubicBezTo>
                  <a:pt x="519596" y="5512553"/>
                  <a:pt x="1126082" y="5088161"/>
                  <a:pt x="1796677" y="4417331"/>
                </a:cubicBezTo>
                <a:lnTo>
                  <a:pt x="6212268" y="0"/>
                </a:lnTo>
                <a:lnTo>
                  <a:pt x="0" y="11"/>
                </a:lnTo>
                <a:lnTo>
                  <a:pt x="0" y="5777777"/>
                </a:lnTo>
                <a:close/>
              </a:path>
            </a:pathLst>
          </a:custGeom>
          <a:solidFill>
            <a:srgbClr val="7A3500"/>
          </a:solidFill>
          <a:ln w="12700" cap="flat">
            <a:solidFill>
              <a:srgbClr val="7A3500"/>
            </a:solidFill>
            <a:prstDash val="solid"/>
            <a:miter/>
          </a:ln>
        </p:spPr>
        <p:txBody>
          <a:bodyPr rtlCol="0" anchor="ctr"/>
          <a:lstStyle/>
          <a:p>
            <a:endParaRPr lang="nl-NL"/>
          </a:p>
        </p:txBody>
      </p:sp>
      <p:sp>
        <p:nvSpPr>
          <p:cNvPr id="2" name="Titel 1">
            <a:extLst>
              <a:ext uri="{FF2B5EF4-FFF2-40B4-BE49-F238E27FC236}">
                <a16:creationId xmlns:a16="http://schemas.microsoft.com/office/drawing/2014/main" id="{9C22CEDD-0BA5-7B67-45FA-777969FEB4B5}"/>
              </a:ext>
            </a:extLst>
          </p:cNvPr>
          <p:cNvSpPr>
            <a:spLocks noGrp="1"/>
          </p:cNvSpPr>
          <p:nvPr>
            <p:ph type="title" hasCustomPrompt="1"/>
          </p:nvPr>
        </p:nvSpPr>
        <p:spPr>
          <a:xfrm>
            <a:off x="6588049" y="4936253"/>
            <a:ext cx="5016576" cy="692497"/>
          </a:xfrm>
        </p:spPr>
        <p:txBody>
          <a:bodyPr wrap="square" anchor="b" anchorCtr="0">
            <a:spAutoFit/>
          </a:bodyPr>
          <a:lstStyle>
            <a:lvl1pPr>
              <a:defRPr sz="5000">
                <a:solidFill>
                  <a:schemeClr val="bg1"/>
                </a:solidFill>
              </a:defRPr>
            </a:lvl1pPr>
          </a:lstStyle>
          <a:p>
            <a:r>
              <a:rPr lang="nl-NL" dirty="0"/>
              <a:t>Titel</a:t>
            </a:r>
          </a:p>
        </p:txBody>
      </p:sp>
      <p:grpSp>
        <p:nvGrpSpPr>
          <p:cNvPr id="5" name="Groep 4">
            <a:extLst>
              <a:ext uri="{FF2B5EF4-FFF2-40B4-BE49-F238E27FC236}">
                <a16:creationId xmlns:a16="http://schemas.microsoft.com/office/drawing/2014/main" id="{82117802-456D-6AF4-E7D2-18FB3465A58A}"/>
              </a:ext>
            </a:extLst>
          </p:cNvPr>
          <p:cNvGrpSpPr/>
          <p:nvPr userDrawn="1"/>
        </p:nvGrpSpPr>
        <p:grpSpPr>
          <a:xfrm>
            <a:off x="9131077" y="510242"/>
            <a:ext cx="2473548" cy="670910"/>
            <a:chOff x="3101010" y="1249097"/>
            <a:chExt cx="3978412" cy="1079078"/>
          </a:xfrm>
          <a:solidFill>
            <a:schemeClr val="bg1"/>
          </a:solidFill>
        </p:grpSpPr>
        <p:sp>
          <p:nvSpPr>
            <p:cNvPr id="6" name="Vrije vorm 5">
              <a:extLst>
                <a:ext uri="{FF2B5EF4-FFF2-40B4-BE49-F238E27FC236}">
                  <a16:creationId xmlns:a16="http://schemas.microsoft.com/office/drawing/2014/main" id="{0FED2527-BEA9-7AF9-7316-311C3BF89D23}"/>
                </a:ext>
              </a:extLst>
            </p:cNvPr>
            <p:cNvSpPr/>
            <p:nvPr/>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1B541DF7-90F8-4878-482E-CC59764E06C7}"/>
                </a:ext>
              </a:extLst>
            </p:cNvPr>
            <p:cNvSpPr/>
            <p:nvPr/>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9733BCED-EAE3-C324-7205-D83F9338DEB0}"/>
                </a:ext>
              </a:extLst>
            </p:cNvPr>
            <p:cNvSpPr/>
            <p:nvPr/>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A8590B33-E181-BB42-A07C-965B75F49726}"/>
                </a:ext>
              </a:extLst>
            </p:cNvPr>
            <p:cNvSpPr/>
            <p:nvPr/>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D8B49135-7172-D2B7-4D24-88D7B3B3F609}"/>
                </a:ext>
              </a:extLst>
            </p:cNvPr>
            <p:cNvSpPr/>
            <p:nvPr/>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523CEF53-D3F5-3A4D-FD65-B951F455A647}"/>
                </a:ext>
              </a:extLst>
            </p:cNvPr>
            <p:cNvSpPr/>
            <p:nvPr/>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28721FAD-2360-9AB6-4B28-87610BC5E47C}"/>
                </a:ext>
              </a:extLst>
            </p:cNvPr>
            <p:cNvSpPr/>
            <p:nvPr/>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DA9B6AF1-3B48-8780-24BF-AC783FE8A52B}"/>
                </a:ext>
              </a:extLst>
            </p:cNvPr>
            <p:cNvSpPr/>
            <p:nvPr/>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5" name="Subtitle 2">
            <a:extLst>
              <a:ext uri="{FF2B5EF4-FFF2-40B4-BE49-F238E27FC236}">
                <a16:creationId xmlns:a16="http://schemas.microsoft.com/office/drawing/2014/main" id="{5FC5C1CF-68A8-8DCD-2F45-C441E28129A6}"/>
              </a:ext>
            </a:extLst>
          </p:cNvPr>
          <p:cNvSpPr>
            <a:spLocks noGrp="1"/>
          </p:cNvSpPr>
          <p:nvPr>
            <p:ph type="subTitle" idx="1" hasCustomPrompt="1"/>
          </p:nvPr>
        </p:nvSpPr>
        <p:spPr>
          <a:xfrm>
            <a:off x="6588049" y="5829147"/>
            <a:ext cx="5016576" cy="430887"/>
          </a:xfrm>
          <a:noFill/>
        </p:spPr>
        <p:txBody>
          <a:bodyPr wrap="square" anchor="b" anchorCtr="0">
            <a:spAutoFit/>
          </a:bodyPr>
          <a:lstStyle>
            <a:lvl1pPr marL="0" indent="0" algn="l">
              <a:buNone/>
              <a:defRPr sz="2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a:t>Subtitel</a:t>
            </a:r>
          </a:p>
        </p:txBody>
      </p:sp>
      <p:sp>
        <p:nvSpPr>
          <p:cNvPr id="16" name="Content Placeholder 2">
            <a:extLst>
              <a:ext uri="{FF2B5EF4-FFF2-40B4-BE49-F238E27FC236}">
                <a16:creationId xmlns:a16="http://schemas.microsoft.com/office/drawing/2014/main" id="{EFB7DEB3-7883-503E-2476-9B5D764EA356}"/>
              </a:ext>
            </a:extLst>
          </p:cNvPr>
          <p:cNvSpPr>
            <a:spLocks noGrp="1"/>
          </p:cNvSpPr>
          <p:nvPr>
            <p:ph idx="17" hasCustomPrompt="1"/>
          </p:nvPr>
        </p:nvSpPr>
        <p:spPr>
          <a:xfrm>
            <a:off x="587375" y="6044590"/>
            <a:ext cx="1428991" cy="215444"/>
          </a:xfrm>
          <a:noFill/>
        </p:spPr>
        <p:txBody>
          <a:bodyPr wrap="square" anchor="ctr">
            <a:spAutoFit/>
          </a:bodyPr>
          <a:lstStyle>
            <a:lvl1pPr>
              <a:defRPr sz="1400">
                <a:solidFill>
                  <a:schemeClr val="bg1"/>
                </a:solidFill>
              </a:defRPr>
            </a:lvl1pPr>
            <a:lvl2pPr marL="0" indent="0">
              <a:spcAft>
                <a:spcPts val="0"/>
              </a:spcAft>
              <a:buNone/>
              <a:defRPr sz="1400">
                <a:solidFill>
                  <a:schemeClr val="bg1"/>
                </a:solidFill>
              </a:defRPr>
            </a:lvl2pPr>
          </a:lstStyle>
          <a:p>
            <a:pPr lvl="0"/>
            <a:r>
              <a:rPr lang="nl-NL" noProof="0"/>
              <a:t>Datum </a:t>
            </a:r>
          </a:p>
        </p:txBody>
      </p:sp>
    </p:spTree>
    <p:extLst>
      <p:ext uri="{BB962C8B-B14F-4D97-AF65-F5344CB8AC3E}">
        <p14:creationId xmlns:p14="http://schemas.microsoft.com/office/powerpoint/2010/main" val="34291347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el II / Geen beeld">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22CEDD-0BA5-7B67-45FA-777969FEB4B5}"/>
              </a:ext>
            </a:extLst>
          </p:cNvPr>
          <p:cNvSpPr>
            <a:spLocks noGrp="1"/>
          </p:cNvSpPr>
          <p:nvPr>
            <p:ph type="title" hasCustomPrompt="1"/>
          </p:nvPr>
        </p:nvSpPr>
        <p:spPr>
          <a:xfrm>
            <a:off x="1137600" y="4026980"/>
            <a:ext cx="5292000" cy="692497"/>
          </a:xfrm>
        </p:spPr>
        <p:txBody>
          <a:bodyPr wrap="square" anchor="b" anchorCtr="0">
            <a:spAutoFit/>
          </a:bodyPr>
          <a:lstStyle>
            <a:lvl1pPr>
              <a:defRPr sz="5000">
                <a:solidFill>
                  <a:schemeClr val="bg1"/>
                </a:solidFill>
              </a:defRPr>
            </a:lvl1pPr>
          </a:lstStyle>
          <a:p>
            <a:r>
              <a:rPr lang="nl-NL" dirty="0"/>
              <a:t>Titel</a:t>
            </a:r>
          </a:p>
        </p:txBody>
      </p:sp>
      <p:grpSp>
        <p:nvGrpSpPr>
          <p:cNvPr id="5" name="Groep 4">
            <a:extLst>
              <a:ext uri="{FF2B5EF4-FFF2-40B4-BE49-F238E27FC236}">
                <a16:creationId xmlns:a16="http://schemas.microsoft.com/office/drawing/2014/main" id="{82117802-456D-6AF4-E7D2-18FB3465A58A}"/>
              </a:ext>
            </a:extLst>
          </p:cNvPr>
          <p:cNvGrpSpPr/>
          <p:nvPr userDrawn="1"/>
        </p:nvGrpSpPr>
        <p:grpSpPr>
          <a:xfrm>
            <a:off x="9131077" y="510242"/>
            <a:ext cx="2473548" cy="670910"/>
            <a:chOff x="3101010" y="1249097"/>
            <a:chExt cx="3978412" cy="1079078"/>
          </a:xfrm>
          <a:solidFill>
            <a:schemeClr val="bg1"/>
          </a:solidFill>
        </p:grpSpPr>
        <p:sp>
          <p:nvSpPr>
            <p:cNvPr id="6" name="Vrije vorm 5">
              <a:extLst>
                <a:ext uri="{FF2B5EF4-FFF2-40B4-BE49-F238E27FC236}">
                  <a16:creationId xmlns:a16="http://schemas.microsoft.com/office/drawing/2014/main" id="{0FED2527-BEA9-7AF9-7316-311C3BF89D23}"/>
                </a:ext>
              </a:extLst>
            </p:cNvPr>
            <p:cNvSpPr/>
            <p:nvPr/>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1B541DF7-90F8-4878-482E-CC59764E06C7}"/>
                </a:ext>
              </a:extLst>
            </p:cNvPr>
            <p:cNvSpPr/>
            <p:nvPr/>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9733BCED-EAE3-C324-7205-D83F9338DEB0}"/>
                </a:ext>
              </a:extLst>
            </p:cNvPr>
            <p:cNvSpPr/>
            <p:nvPr/>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A8590B33-E181-BB42-A07C-965B75F49726}"/>
                </a:ext>
              </a:extLst>
            </p:cNvPr>
            <p:cNvSpPr/>
            <p:nvPr/>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D8B49135-7172-D2B7-4D24-88D7B3B3F609}"/>
                </a:ext>
              </a:extLst>
            </p:cNvPr>
            <p:cNvSpPr/>
            <p:nvPr/>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523CEF53-D3F5-3A4D-FD65-B951F455A647}"/>
                </a:ext>
              </a:extLst>
            </p:cNvPr>
            <p:cNvSpPr/>
            <p:nvPr/>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28721FAD-2360-9AB6-4B28-87610BC5E47C}"/>
                </a:ext>
              </a:extLst>
            </p:cNvPr>
            <p:cNvSpPr/>
            <p:nvPr/>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DA9B6AF1-3B48-8780-24BF-AC783FE8A52B}"/>
                </a:ext>
              </a:extLst>
            </p:cNvPr>
            <p:cNvSpPr/>
            <p:nvPr/>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5" name="Subtitle 2">
            <a:extLst>
              <a:ext uri="{FF2B5EF4-FFF2-40B4-BE49-F238E27FC236}">
                <a16:creationId xmlns:a16="http://schemas.microsoft.com/office/drawing/2014/main" id="{5FC5C1CF-68A8-8DCD-2F45-C441E28129A6}"/>
              </a:ext>
            </a:extLst>
          </p:cNvPr>
          <p:cNvSpPr>
            <a:spLocks noGrp="1"/>
          </p:cNvSpPr>
          <p:nvPr>
            <p:ph type="subTitle" idx="1" hasCustomPrompt="1"/>
          </p:nvPr>
        </p:nvSpPr>
        <p:spPr>
          <a:xfrm>
            <a:off x="1137600" y="4919874"/>
            <a:ext cx="5292000" cy="430887"/>
          </a:xfrm>
          <a:noFill/>
        </p:spPr>
        <p:txBody>
          <a:bodyPr wrap="square" anchor="t">
            <a:spAutoFit/>
          </a:bodyPr>
          <a:lstStyle>
            <a:lvl1pPr marL="0" indent="0" algn="l">
              <a:buNone/>
              <a:defRPr sz="2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a:t>Subtitel</a:t>
            </a:r>
          </a:p>
        </p:txBody>
      </p:sp>
      <p:pic>
        <p:nvPicPr>
          <p:cNvPr id="4" name="Graphic 3">
            <a:extLst>
              <a:ext uri="{FF2B5EF4-FFF2-40B4-BE49-F238E27FC236}">
                <a16:creationId xmlns:a16="http://schemas.microsoft.com/office/drawing/2014/main" id="{A4F941E7-99FA-D165-BC53-505DF5EF9F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 y="0"/>
            <a:ext cx="11129555" cy="6858000"/>
          </a:xfrm>
          <a:prstGeom prst="rect">
            <a:avLst/>
          </a:prstGeom>
        </p:spPr>
      </p:pic>
      <p:sp>
        <p:nvSpPr>
          <p:cNvPr id="3" name="Content Placeholder 2">
            <a:extLst>
              <a:ext uri="{FF2B5EF4-FFF2-40B4-BE49-F238E27FC236}">
                <a16:creationId xmlns:a16="http://schemas.microsoft.com/office/drawing/2014/main" id="{B23DEBED-4FB8-EE29-CE1E-3BC16415B8A6}"/>
              </a:ext>
            </a:extLst>
          </p:cNvPr>
          <p:cNvSpPr>
            <a:spLocks noGrp="1"/>
          </p:cNvSpPr>
          <p:nvPr>
            <p:ph idx="17" hasCustomPrompt="1"/>
          </p:nvPr>
        </p:nvSpPr>
        <p:spPr>
          <a:xfrm>
            <a:off x="1137600" y="6049730"/>
            <a:ext cx="5292000" cy="215444"/>
          </a:xfrm>
          <a:noFill/>
        </p:spPr>
        <p:txBody>
          <a:bodyPr wrap="square" anchor="ctr">
            <a:spAutoFit/>
          </a:bodyPr>
          <a:lstStyle>
            <a:lvl1pPr>
              <a:defRPr sz="1400">
                <a:solidFill>
                  <a:schemeClr val="bg1"/>
                </a:solidFill>
              </a:defRPr>
            </a:lvl1pPr>
            <a:lvl2pPr marL="0" indent="0">
              <a:spcAft>
                <a:spcPts val="0"/>
              </a:spcAft>
              <a:buNone/>
              <a:defRPr sz="1400">
                <a:solidFill>
                  <a:schemeClr val="bg1"/>
                </a:solidFill>
              </a:defRPr>
            </a:lvl2pPr>
          </a:lstStyle>
          <a:p>
            <a:pPr lvl="0"/>
            <a:r>
              <a:rPr lang="nl-NL" noProof="0"/>
              <a:t>Datum </a:t>
            </a:r>
          </a:p>
        </p:txBody>
      </p:sp>
    </p:spTree>
    <p:extLst>
      <p:ext uri="{BB962C8B-B14F-4D97-AF65-F5344CB8AC3E}">
        <p14:creationId xmlns:p14="http://schemas.microsoft.com/office/powerpoint/2010/main" val="42372847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ussenslide I">
    <p:bg>
      <p:bgPr>
        <a:solidFill>
          <a:schemeClr val="accent6"/>
        </a:solidFill>
        <a:effectLst/>
      </p:bgPr>
    </p:bg>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52194ED2-1E66-F63A-7D0B-3BC47230579C}"/>
              </a:ext>
            </a:extLst>
          </p:cNvPr>
          <p:cNvSpPr/>
          <p:nvPr userDrawn="1"/>
        </p:nvSpPr>
        <p:spPr>
          <a:xfrm>
            <a:off x="6096000"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rgbClr val="7A3500"/>
          </a:solidFill>
          <a:ln w="12700" cap="flat">
            <a:solidFill>
              <a:srgbClr val="7A3500"/>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11" name="Freeform: Shape 10">
            <a:extLst>
              <a:ext uri="{FF2B5EF4-FFF2-40B4-BE49-F238E27FC236}">
                <a16:creationId xmlns:a16="http://schemas.microsoft.com/office/drawing/2014/main" id="{CE230D00-821E-A97C-3C64-78835ACBF57E}"/>
              </a:ext>
            </a:extLst>
          </p:cNvPr>
          <p:cNvSpPr/>
          <p:nvPr userDrawn="1"/>
        </p:nvSpPr>
        <p:spPr>
          <a:xfrm>
            <a:off x="0" y="585773"/>
            <a:ext cx="6096000" cy="6272226"/>
          </a:xfrm>
          <a:custGeom>
            <a:avLst/>
            <a:gdLst>
              <a:gd name="connsiteX0" fmla="*/ 4998000 w 6096000"/>
              <a:gd name="connsiteY0" fmla="*/ 1045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272226">
                <a:moveTo>
                  <a:pt x="4998000" y="1045"/>
                </a:moveTo>
                <a:cubicBezTo>
                  <a:pt x="5278788" y="-4567"/>
                  <a:pt x="5544424" y="12614"/>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lose/>
              </a:path>
            </a:pathLst>
          </a:cu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3" name="Freeform: Shape 12">
            <a:extLst>
              <a:ext uri="{FF2B5EF4-FFF2-40B4-BE49-F238E27FC236}">
                <a16:creationId xmlns:a16="http://schemas.microsoft.com/office/drawing/2014/main" id="{0CAF0B02-B07D-6CBB-91CE-6DF133882610}"/>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rgbClr val="7A3500"/>
          </a:solidFill>
          <a:ln w="12700" cap="flat">
            <a:solidFill>
              <a:srgbClr val="7A3500"/>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4" name="Freeform: Shape 3">
            <a:extLst>
              <a:ext uri="{FF2B5EF4-FFF2-40B4-BE49-F238E27FC236}">
                <a16:creationId xmlns:a16="http://schemas.microsoft.com/office/drawing/2014/main" id="{F9643337-EDA8-DCC2-5C96-060ED8196F27}"/>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E2391183-0B13-93D9-5DC9-1F76830F77F4}"/>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2" name="Title 1">
            <a:extLst>
              <a:ext uri="{FF2B5EF4-FFF2-40B4-BE49-F238E27FC236}">
                <a16:creationId xmlns:a16="http://schemas.microsoft.com/office/drawing/2014/main" id="{C2AF113C-2F48-BD5F-C395-C449D5F33877}"/>
              </a:ext>
            </a:extLst>
          </p:cNvPr>
          <p:cNvSpPr>
            <a:spLocks noGrp="1"/>
          </p:cNvSpPr>
          <p:nvPr>
            <p:ph type="ctrTitle" hasCustomPrompt="1"/>
          </p:nvPr>
        </p:nvSpPr>
        <p:spPr>
          <a:xfrm>
            <a:off x="1137600" y="4218920"/>
            <a:ext cx="6812280" cy="874022"/>
          </a:xfrm>
          <a:noFill/>
        </p:spPr>
        <p:txBody>
          <a:bodyPr wrap="square" anchor="b">
            <a:spAutoFit/>
          </a:bodyPr>
          <a:lstStyle>
            <a:lvl1pPr algn="l">
              <a:lnSpc>
                <a:spcPct val="80000"/>
              </a:lnSpc>
              <a:defRPr sz="7000" b="1">
                <a:solidFill>
                  <a:schemeClr val="bg1"/>
                </a:solidFill>
                <a:latin typeface="+mj-lt"/>
              </a:defRPr>
            </a:lvl1pPr>
          </a:lstStyle>
          <a:p>
            <a:r>
              <a:rPr lang="nl-NL" noProof="0" dirty="0"/>
              <a:t>Tekst</a:t>
            </a:r>
          </a:p>
        </p:txBody>
      </p:sp>
      <p:grpSp>
        <p:nvGrpSpPr>
          <p:cNvPr id="16" name="Group 15">
            <a:extLst>
              <a:ext uri="{FF2B5EF4-FFF2-40B4-BE49-F238E27FC236}">
                <a16:creationId xmlns:a16="http://schemas.microsoft.com/office/drawing/2014/main" id="{C0E06EFE-A610-BA6D-483F-746DFC2BA8BA}"/>
              </a:ext>
            </a:extLst>
          </p:cNvPr>
          <p:cNvGrpSpPr/>
          <p:nvPr userDrawn="1"/>
        </p:nvGrpSpPr>
        <p:grpSpPr>
          <a:xfrm>
            <a:off x="2335919" y="-761999"/>
            <a:ext cx="7122406" cy="608276"/>
            <a:chOff x="2335919" y="-761999"/>
            <a:chExt cx="7122406" cy="608276"/>
          </a:xfrm>
        </p:grpSpPr>
        <p:sp>
          <p:nvSpPr>
            <p:cNvPr id="17" name="Rectangle 16">
              <a:extLst>
                <a:ext uri="{FF2B5EF4-FFF2-40B4-BE49-F238E27FC236}">
                  <a16:creationId xmlns:a16="http://schemas.microsoft.com/office/drawing/2014/main" id="{AD8974B7-DF5D-E351-AA6A-652426C70EF6}"/>
                </a:ext>
              </a:extLst>
            </p:cNvPr>
            <p:cNvSpPr/>
            <p:nvPr userDrawn="1"/>
          </p:nvSpPr>
          <p:spPr>
            <a:xfrm>
              <a:off x="2733675" y="-761999"/>
              <a:ext cx="6724650" cy="608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20" name="TextBox 19">
              <a:extLst>
                <a:ext uri="{FF2B5EF4-FFF2-40B4-BE49-F238E27FC236}">
                  <a16:creationId xmlns:a16="http://schemas.microsoft.com/office/drawing/2014/main" id="{0E88B590-2DC6-E424-4C9A-67F70CE0DCCB}"/>
                </a:ext>
              </a:extLst>
            </p:cNvPr>
            <p:cNvSpPr txBox="1"/>
            <p:nvPr userDrawn="1"/>
          </p:nvSpPr>
          <p:spPr>
            <a:xfrm>
              <a:off x="2335919" y="-581676"/>
              <a:ext cx="6337430" cy="261610"/>
            </a:xfrm>
            <a:prstGeom prst="rect">
              <a:avLst/>
            </a:prstGeom>
            <a:noFill/>
          </p:spPr>
          <p:txBody>
            <a:bodyPr wrap="square" rtlCol="0">
              <a:spAutoFit/>
            </a:bodyPr>
            <a:lstStyle/>
            <a:p>
              <a:pPr algn="ctr"/>
              <a:r>
                <a:rPr lang="nl-NL" sz="1100" noProof="1">
                  <a:solidFill>
                    <a:schemeClr val="tx1"/>
                  </a:solidFill>
                </a:rPr>
                <a:t>1 var. kleurvlak (accentkleur) via wijzigen achtergrond / kies alleen deze accentkleuren</a:t>
              </a:r>
            </a:p>
          </p:txBody>
        </p:sp>
        <p:grpSp>
          <p:nvGrpSpPr>
            <p:cNvPr id="21" name="Group 20">
              <a:extLst>
                <a:ext uri="{FF2B5EF4-FFF2-40B4-BE49-F238E27FC236}">
                  <a16:creationId xmlns:a16="http://schemas.microsoft.com/office/drawing/2014/main" id="{2C18DEE8-6CD6-6589-168C-9BAFD1A93A58}"/>
                </a:ext>
              </a:extLst>
            </p:cNvPr>
            <p:cNvGrpSpPr/>
            <p:nvPr userDrawn="1"/>
          </p:nvGrpSpPr>
          <p:grpSpPr>
            <a:xfrm>
              <a:off x="8550833" y="-543417"/>
              <a:ext cx="743864" cy="176763"/>
              <a:chOff x="4205004" y="-519709"/>
              <a:chExt cx="1108072" cy="263308"/>
            </a:xfrm>
          </p:grpSpPr>
          <p:sp>
            <p:nvSpPr>
              <p:cNvPr id="23" name="Rectangle 22">
                <a:extLst>
                  <a:ext uri="{FF2B5EF4-FFF2-40B4-BE49-F238E27FC236}">
                    <a16:creationId xmlns:a16="http://schemas.microsoft.com/office/drawing/2014/main" id="{E22D231A-8D12-29DD-E039-2CFF028FF8C8}"/>
                  </a:ext>
                </a:extLst>
              </p:cNvPr>
              <p:cNvSpPr/>
              <p:nvPr userDrawn="1"/>
            </p:nvSpPr>
            <p:spPr>
              <a:xfrm>
                <a:off x="4205004" y="-519709"/>
                <a:ext cx="276225" cy="26330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24" name="Rectangle 23">
                <a:extLst>
                  <a:ext uri="{FF2B5EF4-FFF2-40B4-BE49-F238E27FC236}">
                    <a16:creationId xmlns:a16="http://schemas.microsoft.com/office/drawing/2014/main" id="{AD916594-0ECB-32C9-CF69-837A00B0A3E9}"/>
                  </a:ext>
                </a:extLst>
              </p:cNvPr>
              <p:cNvSpPr/>
              <p:nvPr userDrawn="1"/>
            </p:nvSpPr>
            <p:spPr>
              <a:xfrm>
                <a:off x="5036851" y="-519709"/>
                <a:ext cx="276225" cy="263308"/>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25" name="Rectangle 24">
                <a:extLst>
                  <a:ext uri="{FF2B5EF4-FFF2-40B4-BE49-F238E27FC236}">
                    <a16:creationId xmlns:a16="http://schemas.microsoft.com/office/drawing/2014/main" id="{D27A1A8C-95D2-158A-175B-CAACBC090CBF}"/>
                  </a:ext>
                </a:extLst>
              </p:cNvPr>
              <p:cNvSpPr/>
              <p:nvPr userDrawn="1"/>
            </p:nvSpPr>
            <p:spPr>
              <a:xfrm>
                <a:off x="4631249" y="-519709"/>
                <a:ext cx="276225" cy="263308"/>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cxnSp>
          <p:nvCxnSpPr>
            <p:cNvPr id="22" name="Straight Connector 21">
              <a:extLst>
                <a:ext uri="{FF2B5EF4-FFF2-40B4-BE49-F238E27FC236}">
                  <a16:creationId xmlns:a16="http://schemas.microsoft.com/office/drawing/2014/main" id="{5C80E51E-E940-C170-98D0-BB6CA635E4A3}"/>
                </a:ext>
              </a:extLst>
            </p:cNvPr>
            <p:cNvCxnSpPr>
              <a:cxnSpLocks/>
            </p:cNvCxnSpPr>
            <p:nvPr userDrawn="1"/>
          </p:nvCxnSpPr>
          <p:spPr>
            <a:xfrm>
              <a:off x="2657475" y="-255323"/>
              <a:ext cx="67625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ep 4">
            <a:extLst>
              <a:ext uri="{FF2B5EF4-FFF2-40B4-BE49-F238E27FC236}">
                <a16:creationId xmlns:a16="http://schemas.microsoft.com/office/drawing/2014/main" id="{634E4C8B-A135-0829-2109-6ED86928FCC6}"/>
              </a:ext>
            </a:extLst>
          </p:cNvPr>
          <p:cNvGrpSpPr/>
          <p:nvPr userDrawn="1"/>
        </p:nvGrpSpPr>
        <p:grpSpPr>
          <a:xfrm>
            <a:off x="10014482" y="5839298"/>
            <a:ext cx="1599388" cy="433809"/>
            <a:chOff x="3101010" y="1249096"/>
            <a:chExt cx="3978412" cy="1079079"/>
          </a:xfrm>
          <a:solidFill>
            <a:schemeClr val="bg1"/>
          </a:solidFill>
        </p:grpSpPr>
        <p:sp>
          <p:nvSpPr>
            <p:cNvPr id="7" name="Vrije vorm 6">
              <a:extLst>
                <a:ext uri="{FF2B5EF4-FFF2-40B4-BE49-F238E27FC236}">
                  <a16:creationId xmlns:a16="http://schemas.microsoft.com/office/drawing/2014/main" id="{764E17BB-0466-62C1-AA12-4373A279DB70}"/>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662147A3-81AE-7CDA-06DF-FF1E8DF73402}"/>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70AC099C-7523-D2CF-3795-18329AD08DA7}"/>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B9FD0D2E-56C9-CF2A-8170-D87C44F823C8}"/>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459E4B52-8C3D-4338-B9F8-FD503BFDB89D}"/>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A6D01950-9A65-3957-375E-DF7560CF4701}"/>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59E4B37D-54B5-22BE-7E03-31D3562EBF36}"/>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14D952A8-2334-0AD0-33F3-1E0F3DBD04F4}"/>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2951760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ussenslide II">
    <p:bg>
      <p:bgPr>
        <a:solidFill>
          <a:schemeClr val="accent6"/>
        </a:solidFill>
        <a:effectLst/>
      </p:bgPr>
    </p:bg>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570DB4A5-F388-FFFE-238D-09A1BEFC508A}"/>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7A3500"/>
          </a:solidFill>
          <a:ln w="12700" cap="flat">
            <a:solidFill>
              <a:srgbClr val="7A3500"/>
            </a:solidFill>
            <a:prstDash val="solid"/>
            <a:miter/>
          </a:ln>
        </p:spPr>
        <p:txBody>
          <a:bodyPr rtlCol="0" anchor="ctr"/>
          <a:lstStyle/>
          <a:p>
            <a:pPr lvl="0"/>
            <a:endParaRPr lang="en-GB"/>
          </a:p>
        </p:txBody>
      </p:sp>
      <p:sp>
        <p:nvSpPr>
          <p:cNvPr id="35" name="Freeform: Shape 34">
            <a:extLst>
              <a:ext uri="{FF2B5EF4-FFF2-40B4-BE49-F238E27FC236}">
                <a16:creationId xmlns:a16="http://schemas.microsoft.com/office/drawing/2014/main" id="{3F37BB5F-029B-9E59-4213-29E645BA78DD}"/>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26" name="Freeform: Shape 25">
            <a:extLst>
              <a:ext uri="{FF2B5EF4-FFF2-40B4-BE49-F238E27FC236}">
                <a16:creationId xmlns:a16="http://schemas.microsoft.com/office/drawing/2014/main" id="{7F177631-B9E3-2DA4-BF3D-A3A874A04D48}"/>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2" name="Freeform: Shape 1">
            <a:extLst>
              <a:ext uri="{FF2B5EF4-FFF2-40B4-BE49-F238E27FC236}">
                <a16:creationId xmlns:a16="http://schemas.microsoft.com/office/drawing/2014/main" id="{344E64F0-C52E-6D68-BE3C-A79D8444EEA7}"/>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17092A19-1FCC-AF48-28F7-DA5AD293FD99}"/>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7A3500"/>
          </a:solidFill>
          <a:ln w="12700" cap="flat">
            <a:solidFill>
              <a:srgbClr val="7A3500"/>
            </a:solidFill>
            <a:prstDash val="solid"/>
            <a:miter/>
          </a:ln>
        </p:spPr>
        <p:txBody>
          <a:bodyPr rtlCol="0" anchor="ctr"/>
          <a:lstStyle/>
          <a:p>
            <a:pPr lvl="0"/>
            <a:endParaRPr lang="en-GB"/>
          </a:p>
        </p:txBody>
      </p:sp>
      <p:sp>
        <p:nvSpPr>
          <p:cNvPr id="3" name="Title 1">
            <a:extLst>
              <a:ext uri="{FF2B5EF4-FFF2-40B4-BE49-F238E27FC236}">
                <a16:creationId xmlns:a16="http://schemas.microsoft.com/office/drawing/2014/main" id="{99B2A88E-AE50-56F9-5726-A94E90D792FB}"/>
              </a:ext>
            </a:extLst>
          </p:cNvPr>
          <p:cNvSpPr>
            <a:spLocks noGrp="1"/>
          </p:cNvSpPr>
          <p:nvPr>
            <p:ph type="ctrTitle" hasCustomPrompt="1"/>
          </p:nvPr>
        </p:nvSpPr>
        <p:spPr>
          <a:xfrm>
            <a:off x="1137600" y="4218920"/>
            <a:ext cx="6812280" cy="874022"/>
          </a:xfrm>
          <a:noFill/>
        </p:spPr>
        <p:txBody>
          <a:bodyPr wrap="square" anchor="b">
            <a:spAutoFit/>
          </a:bodyPr>
          <a:lstStyle>
            <a:lvl1pPr algn="l">
              <a:lnSpc>
                <a:spcPct val="80000"/>
              </a:lnSpc>
              <a:defRPr sz="7000" b="1">
                <a:solidFill>
                  <a:schemeClr val="bg1"/>
                </a:solidFill>
              </a:defRPr>
            </a:lvl1pPr>
          </a:lstStyle>
          <a:p>
            <a:r>
              <a:rPr lang="nl-NL" noProof="0" dirty="0"/>
              <a:t>Tekst</a:t>
            </a:r>
          </a:p>
        </p:txBody>
      </p:sp>
      <p:grpSp>
        <p:nvGrpSpPr>
          <p:cNvPr id="13" name="Group 12">
            <a:extLst>
              <a:ext uri="{FF2B5EF4-FFF2-40B4-BE49-F238E27FC236}">
                <a16:creationId xmlns:a16="http://schemas.microsoft.com/office/drawing/2014/main" id="{D8E95096-B3D2-B704-DAAC-27A438877F65}"/>
              </a:ext>
            </a:extLst>
          </p:cNvPr>
          <p:cNvGrpSpPr/>
          <p:nvPr userDrawn="1"/>
        </p:nvGrpSpPr>
        <p:grpSpPr>
          <a:xfrm>
            <a:off x="2335919" y="-761999"/>
            <a:ext cx="7122406" cy="608276"/>
            <a:chOff x="2335919" y="-761999"/>
            <a:chExt cx="7122406" cy="608276"/>
          </a:xfrm>
        </p:grpSpPr>
        <p:sp>
          <p:nvSpPr>
            <p:cNvPr id="14" name="Rectangle 13">
              <a:extLst>
                <a:ext uri="{FF2B5EF4-FFF2-40B4-BE49-F238E27FC236}">
                  <a16:creationId xmlns:a16="http://schemas.microsoft.com/office/drawing/2014/main" id="{E121C80F-FE36-A682-5813-199292F22447}"/>
                </a:ext>
              </a:extLst>
            </p:cNvPr>
            <p:cNvSpPr/>
            <p:nvPr userDrawn="1"/>
          </p:nvSpPr>
          <p:spPr>
            <a:xfrm>
              <a:off x="2733675" y="-761999"/>
              <a:ext cx="6724650" cy="608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5" name="TextBox 14">
              <a:extLst>
                <a:ext uri="{FF2B5EF4-FFF2-40B4-BE49-F238E27FC236}">
                  <a16:creationId xmlns:a16="http://schemas.microsoft.com/office/drawing/2014/main" id="{18AC0A05-C28F-EED5-FD34-3A2E06D616C8}"/>
                </a:ext>
              </a:extLst>
            </p:cNvPr>
            <p:cNvSpPr txBox="1"/>
            <p:nvPr userDrawn="1"/>
          </p:nvSpPr>
          <p:spPr>
            <a:xfrm>
              <a:off x="2335919" y="-581676"/>
              <a:ext cx="6337430" cy="261610"/>
            </a:xfrm>
            <a:prstGeom prst="rect">
              <a:avLst/>
            </a:prstGeom>
            <a:noFill/>
          </p:spPr>
          <p:txBody>
            <a:bodyPr wrap="square" rtlCol="0">
              <a:spAutoFit/>
            </a:bodyPr>
            <a:lstStyle/>
            <a:p>
              <a:pPr algn="ctr"/>
              <a:r>
                <a:rPr lang="nl-NL" sz="1100" noProof="1">
                  <a:solidFill>
                    <a:schemeClr val="tx1"/>
                  </a:solidFill>
                </a:rPr>
                <a:t>1 var. kleurvlak (accentkleur) via wijzigen achtergrond / kies alleen deze accentkleuren</a:t>
              </a:r>
            </a:p>
          </p:txBody>
        </p:sp>
        <p:grpSp>
          <p:nvGrpSpPr>
            <p:cNvPr id="16" name="Group 15">
              <a:extLst>
                <a:ext uri="{FF2B5EF4-FFF2-40B4-BE49-F238E27FC236}">
                  <a16:creationId xmlns:a16="http://schemas.microsoft.com/office/drawing/2014/main" id="{4EF06AD4-E02D-64D2-9FD9-656CA3EC42F1}"/>
                </a:ext>
              </a:extLst>
            </p:cNvPr>
            <p:cNvGrpSpPr/>
            <p:nvPr userDrawn="1"/>
          </p:nvGrpSpPr>
          <p:grpSpPr>
            <a:xfrm>
              <a:off x="8550833" y="-543417"/>
              <a:ext cx="743864" cy="176763"/>
              <a:chOff x="4205004" y="-519709"/>
              <a:chExt cx="1108072" cy="263308"/>
            </a:xfrm>
          </p:grpSpPr>
          <p:sp>
            <p:nvSpPr>
              <p:cNvPr id="18" name="Rectangle 17">
                <a:extLst>
                  <a:ext uri="{FF2B5EF4-FFF2-40B4-BE49-F238E27FC236}">
                    <a16:creationId xmlns:a16="http://schemas.microsoft.com/office/drawing/2014/main" id="{78419F8C-9BB5-C6C5-C125-116CB9232324}"/>
                  </a:ext>
                </a:extLst>
              </p:cNvPr>
              <p:cNvSpPr/>
              <p:nvPr userDrawn="1"/>
            </p:nvSpPr>
            <p:spPr>
              <a:xfrm>
                <a:off x="4205004" y="-519709"/>
                <a:ext cx="276225" cy="26330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9" name="Rectangle 18">
                <a:extLst>
                  <a:ext uri="{FF2B5EF4-FFF2-40B4-BE49-F238E27FC236}">
                    <a16:creationId xmlns:a16="http://schemas.microsoft.com/office/drawing/2014/main" id="{10357DB7-0F81-53A1-4D5F-16E577D70A14}"/>
                  </a:ext>
                </a:extLst>
              </p:cNvPr>
              <p:cNvSpPr/>
              <p:nvPr userDrawn="1"/>
            </p:nvSpPr>
            <p:spPr>
              <a:xfrm>
                <a:off x="5036851" y="-519709"/>
                <a:ext cx="276225" cy="263308"/>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20" name="Rectangle 19">
                <a:extLst>
                  <a:ext uri="{FF2B5EF4-FFF2-40B4-BE49-F238E27FC236}">
                    <a16:creationId xmlns:a16="http://schemas.microsoft.com/office/drawing/2014/main" id="{B3E7BA36-9016-6AA1-A11B-A5505EDABA60}"/>
                  </a:ext>
                </a:extLst>
              </p:cNvPr>
              <p:cNvSpPr/>
              <p:nvPr userDrawn="1"/>
            </p:nvSpPr>
            <p:spPr>
              <a:xfrm>
                <a:off x="4631249" y="-519709"/>
                <a:ext cx="276225" cy="263308"/>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cxnSp>
          <p:nvCxnSpPr>
            <p:cNvPr id="17" name="Straight Connector 16">
              <a:extLst>
                <a:ext uri="{FF2B5EF4-FFF2-40B4-BE49-F238E27FC236}">
                  <a16:creationId xmlns:a16="http://schemas.microsoft.com/office/drawing/2014/main" id="{83B9FEE8-4684-B307-097D-71684E5D7CAA}"/>
                </a:ext>
              </a:extLst>
            </p:cNvPr>
            <p:cNvCxnSpPr>
              <a:cxnSpLocks/>
            </p:cNvCxnSpPr>
            <p:nvPr userDrawn="1"/>
          </p:nvCxnSpPr>
          <p:spPr>
            <a:xfrm>
              <a:off x="2657475" y="-255323"/>
              <a:ext cx="67625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ep 4">
            <a:extLst>
              <a:ext uri="{FF2B5EF4-FFF2-40B4-BE49-F238E27FC236}">
                <a16:creationId xmlns:a16="http://schemas.microsoft.com/office/drawing/2014/main" id="{2EA48A7E-C890-1C30-5542-2ABF3EB38E30}"/>
              </a:ext>
            </a:extLst>
          </p:cNvPr>
          <p:cNvGrpSpPr/>
          <p:nvPr userDrawn="1"/>
        </p:nvGrpSpPr>
        <p:grpSpPr>
          <a:xfrm>
            <a:off x="10014482" y="5839298"/>
            <a:ext cx="1599388" cy="433809"/>
            <a:chOff x="3101010" y="1249096"/>
            <a:chExt cx="3978412" cy="1079079"/>
          </a:xfrm>
          <a:solidFill>
            <a:schemeClr val="bg1"/>
          </a:solidFill>
        </p:grpSpPr>
        <p:sp>
          <p:nvSpPr>
            <p:cNvPr id="6" name="Vrije vorm 5">
              <a:extLst>
                <a:ext uri="{FF2B5EF4-FFF2-40B4-BE49-F238E27FC236}">
                  <a16:creationId xmlns:a16="http://schemas.microsoft.com/office/drawing/2014/main" id="{A7698500-218F-50F0-7639-29D99540DCA7}"/>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D18A819F-FC99-F708-2D8A-93E9662C5A92}"/>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00654F9F-F8B2-B114-F165-BB6D3CEC44B1}"/>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8FB0A79E-E8E1-1404-C358-B175D5770F05}"/>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C1997265-4383-EE97-33FE-DB7944379496}"/>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2C2D90E2-406A-DA66-7BDD-AF42AF83A3EF}"/>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0C72F90A-E733-A1B8-306C-5826FEFEFF3C}"/>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B9051CE8-CDDA-8A5A-4351-C22332795071}"/>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5107345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ussenslide III">
    <p:bg>
      <p:bgPr>
        <a:solidFill>
          <a:schemeClr val="accent6"/>
        </a:solidFill>
        <a:effectLst/>
      </p:bgPr>
    </p:bg>
    <p:spTree>
      <p:nvGrpSpPr>
        <p:cNvPr id="1" name=""/>
        <p:cNvGrpSpPr/>
        <p:nvPr/>
      </p:nvGrpSpPr>
      <p:grpSpPr>
        <a:xfrm>
          <a:off x="0" y="0"/>
          <a:ext cx="0" cy="0"/>
          <a:chOff x="0" y="0"/>
          <a:chExt cx="0" cy="0"/>
        </a:xfrm>
      </p:grpSpPr>
      <p:sp>
        <p:nvSpPr>
          <p:cNvPr id="42" name="Freeform: Shape 41">
            <a:extLst>
              <a:ext uri="{FF2B5EF4-FFF2-40B4-BE49-F238E27FC236}">
                <a16:creationId xmlns:a16="http://schemas.microsoft.com/office/drawing/2014/main" id="{C3A33F2F-6697-E0E3-DAC0-E8C76F4FB609}"/>
              </a:ext>
            </a:extLst>
          </p:cNvPr>
          <p:cNvSpPr/>
          <p:nvPr userDrawn="1"/>
        </p:nvSpPr>
        <p:spPr>
          <a:xfrm>
            <a:off x="4109538" y="2081881"/>
            <a:ext cx="8082463" cy="4776119"/>
          </a:xfrm>
          <a:custGeom>
            <a:avLst/>
            <a:gdLst>
              <a:gd name="connsiteX0" fmla="*/ 4752340 w 8082463"/>
              <a:gd name="connsiteY0" fmla="*/ 0 h 4776119"/>
              <a:gd name="connsiteX1" fmla="*/ 4808220 w 8082463"/>
              <a:gd name="connsiteY1" fmla="*/ 49784 h 4776119"/>
              <a:gd name="connsiteX2" fmla="*/ 4812030 w 8082463"/>
              <a:gd name="connsiteY2" fmla="*/ 52976 h 4776119"/>
              <a:gd name="connsiteX3" fmla="*/ 4864734 w 8082463"/>
              <a:gd name="connsiteY3" fmla="*/ 100845 h 4776119"/>
              <a:gd name="connsiteX4" fmla="*/ 4872990 w 8082463"/>
              <a:gd name="connsiteY4" fmla="*/ 108505 h 4776119"/>
              <a:gd name="connsiteX5" fmla="*/ 4922520 w 8082463"/>
              <a:gd name="connsiteY5" fmla="*/ 153821 h 4776119"/>
              <a:gd name="connsiteX6" fmla="*/ 4935855 w 8082463"/>
              <a:gd name="connsiteY6" fmla="*/ 165948 h 4776119"/>
              <a:gd name="connsiteX7" fmla="*/ 4980940 w 8082463"/>
              <a:gd name="connsiteY7" fmla="*/ 208712 h 4776119"/>
              <a:gd name="connsiteX8" fmla="*/ 4999356 w 8082463"/>
              <a:gd name="connsiteY8" fmla="*/ 225945 h 4776119"/>
              <a:gd name="connsiteX9" fmla="*/ 5039995 w 8082463"/>
              <a:gd name="connsiteY9" fmla="*/ 264879 h 4776119"/>
              <a:gd name="connsiteX10" fmla="*/ 5065395 w 8082463"/>
              <a:gd name="connsiteY10" fmla="*/ 289134 h 4776119"/>
              <a:gd name="connsiteX11" fmla="*/ 5100956 w 8082463"/>
              <a:gd name="connsiteY11" fmla="*/ 322960 h 4776119"/>
              <a:gd name="connsiteX12" fmla="*/ 5135880 w 8082463"/>
              <a:gd name="connsiteY12" fmla="*/ 356789 h 4776119"/>
              <a:gd name="connsiteX13" fmla="*/ 5162550 w 8082463"/>
              <a:gd name="connsiteY13" fmla="*/ 382958 h 4776119"/>
              <a:gd name="connsiteX14" fmla="*/ 5224780 w 8082463"/>
              <a:gd name="connsiteY14" fmla="*/ 444869 h 4776119"/>
              <a:gd name="connsiteX15" fmla="*/ 8082463 w 8082463"/>
              <a:gd name="connsiteY15" fmla="*/ 3317235 h 4776119"/>
              <a:gd name="connsiteX16" fmla="*/ 8082463 w 8082463"/>
              <a:gd name="connsiteY16" fmla="*/ 4776119 h 4776119"/>
              <a:gd name="connsiteX17" fmla="*/ 0 w 8082463"/>
              <a:gd name="connsiteY17" fmla="*/ 4776119 h 477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82463" h="4776119">
                <a:moveTo>
                  <a:pt x="4752340" y="0"/>
                </a:moveTo>
                <a:cubicBezTo>
                  <a:pt x="4770756" y="16595"/>
                  <a:pt x="4789805" y="33190"/>
                  <a:pt x="4808220" y="49784"/>
                </a:cubicBezTo>
                <a:cubicBezTo>
                  <a:pt x="4809490" y="51061"/>
                  <a:pt x="4810760" y="51700"/>
                  <a:pt x="4812030" y="52976"/>
                </a:cubicBezTo>
                <a:cubicBezTo>
                  <a:pt x="4829175" y="68933"/>
                  <a:pt x="4846956" y="84889"/>
                  <a:pt x="4864734" y="100845"/>
                </a:cubicBezTo>
                <a:cubicBezTo>
                  <a:pt x="4867910" y="103398"/>
                  <a:pt x="4870450" y="105951"/>
                  <a:pt x="4872990" y="108505"/>
                </a:cubicBezTo>
                <a:cubicBezTo>
                  <a:pt x="4889500" y="123185"/>
                  <a:pt x="4906010" y="138503"/>
                  <a:pt x="4922520" y="153821"/>
                </a:cubicBezTo>
                <a:cubicBezTo>
                  <a:pt x="4926965" y="157651"/>
                  <a:pt x="4931410" y="162119"/>
                  <a:pt x="4935855" y="165948"/>
                </a:cubicBezTo>
                <a:cubicBezTo>
                  <a:pt x="4950460" y="179990"/>
                  <a:pt x="4965700" y="194670"/>
                  <a:pt x="4980940" y="208712"/>
                </a:cubicBezTo>
                <a:cubicBezTo>
                  <a:pt x="4987290" y="214457"/>
                  <a:pt x="4993006" y="220201"/>
                  <a:pt x="4999356" y="225945"/>
                </a:cubicBezTo>
                <a:cubicBezTo>
                  <a:pt x="5012690" y="238710"/>
                  <a:pt x="5026025" y="251476"/>
                  <a:pt x="5039995" y="264879"/>
                </a:cubicBezTo>
                <a:cubicBezTo>
                  <a:pt x="5048886" y="273176"/>
                  <a:pt x="5057140" y="280836"/>
                  <a:pt x="5065395" y="289134"/>
                </a:cubicBezTo>
                <a:cubicBezTo>
                  <a:pt x="5077460" y="299984"/>
                  <a:pt x="5088890" y="311473"/>
                  <a:pt x="5100956" y="322960"/>
                </a:cubicBezTo>
                <a:cubicBezTo>
                  <a:pt x="5113020" y="333812"/>
                  <a:pt x="5124450" y="345301"/>
                  <a:pt x="5135880" y="356789"/>
                </a:cubicBezTo>
                <a:cubicBezTo>
                  <a:pt x="5144770" y="365724"/>
                  <a:pt x="5153660" y="374022"/>
                  <a:pt x="5162550" y="382958"/>
                </a:cubicBezTo>
                <a:cubicBezTo>
                  <a:pt x="5182871" y="403382"/>
                  <a:pt x="5203826" y="423807"/>
                  <a:pt x="5224780" y="444869"/>
                </a:cubicBezTo>
                <a:lnTo>
                  <a:pt x="8082463" y="3317235"/>
                </a:lnTo>
                <a:lnTo>
                  <a:pt x="8082463" y="4776119"/>
                </a:lnTo>
                <a:lnTo>
                  <a:pt x="0" y="4776119"/>
                </a:lnTo>
                <a:close/>
              </a:path>
            </a:pathLst>
          </a:custGeom>
          <a:solidFill>
            <a:srgbClr val="7A3500"/>
          </a:solidFill>
          <a:ln w="12700" cap="flat">
            <a:solidFill>
              <a:srgbClr val="7A3500"/>
            </a:solidFill>
            <a:prstDash val="solid"/>
            <a:miter/>
          </a:ln>
        </p:spPr>
        <p:txBody>
          <a:bodyPr wrap="square" rtlCol="0" anchor="ctr">
            <a:noAutofit/>
          </a:bodyPr>
          <a:lstStyle/>
          <a:p>
            <a:endParaRPr lang="en-GB"/>
          </a:p>
        </p:txBody>
      </p:sp>
      <p:sp>
        <p:nvSpPr>
          <p:cNvPr id="43" name="Freeform: Shape 42">
            <a:extLst>
              <a:ext uri="{FF2B5EF4-FFF2-40B4-BE49-F238E27FC236}">
                <a16:creationId xmlns:a16="http://schemas.microsoft.com/office/drawing/2014/main" id="{4150E429-33DE-3FDF-F37C-CE7064B9CAD8}"/>
              </a:ext>
            </a:extLst>
          </p:cNvPr>
          <p:cNvSpPr/>
          <p:nvPr userDrawn="1"/>
        </p:nvSpPr>
        <p:spPr>
          <a:xfrm>
            <a:off x="-1" y="0"/>
            <a:ext cx="10949305" cy="4342128"/>
          </a:xfrm>
          <a:custGeom>
            <a:avLst/>
            <a:gdLst>
              <a:gd name="connsiteX0" fmla="*/ 0 w 10949305"/>
              <a:gd name="connsiteY0" fmla="*/ 0 h 4342128"/>
              <a:gd name="connsiteX1" fmla="*/ 10949305 w 10949305"/>
              <a:gd name="connsiteY1" fmla="*/ 0 h 4342128"/>
              <a:gd name="connsiteX2" fmla="*/ 8844237 w 10949305"/>
              <a:gd name="connsiteY2" fmla="*/ 2105068 h 4342128"/>
              <a:gd name="connsiteX3" fmla="*/ 8840883 w 10949305"/>
              <a:gd name="connsiteY3" fmla="*/ 2101933 h 4342128"/>
              <a:gd name="connsiteX4" fmla="*/ 8865033 w 10949305"/>
              <a:gd name="connsiteY4" fmla="*/ 2077694 h 4342128"/>
              <a:gd name="connsiteX5" fmla="*/ 8826470 w 10949305"/>
              <a:gd name="connsiteY5" fmla="*/ 2041504 h 4342128"/>
              <a:gd name="connsiteX6" fmla="*/ 6079518 w 10949305"/>
              <a:gd name="connsiteY6" fmla="*/ 594988 h 4342128"/>
              <a:gd name="connsiteX7" fmla="*/ 5287752 w 10949305"/>
              <a:gd name="connsiteY7" fmla="*/ 547803 h 4342128"/>
              <a:gd name="connsiteX8" fmla="*/ 1335166 w 10949305"/>
              <a:gd name="connsiteY8" fmla="*/ 2259119 h 4342128"/>
              <a:gd name="connsiteX9" fmla="*/ 1 w 10949305"/>
              <a:gd name="connsiteY9" fmla="*/ 4326985 h 4342128"/>
              <a:gd name="connsiteX10" fmla="*/ 1 w 10949305"/>
              <a:gd name="connsiteY10" fmla="*/ 4342126 h 4342128"/>
              <a:gd name="connsiteX11" fmla="*/ 0 w 10949305"/>
              <a:gd name="connsiteY11" fmla="*/ 4342128 h 4342128"/>
              <a:gd name="connsiteX12" fmla="*/ 0 w 10949305"/>
              <a:gd name="connsiteY12" fmla="*/ 0 h 4342128"/>
              <a:gd name="connsiteX0" fmla="*/ 0 w 10949305"/>
              <a:gd name="connsiteY0" fmla="*/ 0 h 4342128"/>
              <a:gd name="connsiteX1" fmla="*/ 10949305 w 10949305"/>
              <a:gd name="connsiteY1" fmla="*/ 0 h 4342128"/>
              <a:gd name="connsiteX2" fmla="*/ 8844237 w 10949305"/>
              <a:gd name="connsiteY2" fmla="*/ 2105068 h 4342128"/>
              <a:gd name="connsiteX3" fmla="*/ 8865033 w 10949305"/>
              <a:gd name="connsiteY3" fmla="*/ 2077694 h 4342128"/>
              <a:gd name="connsiteX4" fmla="*/ 8826470 w 10949305"/>
              <a:gd name="connsiteY4" fmla="*/ 2041504 h 4342128"/>
              <a:gd name="connsiteX5" fmla="*/ 6079518 w 10949305"/>
              <a:gd name="connsiteY5" fmla="*/ 594988 h 4342128"/>
              <a:gd name="connsiteX6" fmla="*/ 5287752 w 10949305"/>
              <a:gd name="connsiteY6" fmla="*/ 547803 h 4342128"/>
              <a:gd name="connsiteX7" fmla="*/ 1335166 w 10949305"/>
              <a:gd name="connsiteY7" fmla="*/ 2259119 h 4342128"/>
              <a:gd name="connsiteX8" fmla="*/ 1 w 10949305"/>
              <a:gd name="connsiteY8" fmla="*/ 4326985 h 4342128"/>
              <a:gd name="connsiteX9" fmla="*/ 1 w 10949305"/>
              <a:gd name="connsiteY9" fmla="*/ 4342126 h 4342128"/>
              <a:gd name="connsiteX10" fmla="*/ 0 w 10949305"/>
              <a:gd name="connsiteY10" fmla="*/ 4342128 h 4342128"/>
              <a:gd name="connsiteX11" fmla="*/ 0 w 10949305"/>
              <a:gd name="connsiteY11" fmla="*/ 0 h 43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305" h="4342128">
                <a:moveTo>
                  <a:pt x="0" y="0"/>
                </a:moveTo>
                <a:lnTo>
                  <a:pt x="10949305" y="0"/>
                </a:lnTo>
                <a:lnTo>
                  <a:pt x="8844237" y="2105068"/>
                </a:lnTo>
                <a:lnTo>
                  <a:pt x="8865033" y="2077694"/>
                </a:lnTo>
                <a:lnTo>
                  <a:pt x="8826470" y="2041504"/>
                </a:lnTo>
                <a:cubicBezTo>
                  <a:pt x="7661107" y="1019246"/>
                  <a:pt x="6707087" y="683864"/>
                  <a:pt x="6079518" y="594988"/>
                </a:cubicBezTo>
                <a:cubicBezTo>
                  <a:pt x="5835380" y="559295"/>
                  <a:pt x="5569159" y="542128"/>
                  <a:pt x="5287752" y="547803"/>
                </a:cubicBezTo>
                <a:cubicBezTo>
                  <a:pt x="4068321" y="572393"/>
                  <a:pt x="2563733" y="1025874"/>
                  <a:pt x="1335166" y="2259119"/>
                </a:cubicBezTo>
                <a:cubicBezTo>
                  <a:pt x="696857" y="2899857"/>
                  <a:pt x="267925" y="3615338"/>
                  <a:pt x="1" y="4326985"/>
                </a:cubicBezTo>
                <a:lnTo>
                  <a:pt x="1" y="4342126"/>
                </a:lnTo>
                <a:cubicBezTo>
                  <a:pt x="1" y="4342127"/>
                  <a:pt x="0" y="4342127"/>
                  <a:pt x="0" y="4342128"/>
                </a:cubicBezTo>
                <a:lnTo>
                  <a:pt x="0" y="0"/>
                </a:lnTo>
                <a:close/>
              </a:path>
            </a:pathLst>
          </a:custGeom>
          <a:solidFill>
            <a:srgbClr val="7A3500"/>
          </a:solidFill>
          <a:ln w="12700">
            <a:solidFill>
              <a:srgbClr val="7A35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8" name="Freeform: Shape 27">
            <a:extLst>
              <a:ext uri="{FF2B5EF4-FFF2-40B4-BE49-F238E27FC236}">
                <a16:creationId xmlns:a16="http://schemas.microsoft.com/office/drawing/2014/main" id="{015A3F26-BAD4-66A4-3A64-FA3350BA5950}"/>
              </a:ext>
            </a:extLst>
          </p:cNvPr>
          <p:cNvSpPr/>
          <p:nvPr userDrawn="1"/>
        </p:nvSpPr>
        <p:spPr>
          <a:xfrm>
            <a:off x="8858788" y="2071834"/>
            <a:ext cx="6244" cy="13152"/>
          </a:xfrm>
          <a:custGeom>
            <a:avLst/>
            <a:gdLst>
              <a:gd name="connsiteX0" fmla="*/ 0 w 6244"/>
              <a:gd name="connsiteY0" fmla="*/ 0 h 13152"/>
              <a:gd name="connsiteX1" fmla="*/ 6244 w 6244"/>
              <a:gd name="connsiteY1" fmla="*/ 5860 h 13152"/>
              <a:gd name="connsiteX2" fmla="*/ 2980 w 6244"/>
              <a:gd name="connsiteY2" fmla="*/ 10157 h 13152"/>
              <a:gd name="connsiteX3" fmla="*/ 0 w 6244"/>
              <a:gd name="connsiteY3" fmla="*/ 13152 h 13152"/>
              <a:gd name="connsiteX4" fmla="*/ 0 w 6244"/>
              <a:gd name="connsiteY4" fmla="*/ 0 h 1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2">
                <a:moveTo>
                  <a:pt x="0" y="0"/>
                </a:moveTo>
                <a:lnTo>
                  <a:pt x="6244" y="5860"/>
                </a:lnTo>
                <a:lnTo>
                  <a:pt x="2980" y="10157"/>
                </a:lnTo>
                <a:lnTo>
                  <a:pt x="0" y="13152"/>
                </a:lnTo>
                <a:lnTo>
                  <a:pt x="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27" name="Freeform: Shape 26">
            <a:extLst>
              <a:ext uri="{FF2B5EF4-FFF2-40B4-BE49-F238E27FC236}">
                <a16:creationId xmlns:a16="http://schemas.microsoft.com/office/drawing/2014/main" id="{5D5BB820-8114-77F2-FE40-5AFDA8831F5F}"/>
              </a:ext>
            </a:extLst>
          </p:cNvPr>
          <p:cNvSpPr/>
          <p:nvPr userDrawn="1"/>
        </p:nvSpPr>
        <p:spPr>
          <a:xfrm>
            <a:off x="8858788" y="2081881"/>
            <a:ext cx="6022" cy="8635"/>
          </a:xfrm>
          <a:custGeom>
            <a:avLst/>
            <a:gdLst>
              <a:gd name="connsiteX0" fmla="*/ 3089 w 6022"/>
              <a:gd name="connsiteY0" fmla="*/ 0 h 8635"/>
              <a:gd name="connsiteX1" fmla="*/ 6022 w 6022"/>
              <a:gd name="connsiteY1" fmla="*/ 2613 h 8635"/>
              <a:gd name="connsiteX2" fmla="*/ 0 w 6022"/>
              <a:gd name="connsiteY2" fmla="*/ 8635 h 8635"/>
              <a:gd name="connsiteX3" fmla="*/ 0 w 6022"/>
              <a:gd name="connsiteY3" fmla="*/ 4032 h 8635"/>
              <a:gd name="connsiteX4" fmla="*/ 2980 w 6022"/>
              <a:gd name="connsiteY4" fmla="*/ 110 h 8635"/>
              <a:gd name="connsiteX5" fmla="*/ 3089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89" y="0"/>
                </a:moveTo>
                <a:lnTo>
                  <a:pt x="6022" y="2613"/>
                </a:lnTo>
                <a:lnTo>
                  <a:pt x="0" y="8635"/>
                </a:lnTo>
                <a:lnTo>
                  <a:pt x="0" y="4032"/>
                </a:lnTo>
                <a:lnTo>
                  <a:pt x="2980" y="110"/>
                </a:lnTo>
                <a:lnTo>
                  <a:pt x="3089"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24" name="Freeform: Shape 23">
            <a:extLst>
              <a:ext uri="{FF2B5EF4-FFF2-40B4-BE49-F238E27FC236}">
                <a16:creationId xmlns:a16="http://schemas.microsoft.com/office/drawing/2014/main" id="{13E5B732-4058-200D-AFBB-1867D3AD6301}"/>
              </a:ext>
            </a:extLst>
          </p:cNvPr>
          <p:cNvSpPr/>
          <p:nvPr userDrawn="1"/>
        </p:nvSpPr>
        <p:spPr>
          <a:xfrm>
            <a:off x="8858788" y="2081991"/>
            <a:ext cx="2980" cy="3922"/>
          </a:xfrm>
          <a:custGeom>
            <a:avLst/>
            <a:gdLst>
              <a:gd name="connsiteX0" fmla="*/ 2980 w 2980"/>
              <a:gd name="connsiteY0" fmla="*/ 0 h 3922"/>
              <a:gd name="connsiteX1" fmla="*/ 0 w 2980"/>
              <a:gd name="connsiteY1" fmla="*/ 3922 h 3922"/>
              <a:gd name="connsiteX2" fmla="*/ 0 w 2980"/>
              <a:gd name="connsiteY2" fmla="*/ 2995 h 3922"/>
              <a:gd name="connsiteX3" fmla="*/ 2980 w 2980"/>
              <a:gd name="connsiteY3" fmla="*/ 0 h 3922"/>
            </a:gdLst>
            <a:ahLst/>
            <a:cxnLst>
              <a:cxn ang="0">
                <a:pos x="connsiteX0" y="connsiteY0"/>
              </a:cxn>
              <a:cxn ang="0">
                <a:pos x="connsiteX1" y="connsiteY1"/>
              </a:cxn>
              <a:cxn ang="0">
                <a:pos x="connsiteX2" y="connsiteY2"/>
              </a:cxn>
              <a:cxn ang="0">
                <a:pos x="connsiteX3" y="connsiteY3"/>
              </a:cxn>
            </a:cxnLst>
            <a:rect l="l" t="t" r="r" b="b"/>
            <a:pathLst>
              <a:path w="2980" h="3922">
                <a:moveTo>
                  <a:pt x="2980" y="0"/>
                </a:moveTo>
                <a:lnTo>
                  <a:pt x="0" y="3922"/>
                </a:lnTo>
                <a:lnTo>
                  <a:pt x="0" y="2995"/>
                </a:lnTo>
                <a:lnTo>
                  <a:pt x="298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22" name="Freeform: Shape 21">
            <a:extLst>
              <a:ext uri="{FF2B5EF4-FFF2-40B4-BE49-F238E27FC236}">
                <a16:creationId xmlns:a16="http://schemas.microsoft.com/office/drawing/2014/main" id="{63D5E795-954F-3494-5AC5-C50B82689733}"/>
              </a:ext>
            </a:extLst>
          </p:cNvPr>
          <p:cNvSpPr/>
          <p:nvPr userDrawn="1"/>
        </p:nvSpPr>
        <p:spPr>
          <a:xfrm>
            <a:off x="8844236" y="2085913"/>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40" name="Freeform: Shape 39">
            <a:extLst>
              <a:ext uri="{FF2B5EF4-FFF2-40B4-BE49-F238E27FC236}">
                <a16:creationId xmlns:a16="http://schemas.microsoft.com/office/drawing/2014/main" id="{F6AFA9B8-D68F-8503-373C-8F2C5897E1DD}"/>
              </a:ext>
            </a:extLst>
          </p:cNvPr>
          <p:cNvSpPr/>
          <p:nvPr userDrawn="1"/>
        </p:nvSpPr>
        <p:spPr>
          <a:xfrm>
            <a:off x="8858788" y="2081995"/>
            <a:ext cx="2976" cy="3918"/>
          </a:xfrm>
          <a:custGeom>
            <a:avLst/>
            <a:gdLst>
              <a:gd name="connsiteX0" fmla="*/ 2976 w 2976"/>
              <a:gd name="connsiteY0" fmla="*/ 0 h 3918"/>
              <a:gd name="connsiteX1" fmla="*/ 0 w 2976"/>
              <a:gd name="connsiteY1" fmla="*/ 3918 h 3918"/>
              <a:gd name="connsiteX2" fmla="*/ 0 w 2976"/>
              <a:gd name="connsiteY2" fmla="*/ 2992 h 3918"/>
              <a:gd name="connsiteX3" fmla="*/ 2976 w 2976"/>
              <a:gd name="connsiteY3" fmla="*/ 0 h 3918"/>
            </a:gdLst>
            <a:ahLst/>
            <a:cxnLst>
              <a:cxn ang="0">
                <a:pos x="connsiteX0" y="connsiteY0"/>
              </a:cxn>
              <a:cxn ang="0">
                <a:pos x="connsiteX1" y="connsiteY1"/>
              </a:cxn>
              <a:cxn ang="0">
                <a:pos x="connsiteX2" y="connsiteY2"/>
              </a:cxn>
              <a:cxn ang="0">
                <a:pos x="connsiteX3" y="connsiteY3"/>
              </a:cxn>
            </a:cxnLst>
            <a:rect l="l" t="t" r="r" b="b"/>
            <a:pathLst>
              <a:path w="2976" h="3918">
                <a:moveTo>
                  <a:pt x="2976" y="0"/>
                </a:moveTo>
                <a:lnTo>
                  <a:pt x="0" y="3918"/>
                </a:lnTo>
                <a:lnTo>
                  <a:pt x="0" y="2992"/>
                </a:lnTo>
                <a:lnTo>
                  <a:pt x="2976"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39" name="Freeform: Shape 38">
            <a:extLst>
              <a:ext uri="{FF2B5EF4-FFF2-40B4-BE49-F238E27FC236}">
                <a16:creationId xmlns:a16="http://schemas.microsoft.com/office/drawing/2014/main" id="{D94B3383-3876-87AB-FB8E-CCC82E37C42C}"/>
              </a:ext>
            </a:extLst>
          </p:cNvPr>
          <p:cNvSpPr/>
          <p:nvPr userDrawn="1"/>
        </p:nvSpPr>
        <p:spPr>
          <a:xfrm>
            <a:off x="8844236" y="2085914"/>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36" name="Freeform: Shape 35">
            <a:extLst>
              <a:ext uri="{FF2B5EF4-FFF2-40B4-BE49-F238E27FC236}">
                <a16:creationId xmlns:a16="http://schemas.microsoft.com/office/drawing/2014/main" id="{DEB81C0A-AE66-5727-27AB-E151BEEA0C3A}"/>
              </a:ext>
            </a:extLst>
          </p:cNvPr>
          <p:cNvSpPr/>
          <p:nvPr userDrawn="1"/>
        </p:nvSpPr>
        <p:spPr>
          <a:xfrm>
            <a:off x="8858788" y="2071835"/>
            <a:ext cx="6244" cy="13153"/>
          </a:xfrm>
          <a:custGeom>
            <a:avLst/>
            <a:gdLst>
              <a:gd name="connsiteX0" fmla="*/ 0 w 6244"/>
              <a:gd name="connsiteY0" fmla="*/ 0 h 13153"/>
              <a:gd name="connsiteX1" fmla="*/ 6244 w 6244"/>
              <a:gd name="connsiteY1" fmla="*/ 5860 h 13153"/>
              <a:gd name="connsiteX2" fmla="*/ 2976 w 6244"/>
              <a:gd name="connsiteY2" fmla="*/ 10161 h 13153"/>
              <a:gd name="connsiteX3" fmla="*/ 0 w 6244"/>
              <a:gd name="connsiteY3" fmla="*/ 13153 h 13153"/>
              <a:gd name="connsiteX4" fmla="*/ 0 w 6244"/>
              <a:gd name="connsiteY4" fmla="*/ 0 h 1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3">
                <a:moveTo>
                  <a:pt x="0" y="0"/>
                </a:moveTo>
                <a:lnTo>
                  <a:pt x="6244" y="5860"/>
                </a:lnTo>
                <a:lnTo>
                  <a:pt x="2976" y="10161"/>
                </a:lnTo>
                <a:lnTo>
                  <a:pt x="0" y="13153"/>
                </a:lnTo>
                <a:lnTo>
                  <a:pt x="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35" name="Freeform: Shape 34">
            <a:extLst>
              <a:ext uri="{FF2B5EF4-FFF2-40B4-BE49-F238E27FC236}">
                <a16:creationId xmlns:a16="http://schemas.microsoft.com/office/drawing/2014/main" id="{7E4E0E3E-6ED8-E3E2-B545-41DEAE96ABD9}"/>
              </a:ext>
            </a:extLst>
          </p:cNvPr>
          <p:cNvSpPr/>
          <p:nvPr userDrawn="1"/>
        </p:nvSpPr>
        <p:spPr>
          <a:xfrm>
            <a:off x="8858788" y="2081882"/>
            <a:ext cx="6022" cy="8635"/>
          </a:xfrm>
          <a:custGeom>
            <a:avLst/>
            <a:gdLst>
              <a:gd name="connsiteX0" fmla="*/ 3090 w 6022"/>
              <a:gd name="connsiteY0" fmla="*/ 0 h 8635"/>
              <a:gd name="connsiteX1" fmla="*/ 6022 w 6022"/>
              <a:gd name="connsiteY1" fmla="*/ 2613 h 8635"/>
              <a:gd name="connsiteX2" fmla="*/ 0 w 6022"/>
              <a:gd name="connsiteY2" fmla="*/ 8635 h 8635"/>
              <a:gd name="connsiteX3" fmla="*/ 0 w 6022"/>
              <a:gd name="connsiteY3" fmla="*/ 4032 h 8635"/>
              <a:gd name="connsiteX4" fmla="*/ 2976 w 6022"/>
              <a:gd name="connsiteY4" fmla="*/ 114 h 8635"/>
              <a:gd name="connsiteX5" fmla="*/ 3090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90" y="0"/>
                </a:moveTo>
                <a:lnTo>
                  <a:pt x="6022" y="2613"/>
                </a:lnTo>
                <a:lnTo>
                  <a:pt x="0" y="8635"/>
                </a:lnTo>
                <a:lnTo>
                  <a:pt x="0" y="4032"/>
                </a:lnTo>
                <a:lnTo>
                  <a:pt x="2976" y="114"/>
                </a:lnTo>
                <a:lnTo>
                  <a:pt x="309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 name="Freeform: Shape 1">
            <a:extLst>
              <a:ext uri="{FF2B5EF4-FFF2-40B4-BE49-F238E27FC236}">
                <a16:creationId xmlns:a16="http://schemas.microsoft.com/office/drawing/2014/main" id="{F32C4171-E65C-2015-203E-B6CC3466F953}"/>
              </a:ext>
            </a:extLst>
          </p:cNvPr>
          <p:cNvSpPr/>
          <p:nvPr userDrawn="1"/>
        </p:nvSpPr>
        <p:spPr>
          <a:xfrm>
            <a:off x="0" y="546736"/>
            <a:ext cx="8858789" cy="6311263"/>
          </a:xfrm>
          <a:custGeom>
            <a:avLst/>
            <a:gdLst>
              <a:gd name="connsiteX0" fmla="*/ 0 w 8858789"/>
              <a:gd name="connsiteY0" fmla="*/ 0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8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13" fmla="*/ 0 w 8858789"/>
              <a:gd name="connsiteY13" fmla="*/ 0 h 6858000"/>
              <a:gd name="connsiteX0" fmla="*/ 0 w 8858789"/>
              <a:gd name="connsiteY0" fmla="*/ 4342128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8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98900 w 8957689"/>
              <a:gd name="connsiteY0" fmla="*/ 3795391 h 6311263"/>
              <a:gd name="connsiteX1" fmla="*/ 98901 w 8957689"/>
              <a:gd name="connsiteY1" fmla="*/ 3780248 h 6311263"/>
              <a:gd name="connsiteX2" fmla="*/ 1434066 w 8957689"/>
              <a:gd name="connsiteY2" fmla="*/ 1712382 h 6311263"/>
              <a:gd name="connsiteX3" fmla="*/ 5386652 w 8957689"/>
              <a:gd name="connsiteY3" fmla="*/ 1066 h 6311263"/>
              <a:gd name="connsiteX4" fmla="*/ 6178418 w 8957689"/>
              <a:gd name="connsiteY4" fmla="*/ 48251 h 6311263"/>
              <a:gd name="connsiteX5" fmla="*/ 8925370 w 8957689"/>
              <a:gd name="connsiteY5" fmla="*/ 1494767 h 6311263"/>
              <a:gd name="connsiteX6" fmla="*/ 8957689 w 8957689"/>
              <a:gd name="connsiteY6" fmla="*/ 1525097 h 6311263"/>
              <a:gd name="connsiteX7" fmla="*/ 8957689 w 8957689"/>
              <a:gd name="connsiteY7" fmla="*/ 1538249 h 6311263"/>
              <a:gd name="connsiteX8" fmla="*/ 4208438 w 8957689"/>
              <a:gd name="connsiteY8" fmla="*/ 6311263 h 6311263"/>
              <a:gd name="connsiteX9" fmla="*/ 98901 w 8957689"/>
              <a:gd name="connsiteY9" fmla="*/ 6311263 h 6311263"/>
              <a:gd name="connsiteX10" fmla="*/ 98901 w 8957689"/>
              <a:gd name="connsiteY10" fmla="*/ 3795389 h 6311263"/>
              <a:gd name="connsiteX11" fmla="*/ 98900 w 8957689"/>
              <a:gd name="connsiteY11" fmla="*/ 3795391 h 6311263"/>
              <a:gd name="connsiteX0" fmla="*/ 0 w 8858789"/>
              <a:gd name="connsiteY0" fmla="*/ 3795391 h 6311263"/>
              <a:gd name="connsiteX1" fmla="*/ 1 w 8858789"/>
              <a:gd name="connsiteY1" fmla="*/ 3780248 h 6311263"/>
              <a:gd name="connsiteX2" fmla="*/ 1335166 w 8858789"/>
              <a:gd name="connsiteY2" fmla="*/ 1712382 h 6311263"/>
              <a:gd name="connsiteX3" fmla="*/ 5287752 w 8858789"/>
              <a:gd name="connsiteY3" fmla="*/ 1066 h 6311263"/>
              <a:gd name="connsiteX4" fmla="*/ 6079518 w 8858789"/>
              <a:gd name="connsiteY4" fmla="*/ 48251 h 6311263"/>
              <a:gd name="connsiteX5" fmla="*/ 8826470 w 8858789"/>
              <a:gd name="connsiteY5" fmla="*/ 1494767 h 6311263"/>
              <a:gd name="connsiteX6" fmla="*/ 8858789 w 8858789"/>
              <a:gd name="connsiteY6" fmla="*/ 1525097 h 6311263"/>
              <a:gd name="connsiteX7" fmla="*/ 8858789 w 8858789"/>
              <a:gd name="connsiteY7" fmla="*/ 1538249 h 6311263"/>
              <a:gd name="connsiteX8" fmla="*/ 4109538 w 8858789"/>
              <a:gd name="connsiteY8" fmla="*/ 6311263 h 6311263"/>
              <a:gd name="connsiteX9" fmla="*/ 1 w 8858789"/>
              <a:gd name="connsiteY9" fmla="*/ 6311263 h 6311263"/>
              <a:gd name="connsiteX10" fmla="*/ 1 w 8858789"/>
              <a:gd name="connsiteY10" fmla="*/ 3795389 h 6311263"/>
              <a:gd name="connsiteX11" fmla="*/ 0 w 8858789"/>
              <a:gd name="connsiteY11" fmla="*/ 3795391 h 63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789" h="6311263">
                <a:moveTo>
                  <a:pt x="0" y="3795391"/>
                </a:moveTo>
                <a:cubicBezTo>
                  <a:pt x="0" y="3790343"/>
                  <a:pt x="1" y="3785296"/>
                  <a:pt x="1" y="3780248"/>
                </a:cubicBezTo>
                <a:cubicBezTo>
                  <a:pt x="267925" y="3068601"/>
                  <a:pt x="696857" y="2353120"/>
                  <a:pt x="1335166" y="1712382"/>
                </a:cubicBezTo>
                <a:cubicBezTo>
                  <a:pt x="2563733" y="479137"/>
                  <a:pt x="4068321" y="25656"/>
                  <a:pt x="5287752" y="1066"/>
                </a:cubicBezTo>
                <a:cubicBezTo>
                  <a:pt x="5569159" y="-4609"/>
                  <a:pt x="5835380" y="12558"/>
                  <a:pt x="6079518" y="48251"/>
                </a:cubicBezTo>
                <a:cubicBezTo>
                  <a:pt x="6707087" y="137127"/>
                  <a:pt x="7661107" y="472509"/>
                  <a:pt x="8826470" y="1494767"/>
                </a:cubicBezTo>
                <a:lnTo>
                  <a:pt x="8858789" y="1525097"/>
                </a:lnTo>
                <a:lnTo>
                  <a:pt x="8858789" y="1538249"/>
                </a:lnTo>
                <a:lnTo>
                  <a:pt x="4109538" y="6311263"/>
                </a:lnTo>
                <a:lnTo>
                  <a:pt x="1" y="6311263"/>
                </a:lnTo>
                <a:lnTo>
                  <a:pt x="1" y="3795389"/>
                </a:lnTo>
                <a:cubicBezTo>
                  <a:pt x="1" y="3795390"/>
                  <a:pt x="0" y="3795390"/>
                  <a:pt x="0" y="3795391"/>
                </a:cubicBezTo>
                <a:close/>
              </a:path>
            </a:pathLst>
          </a:custGeom>
          <a:solidFill>
            <a:schemeClr val="accent1"/>
          </a:solidFill>
          <a:ln w="12700" cap="flat">
            <a:solidFill>
              <a:schemeClr val="accent1"/>
            </a:solidFill>
            <a:prstDash val="solid"/>
            <a:miter/>
          </a:ln>
        </p:spPr>
        <p:txBody>
          <a:bodyPr wrap="square" rtlCol="0" anchor="ctr">
            <a:noAutofit/>
          </a:bodyPr>
          <a:lstStyle/>
          <a:p>
            <a:endParaRPr lang="en-GB" dirty="0"/>
          </a:p>
        </p:txBody>
      </p:sp>
      <p:sp>
        <p:nvSpPr>
          <p:cNvPr id="20" name="Title 1">
            <a:extLst>
              <a:ext uri="{FF2B5EF4-FFF2-40B4-BE49-F238E27FC236}">
                <a16:creationId xmlns:a16="http://schemas.microsoft.com/office/drawing/2014/main" id="{8B9E5142-63A2-4423-A9DE-D70AAB78BAE2}"/>
              </a:ext>
            </a:extLst>
          </p:cNvPr>
          <p:cNvSpPr>
            <a:spLocks noGrp="1"/>
          </p:cNvSpPr>
          <p:nvPr>
            <p:ph type="ctrTitle" hasCustomPrompt="1"/>
          </p:nvPr>
        </p:nvSpPr>
        <p:spPr>
          <a:xfrm>
            <a:off x="1137600" y="4218920"/>
            <a:ext cx="6812280" cy="874022"/>
          </a:xfrm>
          <a:noFill/>
        </p:spPr>
        <p:txBody>
          <a:bodyPr wrap="square" anchor="b">
            <a:spAutoFit/>
          </a:bodyPr>
          <a:lstStyle>
            <a:lvl1pPr algn="l">
              <a:lnSpc>
                <a:spcPct val="80000"/>
              </a:lnSpc>
              <a:defRPr sz="7000" b="1">
                <a:solidFill>
                  <a:schemeClr val="bg1"/>
                </a:solidFill>
                <a:latin typeface="+mj-lt"/>
              </a:defRPr>
            </a:lvl1pPr>
          </a:lstStyle>
          <a:p>
            <a:r>
              <a:rPr lang="nl-NL" noProof="0" dirty="0"/>
              <a:t>Tekst</a:t>
            </a:r>
          </a:p>
        </p:txBody>
      </p:sp>
      <p:grpSp>
        <p:nvGrpSpPr>
          <p:cNvPr id="3" name="Group 2">
            <a:extLst>
              <a:ext uri="{FF2B5EF4-FFF2-40B4-BE49-F238E27FC236}">
                <a16:creationId xmlns:a16="http://schemas.microsoft.com/office/drawing/2014/main" id="{C771CFF4-2A23-3B2D-BB12-1F79B3DCA041}"/>
              </a:ext>
            </a:extLst>
          </p:cNvPr>
          <p:cNvGrpSpPr/>
          <p:nvPr userDrawn="1"/>
        </p:nvGrpSpPr>
        <p:grpSpPr>
          <a:xfrm>
            <a:off x="2335919" y="-761999"/>
            <a:ext cx="7122406" cy="608276"/>
            <a:chOff x="2335919" y="-761999"/>
            <a:chExt cx="7122406" cy="608276"/>
          </a:xfrm>
        </p:grpSpPr>
        <p:sp>
          <p:nvSpPr>
            <p:cNvPr id="4" name="Rectangle 3">
              <a:extLst>
                <a:ext uri="{FF2B5EF4-FFF2-40B4-BE49-F238E27FC236}">
                  <a16:creationId xmlns:a16="http://schemas.microsoft.com/office/drawing/2014/main" id="{11A1CE0D-79E1-78F7-218E-C0266A85F134}"/>
                </a:ext>
              </a:extLst>
            </p:cNvPr>
            <p:cNvSpPr/>
            <p:nvPr userDrawn="1"/>
          </p:nvSpPr>
          <p:spPr>
            <a:xfrm>
              <a:off x="2733675" y="-761999"/>
              <a:ext cx="6724650" cy="608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5" name="TextBox 4">
              <a:extLst>
                <a:ext uri="{FF2B5EF4-FFF2-40B4-BE49-F238E27FC236}">
                  <a16:creationId xmlns:a16="http://schemas.microsoft.com/office/drawing/2014/main" id="{0ADEA785-3F04-F457-74D3-23CDE0FC8B9D}"/>
                </a:ext>
              </a:extLst>
            </p:cNvPr>
            <p:cNvSpPr txBox="1"/>
            <p:nvPr userDrawn="1"/>
          </p:nvSpPr>
          <p:spPr>
            <a:xfrm>
              <a:off x="2335919" y="-581676"/>
              <a:ext cx="6337430" cy="261610"/>
            </a:xfrm>
            <a:prstGeom prst="rect">
              <a:avLst/>
            </a:prstGeom>
            <a:noFill/>
          </p:spPr>
          <p:txBody>
            <a:bodyPr wrap="square" rtlCol="0">
              <a:spAutoFit/>
            </a:bodyPr>
            <a:lstStyle/>
            <a:p>
              <a:pPr algn="ctr"/>
              <a:r>
                <a:rPr lang="nl-NL" sz="1100" noProof="1">
                  <a:solidFill>
                    <a:schemeClr val="tx1"/>
                  </a:solidFill>
                </a:rPr>
                <a:t>1 var. kleurvlak (accentkleur) via wijzigen achtergrond / kies alleen deze accentkleuren</a:t>
              </a:r>
            </a:p>
          </p:txBody>
        </p:sp>
        <p:grpSp>
          <p:nvGrpSpPr>
            <p:cNvPr id="14" name="Group 13">
              <a:extLst>
                <a:ext uri="{FF2B5EF4-FFF2-40B4-BE49-F238E27FC236}">
                  <a16:creationId xmlns:a16="http://schemas.microsoft.com/office/drawing/2014/main" id="{03A3D499-A01B-D97D-0AA3-C478E1D7BC3D}"/>
                </a:ext>
              </a:extLst>
            </p:cNvPr>
            <p:cNvGrpSpPr/>
            <p:nvPr userDrawn="1"/>
          </p:nvGrpSpPr>
          <p:grpSpPr>
            <a:xfrm>
              <a:off x="8550833" y="-543417"/>
              <a:ext cx="743864" cy="176763"/>
              <a:chOff x="4205004" y="-519709"/>
              <a:chExt cx="1108072" cy="263308"/>
            </a:xfrm>
          </p:grpSpPr>
          <p:sp>
            <p:nvSpPr>
              <p:cNvPr id="16" name="Rectangle 15">
                <a:extLst>
                  <a:ext uri="{FF2B5EF4-FFF2-40B4-BE49-F238E27FC236}">
                    <a16:creationId xmlns:a16="http://schemas.microsoft.com/office/drawing/2014/main" id="{973C7454-DD4E-AC69-D893-33F2425256AD}"/>
                  </a:ext>
                </a:extLst>
              </p:cNvPr>
              <p:cNvSpPr/>
              <p:nvPr userDrawn="1"/>
            </p:nvSpPr>
            <p:spPr>
              <a:xfrm>
                <a:off x="4205004" y="-519709"/>
                <a:ext cx="276225" cy="26330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7" name="Rectangle 16">
                <a:extLst>
                  <a:ext uri="{FF2B5EF4-FFF2-40B4-BE49-F238E27FC236}">
                    <a16:creationId xmlns:a16="http://schemas.microsoft.com/office/drawing/2014/main" id="{15B77128-BA39-329B-EB66-304F3047782C}"/>
                  </a:ext>
                </a:extLst>
              </p:cNvPr>
              <p:cNvSpPr/>
              <p:nvPr userDrawn="1"/>
            </p:nvSpPr>
            <p:spPr>
              <a:xfrm>
                <a:off x="5036851" y="-519709"/>
                <a:ext cx="276225" cy="263308"/>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8" name="Rectangle 17">
                <a:extLst>
                  <a:ext uri="{FF2B5EF4-FFF2-40B4-BE49-F238E27FC236}">
                    <a16:creationId xmlns:a16="http://schemas.microsoft.com/office/drawing/2014/main" id="{D5262C1C-2257-7479-232A-ECD0B1434C9C}"/>
                  </a:ext>
                </a:extLst>
              </p:cNvPr>
              <p:cNvSpPr/>
              <p:nvPr userDrawn="1"/>
            </p:nvSpPr>
            <p:spPr>
              <a:xfrm>
                <a:off x="4631249" y="-519709"/>
                <a:ext cx="276225" cy="263308"/>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cxnSp>
          <p:nvCxnSpPr>
            <p:cNvPr id="15" name="Straight Connector 14">
              <a:extLst>
                <a:ext uri="{FF2B5EF4-FFF2-40B4-BE49-F238E27FC236}">
                  <a16:creationId xmlns:a16="http://schemas.microsoft.com/office/drawing/2014/main" id="{682FA1A7-5FA4-094F-6C20-A35E7AC178BB}"/>
                </a:ext>
              </a:extLst>
            </p:cNvPr>
            <p:cNvCxnSpPr>
              <a:cxnSpLocks/>
            </p:cNvCxnSpPr>
            <p:nvPr userDrawn="1"/>
          </p:nvCxnSpPr>
          <p:spPr>
            <a:xfrm>
              <a:off x="2657475" y="-255323"/>
              <a:ext cx="67625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ep 5">
            <a:extLst>
              <a:ext uri="{FF2B5EF4-FFF2-40B4-BE49-F238E27FC236}">
                <a16:creationId xmlns:a16="http://schemas.microsoft.com/office/drawing/2014/main" id="{9AAB8133-D9DE-FA49-4CC2-2D43B6A62A89}"/>
              </a:ext>
            </a:extLst>
          </p:cNvPr>
          <p:cNvGrpSpPr/>
          <p:nvPr userDrawn="1"/>
        </p:nvGrpSpPr>
        <p:grpSpPr>
          <a:xfrm>
            <a:off x="10014482" y="5839298"/>
            <a:ext cx="1599388" cy="433809"/>
            <a:chOff x="3101010" y="1249096"/>
            <a:chExt cx="3978412" cy="1079079"/>
          </a:xfrm>
          <a:solidFill>
            <a:schemeClr val="bg1"/>
          </a:solidFill>
        </p:grpSpPr>
        <p:sp>
          <p:nvSpPr>
            <p:cNvPr id="8" name="Vrije vorm 7">
              <a:extLst>
                <a:ext uri="{FF2B5EF4-FFF2-40B4-BE49-F238E27FC236}">
                  <a16:creationId xmlns:a16="http://schemas.microsoft.com/office/drawing/2014/main" id="{A2EBBB9D-678E-E61C-A9C3-DE938600D87B}"/>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2CAD7138-1B37-E54A-F507-6618727C1261}"/>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65FDE0ED-0D22-0227-A1F3-4BD07E5F5B4D}"/>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4F4A1DFA-CAED-101B-F921-DE2E2230607F}"/>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A39A7344-7030-A43A-5B6F-514915393A77}"/>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BFA1B9E9-691A-94D7-CBCE-F3ECBD6926C0}"/>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6406AFA1-F8CB-7373-4FAA-C183747C3FFD}"/>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78D7CB40-2118-B002-FFE8-98695ECE6A25}"/>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7624911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hou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F074158-219E-B689-9936-B3A15631E122}"/>
              </a:ext>
            </a:extLst>
          </p:cNvPr>
          <p:cNvSpPr/>
          <p:nvPr userDrawn="1"/>
        </p:nvSpPr>
        <p:spPr>
          <a:xfrm>
            <a:off x="0" y="0"/>
            <a:ext cx="624455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p>
        </p:txBody>
      </p:sp>
      <p:sp>
        <p:nvSpPr>
          <p:cNvPr id="3" name="Title 2">
            <a:extLst>
              <a:ext uri="{FF2B5EF4-FFF2-40B4-BE49-F238E27FC236}">
                <a16:creationId xmlns:a16="http://schemas.microsoft.com/office/drawing/2014/main" id="{18FB2C3B-2209-70F3-09D5-52F99CBE3D5C}"/>
              </a:ext>
            </a:extLst>
          </p:cNvPr>
          <p:cNvSpPr>
            <a:spLocks noGrp="1"/>
          </p:cNvSpPr>
          <p:nvPr>
            <p:ph type="title"/>
          </p:nvPr>
        </p:nvSpPr>
        <p:spPr>
          <a:xfrm>
            <a:off x="1139124" y="595590"/>
            <a:ext cx="4550476" cy="1000736"/>
          </a:xfrm>
        </p:spPr>
        <p:txBody>
          <a:bodyPr/>
          <a:lstStyle>
            <a:lvl1pPr>
              <a:defRPr>
                <a:solidFill>
                  <a:schemeClr val="bg1"/>
                </a:solidFill>
              </a:defRPr>
            </a:lvl1pPr>
          </a:lstStyle>
          <a:p>
            <a:r>
              <a:rPr lang="nl-NL" dirty="0"/>
              <a:t>Klik om stijl te bewerken</a:t>
            </a:r>
            <a:endParaRPr lang="en-US" dirty="0"/>
          </a:p>
        </p:txBody>
      </p:sp>
      <p:sp>
        <p:nvSpPr>
          <p:cNvPr id="15" name="Tijdelijke aanduiding voor afbeelding 14">
            <a:extLst>
              <a:ext uri="{FF2B5EF4-FFF2-40B4-BE49-F238E27FC236}">
                <a16:creationId xmlns:a16="http://schemas.microsoft.com/office/drawing/2014/main" id="{C15A5C28-50F1-62AA-8A14-8AE7DA608F41}"/>
              </a:ext>
            </a:extLst>
          </p:cNvPr>
          <p:cNvSpPr>
            <a:spLocks noGrp="1"/>
          </p:cNvSpPr>
          <p:nvPr>
            <p:ph type="pic" sz="quarter" idx="19"/>
          </p:nvPr>
        </p:nvSpPr>
        <p:spPr>
          <a:xfrm>
            <a:off x="6244558" y="3"/>
            <a:ext cx="5947441" cy="6857998"/>
          </a:xfrm>
          <a:custGeom>
            <a:avLst/>
            <a:gdLst>
              <a:gd name="connsiteX0" fmla="*/ 4676089 w 5947441"/>
              <a:gd name="connsiteY0" fmla="*/ 6207232 h 6857998"/>
              <a:gd name="connsiteX1" fmla="*/ 4695295 w 5947441"/>
              <a:gd name="connsiteY1" fmla="*/ 6227979 h 6857998"/>
              <a:gd name="connsiteX2" fmla="*/ 4676089 w 5947441"/>
              <a:gd name="connsiteY2" fmla="*/ 6248726 h 6857998"/>
              <a:gd name="connsiteX3" fmla="*/ 4656884 w 5947441"/>
              <a:gd name="connsiteY3" fmla="*/ 6227979 h 6857998"/>
              <a:gd name="connsiteX4" fmla="*/ 4676089 w 5947441"/>
              <a:gd name="connsiteY4" fmla="*/ 6207232 h 6857998"/>
              <a:gd name="connsiteX5" fmla="*/ 5109116 w 5947441"/>
              <a:gd name="connsiteY5" fmla="*/ 6206540 h 6857998"/>
              <a:gd name="connsiteX6" fmla="*/ 5128838 w 5947441"/>
              <a:gd name="connsiteY6" fmla="*/ 6227979 h 6857998"/>
              <a:gd name="connsiteX7" fmla="*/ 5109116 w 5947441"/>
              <a:gd name="connsiteY7" fmla="*/ 6249419 h 6857998"/>
              <a:gd name="connsiteX8" fmla="*/ 5089392 w 5947441"/>
              <a:gd name="connsiteY8" fmla="*/ 6227979 h 6857998"/>
              <a:gd name="connsiteX9" fmla="*/ 5109116 w 5947441"/>
              <a:gd name="connsiteY9" fmla="*/ 6206540 h 6857998"/>
              <a:gd name="connsiteX10" fmla="*/ 4405345 w 5947441"/>
              <a:gd name="connsiteY10" fmla="*/ 6206540 h 6857998"/>
              <a:gd name="connsiteX11" fmla="*/ 4425068 w 5947441"/>
              <a:gd name="connsiteY11" fmla="*/ 6227979 h 6857998"/>
              <a:gd name="connsiteX12" fmla="*/ 4405345 w 5947441"/>
              <a:gd name="connsiteY12" fmla="*/ 6249419 h 6857998"/>
              <a:gd name="connsiteX13" fmla="*/ 4385621 w 5947441"/>
              <a:gd name="connsiteY13" fmla="*/ 6227979 h 6857998"/>
              <a:gd name="connsiteX14" fmla="*/ 4405345 w 5947441"/>
              <a:gd name="connsiteY14" fmla="*/ 6206540 h 6857998"/>
              <a:gd name="connsiteX15" fmla="*/ 5008256 w 5947441"/>
              <a:gd name="connsiteY15" fmla="*/ 6204119 h 6857998"/>
              <a:gd name="connsiteX16" fmla="*/ 5026076 w 5947441"/>
              <a:gd name="connsiteY16" fmla="*/ 6217087 h 6857998"/>
              <a:gd name="connsiteX17" fmla="*/ 4989397 w 5947441"/>
              <a:gd name="connsiteY17" fmla="*/ 6217087 h 6857998"/>
              <a:gd name="connsiteX18" fmla="*/ 5008256 w 5947441"/>
              <a:gd name="connsiteY18" fmla="*/ 6204119 h 6857998"/>
              <a:gd name="connsiteX19" fmla="*/ 4304485 w 5947441"/>
              <a:gd name="connsiteY19" fmla="*/ 6204119 h 6857998"/>
              <a:gd name="connsiteX20" fmla="*/ 4322305 w 5947441"/>
              <a:gd name="connsiteY20" fmla="*/ 6217087 h 6857998"/>
              <a:gd name="connsiteX21" fmla="*/ 4285626 w 5947441"/>
              <a:gd name="connsiteY21" fmla="*/ 6217087 h 6857998"/>
              <a:gd name="connsiteX22" fmla="*/ 4304485 w 5947441"/>
              <a:gd name="connsiteY22" fmla="*/ 6204119 h 6857998"/>
              <a:gd name="connsiteX23" fmla="*/ 4470561 w 5947441"/>
              <a:gd name="connsiteY23" fmla="*/ 6184755 h 6857998"/>
              <a:gd name="connsiteX24" fmla="*/ 4470561 w 5947441"/>
              <a:gd name="connsiteY24" fmla="*/ 6271204 h 6857998"/>
              <a:gd name="connsiteX25" fmla="*/ 4496688 w 5947441"/>
              <a:gd name="connsiteY25" fmla="*/ 6271204 h 6857998"/>
              <a:gd name="connsiteX26" fmla="*/ 4496688 w 5947441"/>
              <a:gd name="connsiteY26" fmla="*/ 6207405 h 6857998"/>
              <a:gd name="connsiteX27" fmla="*/ 4525754 w 5947441"/>
              <a:gd name="connsiteY27" fmla="*/ 6207405 h 6857998"/>
              <a:gd name="connsiteX28" fmla="*/ 4525754 w 5947441"/>
              <a:gd name="connsiteY28" fmla="*/ 6184755 h 6857998"/>
              <a:gd name="connsiteX29" fmla="*/ 5103232 w 5947441"/>
              <a:gd name="connsiteY29" fmla="*/ 6182853 h 6857998"/>
              <a:gd name="connsiteX30" fmla="*/ 5063093 w 5947441"/>
              <a:gd name="connsiteY30" fmla="*/ 6227979 h 6857998"/>
              <a:gd name="connsiteX31" fmla="*/ 5103232 w 5947441"/>
              <a:gd name="connsiteY31" fmla="*/ 6273104 h 6857998"/>
              <a:gd name="connsiteX32" fmla="*/ 5126764 w 5947441"/>
              <a:gd name="connsiteY32" fmla="*/ 6262559 h 6857998"/>
              <a:gd name="connsiteX33" fmla="*/ 5126764 w 5947441"/>
              <a:gd name="connsiteY33" fmla="*/ 6271204 h 6857998"/>
              <a:gd name="connsiteX34" fmla="*/ 5152889 w 5947441"/>
              <a:gd name="connsiteY34" fmla="*/ 6271204 h 6857998"/>
              <a:gd name="connsiteX35" fmla="*/ 5152889 w 5947441"/>
              <a:gd name="connsiteY35" fmla="*/ 6184755 h 6857998"/>
              <a:gd name="connsiteX36" fmla="*/ 5126764 w 5947441"/>
              <a:gd name="connsiteY36" fmla="*/ 6184755 h 6857998"/>
              <a:gd name="connsiteX37" fmla="*/ 5126764 w 5947441"/>
              <a:gd name="connsiteY37" fmla="*/ 6193400 h 6857998"/>
              <a:gd name="connsiteX38" fmla="*/ 5103232 w 5947441"/>
              <a:gd name="connsiteY38" fmla="*/ 6182853 h 6857998"/>
              <a:gd name="connsiteX39" fmla="*/ 5008948 w 5947441"/>
              <a:gd name="connsiteY39" fmla="*/ 6182853 h 6857998"/>
              <a:gd name="connsiteX40" fmla="*/ 4963445 w 5947441"/>
              <a:gd name="connsiteY40" fmla="*/ 6227979 h 6857998"/>
              <a:gd name="connsiteX41" fmla="*/ 5009467 w 5947441"/>
              <a:gd name="connsiteY41" fmla="*/ 6273104 h 6857998"/>
              <a:gd name="connsiteX42" fmla="*/ 5050126 w 5947441"/>
              <a:gd name="connsiteY42" fmla="*/ 6254087 h 6857998"/>
              <a:gd name="connsiteX43" fmla="*/ 5030748 w 5947441"/>
              <a:gd name="connsiteY43" fmla="*/ 6239564 h 6857998"/>
              <a:gd name="connsiteX44" fmla="*/ 5009813 w 5947441"/>
              <a:gd name="connsiteY44" fmla="*/ 6249419 h 6857998"/>
              <a:gd name="connsiteX45" fmla="*/ 4988705 w 5947441"/>
              <a:gd name="connsiteY45" fmla="*/ 6234204 h 6857998"/>
              <a:gd name="connsiteX46" fmla="*/ 5051510 w 5947441"/>
              <a:gd name="connsiteY46" fmla="*/ 6234204 h 6857998"/>
              <a:gd name="connsiteX47" fmla="*/ 5052029 w 5947441"/>
              <a:gd name="connsiteY47" fmla="*/ 6225041 h 6857998"/>
              <a:gd name="connsiteX48" fmla="*/ 5008948 w 5947441"/>
              <a:gd name="connsiteY48" fmla="*/ 6182853 h 6857998"/>
              <a:gd name="connsiteX49" fmla="*/ 4676089 w 5947441"/>
              <a:gd name="connsiteY49" fmla="*/ 6182853 h 6857998"/>
              <a:gd name="connsiteX50" fmla="*/ 4630587 w 5947441"/>
              <a:gd name="connsiteY50" fmla="*/ 6227979 h 6857998"/>
              <a:gd name="connsiteX51" fmla="*/ 4676089 w 5947441"/>
              <a:gd name="connsiteY51" fmla="*/ 6273104 h 6857998"/>
              <a:gd name="connsiteX52" fmla="*/ 4721592 w 5947441"/>
              <a:gd name="connsiteY52" fmla="*/ 6227979 h 6857998"/>
              <a:gd name="connsiteX53" fmla="*/ 4676089 w 5947441"/>
              <a:gd name="connsiteY53" fmla="*/ 6182853 h 6857998"/>
              <a:gd name="connsiteX54" fmla="*/ 4399461 w 5947441"/>
              <a:gd name="connsiteY54" fmla="*/ 6182853 h 6857998"/>
              <a:gd name="connsiteX55" fmla="*/ 4359322 w 5947441"/>
              <a:gd name="connsiteY55" fmla="*/ 6227979 h 6857998"/>
              <a:gd name="connsiteX56" fmla="*/ 4399461 w 5947441"/>
              <a:gd name="connsiteY56" fmla="*/ 6273104 h 6857998"/>
              <a:gd name="connsiteX57" fmla="*/ 4422991 w 5947441"/>
              <a:gd name="connsiteY57" fmla="*/ 6262559 h 6857998"/>
              <a:gd name="connsiteX58" fmla="*/ 4422991 w 5947441"/>
              <a:gd name="connsiteY58" fmla="*/ 6271204 h 6857998"/>
              <a:gd name="connsiteX59" fmla="*/ 4449118 w 5947441"/>
              <a:gd name="connsiteY59" fmla="*/ 6271204 h 6857998"/>
              <a:gd name="connsiteX60" fmla="*/ 4449118 w 5947441"/>
              <a:gd name="connsiteY60" fmla="*/ 6184755 h 6857998"/>
              <a:gd name="connsiteX61" fmla="*/ 4422991 w 5947441"/>
              <a:gd name="connsiteY61" fmla="*/ 6184755 h 6857998"/>
              <a:gd name="connsiteX62" fmla="*/ 4422991 w 5947441"/>
              <a:gd name="connsiteY62" fmla="*/ 6193400 h 6857998"/>
              <a:gd name="connsiteX63" fmla="*/ 4399461 w 5947441"/>
              <a:gd name="connsiteY63" fmla="*/ 6182853 h 6857998"/>
              <a:gd name="connsiteX64" fmla="*/ 4305177 w 5947441"/>
              <a:gd name="connsiteY64" fmla="*/ 6182853 h 6857998"/>
              <a:gd name="connsiteX65" fmla="*/ 4259674 w 5947441"/>
              <a:gd name="connsiteY65" fmla="*/ 6227979 h 6857998"/>
              <a:gd name="connsiteX66" fmla="*/ 4305696 w 5947441"/>
              <a:gd name="connsiteY66" fmla="*/ 6273104 h 6857998"/>
              <a:gd name="connsiteX67" fmla="*/ 4346353 w 5947441"/>
              <a:gd name="connsiteY67" fmla="*/ 6254087 h 6857998"/>
              <a:gd name="connsiteX68" fmla="*/ 4326977 w 5947441"/>
              <a:gd name="connsiteY68" fmla="*/ 6239564 h 6857998"/>
              <a:gd name="connsiteX69" fmla="*/ 4306042 w 5947441"/>
              <a:gd name="connsiteY69" fmla="*/ 6249419 h 6857998"/>
              <a:gd name="connsiteX70" fmla="*/ 4284934 w 5947441"/>
              <a:gd name="connsiteY70" fmla="*/ 6234204 h 6857998"/>
              <a:gd name="connsiteX71" fmla="*/ 4347739 w 5947441"/>
              <a:gd name="connsiteY71" fmla="*/ 6234204 h 6857998"/>
              <a:gd name="connsiteX72" fmla="*/ 4348258 w 5947441"/>
              <a:gd name="connsiteY72" fmla="*/ 6225041 h 6857998"/>
              <a:gd name="connsiteX73" fmla="*/ 4305177 w 5947441"/>
              <a:gd name="connsiteY73" fmla="*/ 6182853 h 6857998"/>
              <a:gd name="connsiteX74" fmla="*/ 5248035 w 5947441"/>
              <a:gd name="connsiteY74" fmla="*/ 6157264 h 6857998"/>
              <a:gd name="connsiteX75" fmla="*/ 5221908 w 5947441"/>
              <a:gd name="connsiteY75" fmla="*/ 6184755 h 6857998"/>
              <a:gd name="connsiteX76" fmla="*/ 5221908 w 5947441"/>
              <a:gd name="connsiteY76" fmla="*/ 6271204 h 6857998"/>
              <a:gd name="connsiteX77" fmla="*/ 5248035 w 5947441"/>
              <a:gd name="connsiteY77" fmla="*/ 6271204 h 6857998"/>
              <a:gd name="connsiteX78" fmla="*/ 5248035 w 5947441"/>
              <a:gd name="connsiteY78" fmla="*/ 6207405 h 6857998"/>
              <a:gd name="connsiteX79" fmla="*/ 5272256 w 5947441"/>
              <a:gd name="connsiteY79" fmla="*/ 6207405 h 6857998"/>
              <a:gd name="connsiteX80" fmla="*/ 5272256 w 5947441"/>
              <a:gd name="connsiteY80" fmla="*/ 6184755 h 6857998"/>
              <a:gd name="connsiteX81" fmla="*/ 5248035 w 5947441"/>
              <a:gd name="connsiteY81" fmla="*/ 6184755 h 6857998"/>
              <a:gd name="connsiteX82" fmla="*/ 4566234 w 5947441"/>
              <a:gd name="connsiteY82" fmla="*/ 6157264 h 6857998"/>
              <a:gd name="connsiteX83" fmla="*/ 4540108 w 5947441"/>
              <a:gd name="connsiteY83" fmla="*/ 6184755 h 6857998"/>
              <a:gd name="connsiteX84" fmla="*/ 4540108 w 5947441"/>
              <a:gd name="connsiteY84" fmla="*/ 6271204 h 6857998"/>
              <a:gd name="connsiteX85" fmla="*/ 4566234 w 5947441"/>
              <a:gd name="connsiteY85" fmla="*/ 6271204 h 6857998"/>
              <a:gd name="connsiteX86" fmla="*/ 4566234 w 5947441"/>
              <a:gd name="connsiteY86" fmla="*/ 6207405 h 6857998"/>
              <a:gd name="connsiteX87" fmla="*/ 4590455 w 5947441"/>
              <a:gd name="connsiteY87" fmla="*/ 6207405 h 6857998"/>
              <a:gd name="connsiteX88" fmla="*/ 4590455 w 5947441"/>
              <a:gd name="connsiteY88" fmla="*/ 6184755 h 6857998"/>
              <a:gd name="connsiteX89" fmla="*/ 4566234 w 5947441"/>
              <a:gd name="connsiteY89" fmla="*/ 6184755 h 6857998"/>
              <a:gd name="connsiteX90" fmla="*/ 4843725 w 5947441"/>
              <a:gd name="connsiteY90" fmla="*/ 6148448 h 6857998"/>
              <a:gd name="connsiteX91" fmla="*/ 4843725 w 5947441"/>
              <a:gd name="connsiteY91" fmla="*/ 6271204 h 6857998"/>
              <a:gd name="connsiteX92" fmla="*/ 4871235 w 5947441"/>
              <a:gd name="connsiteY92" fmla="*/ 6271204 h 6857998"/>
              <a:gd name="connsiteX93" fmla="*/ 4871235 w 5947441"/>
              <a:gd name="connsiteY93" fmla="*/ 6222620 h 6857998"/>
              <a:gd name="connsiteX94" fmla="*/ 4920717 w 5947441"/>
              <a:gd name="connsiteY94" fmla="*/ 6222620 h 6857998"/>
              <a:gd name="connsiteX95" fmla="*/ 4920717 w 5947441"/>
              <a:gd name="connsiteY95" fmla="*/ 6271204 h 6857998"/>
              <a:gd name="connsiteX96" fmla="*/ 4948226 w 5947441"/>
              <a:gd name="connsiteY96" fmla="*/ 6271204 h 6857998"/>
              <a:gd name="connsiteX97" fmla="*/ 4948226 w 5947441"/>
              <a:gd name="connsiteY97" fmla="*/ 6148448 h 6857998"/>
              <a:gd name="connsiteX98" fmla="*/ 4920717 w 5947441"/>
              <a:gd name="connsiteY98" fmla="*/ 6148448 h 6857998"/>
              <a:gd name="connsiteX99" fmla="*/ 4920717 w 5947441"/>
              <a:gd name="connsiteY99" fmla="*/ 6196512 h 6857998"/>
              <a:gd name="connsiteX100" fmla="*/ 4871235 w 5947441"/>
              <a:gd name="connsiteY100" fmla="*/ 6196512 h 6857998"/>
              <a:gd name="connsiteX101" fmla="*/ 4871235 w 5947441"/>
              <a:gd name="connsiteY101" fmla="*/ 6148448 h 6857998"/>
              <a:gd name="connsiteX102" fmla="*/ 4139954 w 5947441"/>
              <a:gd name="connsiteY102" fmla="*/ 6148448 h 6857998"/>
              <a:gd name="connsiteX103" fmla="*/ 4139954 w 5947441"/>
              <a:gd name="connsiteY103" fmla="*/ 6232862 h 6857998"/>
              <a:gd name="connsiteX104" fmla="*/ 4167462 w 5947441"/>
              <a:gd name="connsiteY104" fmla="*/ 6260352 h 6857998"/>
              <a:gd name="connsiteX105" fmla="*/ 4167462 w 5947441"/>
              <a:gd name="connsiteY105" fmla="*/ 6222620 h 6857998"/>
              <a:gd name="connsiteX106" fmla="*/ 4216946 w 5947441"/>
              <a:gd name="connsiteY106" fmla="*/ 6222620 h 6857998"/>
              <a:gd name="connsiteX107" fmla="*/ 4216946 w 5947441"/>
              <a:gd name="connsiteY107" fmla="*/ 6271204 h 6857998"/>
              <a:gd name="connsiteX108" fmla="*/ 4244455 w 5947441"/>
              <a:gd name="connsiteY108" fmla="*/ 6271204 h 6857998"/>
              <a:gd name="connsiteX109" fmla="*/ 4244455 w 5947441"/>
              <a:gd name="connsiteY109" fmla="*/ 6148448 h 6857998"/>
              <a:gd name="connsiteX110" fmla="*/ 4216946 w 5947441"/>
              <a:gd name="connsiteY110" fmla="*/ 6148448 h 6857998"/>
              <a:gd name="connsiteX111" fmla="*/ 4216946 w 5947441"/>
              <a:gd name="connsiteY111" fmla="*/ 6196512 h 6857998"/>
              <a:gd name="connsiteX112" fmla="*/ 4167462 w 5947441"/>
              <a:gd name="connsiteY112" fmla="*/ 6196512 h 6857998"/>
              <a:gd name="connsiteX113" fmla="*/ 4167462 w 5947441"/>
              <a:gd name="connsiteY113" fmla="*/ 6148448 h 6857998"/>
              <a:gd name="connsiteX114" fmla="*/ 5285572 w 5947441"/>
              <a:gd name="connsiteY114" fmla="*/ 6141531 h 6857998"/>
              <a:gd name="connsiteX115" fmla="*/ 5285572 w 5947441"/>
              <a:gd name="connsiteY115" fmla="*/ 6271204 h 6857998"/>
              <a:gd name="connsiteX116" fmla="*/ 5311699 w 5947441"/>
              <a:gd name="connsiteY116" fmla="*/ 6271204 h 6857998"/>
              <a:gd name="connsiteX117" fmla="*/ 5311699 w 5947441"/>
              <a:gd name="connsiteY117" fmla="*/ 6229189 h 6857998"/>
              <a:gd name="connsiteX118" fmla="*/ 5329173 w 5947441"/>
              <a:gd name="connsiteY118" fmla="*/ 6206540 h 6857998"/>
              <a:gd name="connsiteX119" fmla="*/ 5343186 w 5947441"/>
              <a:gd name="connsiteY119" fmla="*/ 6225731 h 6857998"/>
              <a:gd name="connsiteX120" fmla="*/ 5343186 w 5947441"/>
              <a:gd name="connsiteY120" fmla="*/ 6271204 h 6857998"/>
              <a:gd name="connsiteX121" fmla="*/ 5369312 w 5947441"/>
              <a:gd name="connsiteY121" fmla="*/ 6271204 h 6857998"/>
              <a:gd name="connsiteX122" fmla="*/ 5369312 w 5947441"/>
              <a:gd name="connsiteY122" fmla="*/ 6221237 h 6857998"/>
              <a:gd name="connsiteX123" fmla="*/ 5335747 w 5947441"/>
              <a:gd name="connsiteY123" fmla="*/ 6182853 h 6857998"/>
              <a:gd name="connsiteX124" fmla="*/ 5311699 w 5947441"/>
              <a:gd name="connsiteY124" fmla="*/ 6193574 h 6857998"/>
              <a:gd name="connsiteX125" fmla="*/ 5311699 w 5947441"/>
              <a:gd name="connsiteY125" fmla="*/ 6141531 h 6857998"/>
              <a:gd name="connsiteX126" fmla="*/ 5174334 w 5947441"/>
              <a:gd name="connsiteY126" fmla="*/ 6141531 h 6857998"/>
              <a:gd name="connsiteX127" fmla="*/ 5174334 w 5947441"/>
              <a:gd name="connsiteY127" fmla="*/ 6271204 h 6857998"/>
              <a:gd name="connsiteX128" fmla="*/ 5200460 w 5947441"/>
              <a:gd name="connsiteY128" fmla="*/ 6271204 h 6857998"/>
              <a:gd name="connsiteX129" fmla="*/ 5200460 w 5947441"/>
              <a:gd name="connsiteY129" fmla="*/ 6141531 h 6857998"/>
              <a:gd name="connsiteX130" fmla="*/ 4780585 w 5947441"/>
              <a:gd name="connsiteY130" fmla="*/ 6140494 h 6857998"/>
              <a:gd name="connsiteX131" fmla="*/ 4745808 w 5947441"/>
              <a:gd name="connsiteY131" fmla="*/ 6175247 h 6857998"/>
              <a:gd name="connsiteX132" fmla="*/ 4745808 w 5947441"/>
              <a:gd name="connsiteY132" fmla="*/ 6184755 h 6857998"/>
              <a:gd name="connsiteX133" fmla="*/ 4728508 w 5947441"/>
              <a:gd name="connsiteY133" fmla="*/ 6184755 h 6857998"/>
              <a:gd name="connsiteX134" fmla="*/ 4728508 w 5947441"/>
              <a:gd name="connsiteY134" fmla="*/ 6207405 h 6857998"/>
              <a:gd name="connsiteX135" fmla="*/ 4745808 w 5947441"/>
              <a:gd name="connsiteY135" fmla="*/ 6207405 h 6857998"/>
              <a:gd name="connsiteX136" fmla="*/ 4745808 w 5947441"/>
              <a:gd name="connsiteY136" fmla="*/ 6271204 h 6857998"/>
              <a:gd name="connsiteX137" fmla="*/ 4771934 w 5947441"/>
              <a:gd name="connsiteY137" fmla="*/ 6271204 h 6857998"/>
              <a:gd name="connsiteX138" fmla="*/ 4771934 w 5947441"/>
              <a:gd name="connsiteY138" fmla="*/ 6207405 h 6857998"/>
              <a:gd name="connsiteX139" fmla="*/ 4796157 w 5947441"/>
              <a:gd name="connsiteY139" fmla="*/ 6207405 h 6857998"/>
              <a:gd name="connsiteX140" fmla="*/ 4796157 w 5947441"/>
              <a:gd name="connsiteY140" fmla="*/ 6184755 h 6857998"/>
              <a:gd name="connsiteX141" fmla="*/ 4771934 w 5947441"/>
              <a:gd name="connsiteY141" fmla="*/ 6184755 h 6857998"/>
              <a:gd name="connsiteX142" fmla="*/ 4771934 w 5947441"/>
              <a:gd name="connsiteY142" fmla="*/ 6178531 h 6857998"/>
              <a:gd name="connsiteX143" fmla="*/ 4786814 w 5947441"/>
              <a:gd name="connsiteY143" fmla="*/ 6163835 h 6857998"/>
              <a:gd name="connsiteX144" fmla="*/ 4796157 w 5947441"/>
              <a:gd name="connsiteY144" fmla="*/ 6165390 h 6857998"/>
              <a:gd name="connsiteX145" fmla="*/ 4796157 w 5947441"/>
              <a:gd name="connsiteY145" fmla="*/ 6142395 h 6857998"/>
              <a:gd name="connsiteX146" fmla="*/ 4780585 w 5947441"/>
              <a:gd name="connsiteY146" fmla="*/ 6140494 h 6857998"/>
              <a:gd name="connsiteX147" fmla="*/ 4314342 w 5947441"/>
              <a:gd name="connsiteY147" fmla="*/ 5948845 h 6857998"/>
              <a:gd name="connsiteX148" fmla="*/ 4353322 w 5947441"/>
              <a:gd name="connsiteY148" fmla="*/ 5975334 h 6857998"/>
              <a:gd name="connsiteX149" fmla="*/ 4273784 w 5947441"/>
              <a:gd name="connsiteY149" fmla="*/ 5975334 h 6857998"/>
              <a:gd name="connsiteX150" fmla="*/ 4314342 w 5947441"/>
              <a:gd name="connsiteY150" fmla="*/ 5948845 h 6857998"/>
              <a:gd name="connsiteX151" fmla="*/ 4314018 w 5947441"/>
              <a:gd name="connsiteY151" fmla="*/ 5896018 h 6857998"/>
              <a:gd name="connsiteX152" fmla="*/ 4213801 w 5947441"/>
              <a:gd name="connsiteY152" fmla="*/ 5997928 h 6857998"/>
              <a:gd name="connsiteX153" fmla="*/ 4314342 w 5947441"/>
              <a:gd name="connsiteY153" fmla="*/ 6098568 h 6857998"/>
              <a:gd name="connsiteX154" fmla="*/ 4390755 w 5947441"/>
              <a:gd name="connsiteY154" fmla="*/ 6069221 h 6857998"/>
              <a:gd name="connsiteX155" fmla="*/ 4353830 w 5947441"/>
              <a:gd name="connsiteY155" fmla="*/ 6032391 h 6857998"/>
              <a:gd name="connsiteX156" fmla="*/ 4316581 w 5947441"/>
              <a:gd name="connsiteY156" fmla="*/ 6045670 h 6857998"/>
              <a:gd name="connsiteX157" fmla="*/ 4281813 w 5947441"/>
              <a:gd name="connsiteY157" fmla="*/ 6030954 h 6857998"/>
              <a:gd name="connsiteX158" fmla="*/ 4276855 w 5947441"/>
              <a:gd name="connsiteY158" fmla="*/ 6024995 h 6857998"/>
              <a:gd name="connsiteX159" fmla="*/ 4275790 w 5947441"/>
              <a:gd name="connsiteY159" fmla="*/ 6023401 h 6857998"/>
              <a:gd name="connsiteX160" fmla="*/ 4275769 w 5947441"/>
              <a:gd name="connsiteY160" fmla="*/ 6023401 h 6857998"/>
              <a:gd name="connsiteX161" fmla="*/ 4271627 w 5947441"/>
              <a:gd name="connsiteY161" fmla="*/ 6015789 h 6857998"/>
              <a:gd name="connsiteX162" fmla="*/ 4410369 w 5947441"/>
              <a:gd name="connsiteY162" fmla="*/ 6015789 h 6857998"/>
              <a:gd name="connsiteX163" fmla="*/ 4412656 w 5947441"/>
              <a:gd name="connsiteY163" fmla="*/ 5995059 h 6857998"/>
              <a:gd name="connsiteX164" fmla="*/ 4314018 w 5947441"/>
              <a:gd name="connsiteY164" fmla="*/ 5896018 h 6857998"/>
              <a:gd name="connsiteX165" fmla="*/ 4110956 w 5947441"/>
              <a:gd name="connsiteY165" fmla="*/ 5896007 h 6857998"/>
              <a:gd name="connsiteX166" fmla="*/ 4110956 w 5947441"/>
              <a:gd name="connsiteY166" fmla="*/ 6096898 h 6857998"/>
              <a:gd name="connsiteX167" fmla="*/ 4167419 w 5947441"/>
              <a:gd name="connsiteY167" fmla="*/ 6096898 h 6857998"/>
              <a:gd name="connsiteX168" fmla="*/ 4167419 w 5947441"/>
              <a:gd name="connsiteY168" fmla="*/ 5947559 h 6857998"/>
              <a:gd name="connsiteX169" fmla="*/ 4212811 w 5947441"/>
              <a:gd name="connsiteY169" fmla="*/ 5947559 h 6857998"/>
              <a:gd name="connsiteX170" fmla="*/ 4212811 w 5947441"/>
              <a:gd name="connsiteY170" fmla="*/ 5896007 h 6857998"/>
              <a:gd name="connsiteX171" fmla="*/ 4529422 w 5947441"/>
              <a:gd name="connsiteY171" fmla="*/ 5895985 h 6857998"/>
              <a:gd name="connsiteX172" fmla="*/ 4528470 w 5947441"/>
              <a:gd name="connsiteY172" fmla="*/ 5896050 h 6857998"/>
              <a:gd name="connsiteX173" fmla="*/ 4428372 w 5947441"/>
              <a:gd name="connsiteY173" fmla="*/ 5996690 h 6857998"/>
              <a:gd name="connsiteX174" fmla="*/ 4529811 w 5947441"/>
              <a:gd name="connsiteY174" fmla="*/ 6098600 h 6857998"/>
              <a:gd name="connsiteX175" fmla="*/ 4609549 w 5947441"/>
              <a:gd name="connsiteY175" fmla="*/ 6061403 h 6857998"/>
              <a:gd name="connsiteX176" fmla="*/ 4613733 w 5947441"/>
              <a:gd name="connsiteY176" fmla="*/ 6056497 h 6857998"/>
              <a:gd name="connsiteX177" fmla="*/ 4577722 w 5947441"/>
              <a:gd name="connsiteY177" fmla="*/ 6020456 h 6857998"/>
              <a:gd name="connsiteX178" fmla="*/ 4572624 w 5947441"/>
              <a:gd name="connsiteY178" fmla="*/ 6025594 h 6857998"/>
              <a:gd name="connsiteX179" fmla="*/ 4530741 w 5947441"/>
              <a:gd name="connsiteY179" fmla="*/ 6045762 h 6857998"/>
              <a:gd name="connsiteX180" fmla="*/ 4484846 w 5947441"/>
              <a:gd name="connsiteY180" fmla="*/ 5997333 h 6857998"/>
              <a:gd name="connsiteX181" fmla="*/ 4529611 w 5947441"/>
              <a:gd name="connsiteY181" fmla="*/ 5948855 h 6857998"/>
              <a:gd name="connsiteX182" fmla="*/ 4530573 w 5947441"/>
              <a:gd name="connsiteY182" fmla="*/ 5948790 h 6857998"/>
              <a:gd name="connsiteX183" fmla="*/ 4572602 w 5947441"/>
              <a:gd name="connsiteY183" fmla="*/ 5968948 h 6857998"/>
              <a:gd name="connsiteX184" fmla="*/ 4577700 w 5947441"/>
              <a:gd name="connsiteY184" fmla="*/ 5974064 h 6857998"/>
              <a:gd name="connsiteX185" fmla="*/ 4613733 w 5947441"/>
              <a:gd name="connsiteY185" fmla="*/ 5938061 h 6857998"/>
              <a:gd name="connsiteX186" fmla="*/ 4609538 w 5947441"/>
              <a:gd name="connsiteY186" fmla="*/ 5933145 h 6857998"/>
              <a:gd name="connsiteX187" fmla="*/ 4529422 w 5947441"/>
              <a:gd name="connsiteY187" fmla="*/ 5895985 h 6857998"/>
              <a:gd name="connsiteX188" fmla="*/ 3912831 w 5947441"/>
              <a:gd name="connsiteY188" fmla="*/ 5863028 h 6857998"/>
              <a:gd name="connsiteX189" fmla="*/ 3912831 w 5947441"/>
              <a:gd name="connsiteY189" fmla="*/ 5990061 h 6857998"/>
              <a:gd name="connsiteX190" fmla="*/ 3911858 w 5947441"/>
              <a:gd name="connsiteY190" fmla="*/ 6004922 h 6857998"/>
              <a:gd name="connsiteX191" fmla="*/ 3911858 w 5947441"/>
              <a:gd name="connsiteY191" fmla="*/ 6004922 h 6857998"/>
              <a:gd name="connsiteX192" fmla="*/ 3911858 w 5947441"/>
              <a:gd name="connsiteY192" fmla="*/ 6004923 h 6857998"/>
              <a:gd name="connsiteX193" fmla="*/ 3769924 w 5947441"/>
              <a:gd name="connsiteY193" fmla="*/ 5863087 h 6857998"/>
              <a:gd name="connsiteX194" fmla="*/ 3769924 w 5947441"/>
              <a:gd name="connsiteY194" fmla="*/ 5990060 h 6857998"/>
              <a:gd name="connsiteX195" fmla="*/ 3787489 w 5947441"/>
              <a:gd name="connsiteY195" fmla="*/ 6058013 h 6857998"/>
              <a:gd name="connsiteX196" fmla="*/ 3871536 w 5947441"/>
              <a:gd name="connsiteY196" fmla="*/ 6098501 h 6857998"/>
              <a:gd name="connsiteX197" fmla="*/ 3955583 w 5947441"/>
              <a:gd name="connsiteY197" fmla="*/ 6058013 h 6857998"/>
              <a:gd name="connsiteX198" fmla="*/ 3959335 w 5947441"/>
              <a:gd name="connsiteY198" fmla="*/ 6052367 h 6857998"/>
              <a:gd name="connsiteX199" fmla="*/ 3959334 w 5947441"/>
              <a:gd name="connsiteY199" fmla="*/ 6052365 h 6857998"/>
              <a:gd name="connsiteX200" fmla="*/ 3959336 w 5947441"/>
              <a:gd name="connsiteY200" fmla="*/ 6052367 h 6857998"/>
              <a:gd name="connsiteX201" fmla="*/ 3973148 w 5947441"/>
              <a:gd name="connsiteY201" fmla="*/ 5990060 h 6857998"/>
              <a:gd name="connsiteX202" fmla="*/ 3973148 w 5947441"/>
              <a:gd name="connsiteY202" fmla="*/ 5863028 h 6857998"/>
              <a:gd name="connsiteX203" fmla="*/ 4056543 w 5947441"/>
              <a:gd name="connsiteY203" fmla="*/ 5839377 h 6857998"/>
              <a:gd name="connsiteX204" fmla="*/ 4000068 w 5947441"/>
              <a:gd name="connsiteY204" fmla="*/ 5896018 h 6857998"/>
              <a:gd name="connsiteX205" fmla="*/ 4000068 w 5947441"/>
              <a:gd name="connsiteY205" fmla="*/ 6096899 h 6857998"/>
              <a:gd name="connsiteX206" fmla="*/ 4056543 w 5947441"/>
              <a:gd name="connsiteY206" fmla="*/ 6096899 h 6857998"/>
              <a:gd name="connsiteX207" fmla="*/ 4056543 w 5947441"/>
              <a:gd name="connsiteY207" fmla="*/ 5947559 h 6857998"/>
              <a:gd name="connsiteX208" fmla="*/ 4093208 w 5947441"/>
              <a:gd name="connsiteY208" fmla="*/ 5947559 h 6857998"/>
              <a:gd name="connsiteX209" fmla="*/ 4093208 w 5947441"/>
              <a:gd name="connsiteY209" fmla="*/ 5896008 h 6857998"/>
              <a:gd name="connsiteX210" fmla="*/ 4056543 w 5947441"/>
              <a:gd name="connsiteY210" fmla="*/ 5896008 h 6857998"/>
              <a:gd name="connsiteX211" fmla="*/ 4690438 w 5947441"/>
              <a:gd name="connsiteY211" fmla="*/ 5839296 h 6857998"/>
              <a:gd name="connsiteX212" fmla="*/ 4633974 w 5947441"/>
              <a:gd name="connsiteY212" fmla="*/ 5896019 h 6857998"/>
              <a:gd name="connsiteX213" fmla="*/ 4633974 w 5947441"/>
              <a:gd name="connsiteY213" fmla="*/ 6096898 h 6857998"/>
              <a:gd name="connsiteX214" fmla="*/ 4690438 w 5947441"/>
              <a:gd name="connsiteY214" fmla="*/ 6096898 h 6857998"/>
              <a:gd name="connsiteX215" fmla="*/ 4690438 w 5947441"/>
              <a:gd name="connsiteY215" fmla="*/ 5996167 h 6857998"/>
              <a:gd name="connsiteX216" fmla="*/ 4719194 w 5947441"/>
              <a:gd name="connsiteY216" fmla="*/ 5948996 h 6857998"/>
              <a:gd name="connsiteX217" fmla="*/ 4748594 w 5947441"/>
              <a:gd name="connsiteY217" fmla="*/ 5995529 h 6857998"/>
              <a:gd name="connsiteX218" fmla="*/ 4748594 w 5947441"/>
              <a:gd name="connsiteY218" fmla="*/ 6096898 h 6857998"/>
              <a:gd name="connsiteX219" fmla="*/ 4805057 w 5947441"/>
              <a:gd name="connsiteY219" fmla="*/ 6096898 h 6857998"/>
              <a:gd name="connsiteX220" fmla="*/ 4805057 w 5947441"/>
              <a:gd name="connsiteY220" fmla="*/ 5986296 h 6857998"/>
              <a:gd name="connsiteX221" fmla="*/ 4789514 w 5947441"/>
              <a:gd name="connsiteY221" fmla="*/ 5925917 h 6857998"/>
              <a:gd name="connsiteX222" fmla="*/ 4729407 w 5947441"/>
              <a:gd name="connsiteY222" fmla="*/ 5896164 h 6857998"/>
              <a:gd name="connsiteX223" fmla="*/ 4690438 w 5947441"/>
              <a:gd name="connsiteY223" fmla="*/ 5907142 h 6857998"/>
              <a:gd name="connsiteX224" fmla="*/ 4889213 w 5947441"/>
              <a:gd name="connsiteY224" fmla="*/ 5839295 h 6857998"/>
              <a:gd name="connsiteX225" fmla="*/ 4832749 w 5947441"/>
              <a:gd name="connsiteY225" fmla="*/ 5896018 h 6857998"/>
              <a:gd name="connsiteX226" fmla="*/ 4832749 w 5947441"/>
              <a:gd name="connsiteY226" fmla="*/ 6096897 h 6857998"/>
              <a:gd name="connsiteX227" fmla="*/ 4889213 w 5947441"/>
              <a:gd name="connsiteY227" fmla="*/ 6096897 h 6857998"/>
              <a:gd name="connsiteX228" fmla="*/ 4889213 w 5947441"/>
              <a:gd name="connsiteY228" fmla="*/ 5947483 h 6857998"/>
              <a:gd name="connsiteX229" fmla="*/ 4925889 w 5947441"/>
              <a:gd name="connsiteY229" fmla="*/ 5947483 h 6857998"/>
              <a:gd name="connsiteX230" fmla="*/ 4925889 w 5947441"/>
              <a:gd name="connsiteY230" fmla="*/ 5895931 h 6857998"/>
              <a:gd name="connsiteX231" fmla="*/ 4889213 w 5947441"/>
              <a:gd name="connsiteY231" fmla="*/ 5895931 h 6857998"/>
              <a:gd name="connsiteX232" fmla="*/ 0 w 5947441"/>
              <a:gd name="connsiteY232" fmla="*/ 0 h 6857998"/>
              <a:gd name="connsiteX233" fmla="*/ 5947441 w 5947441"/>
              <a:gd name="connsiteY233" fmla="*/ 0 h 6857998"/>
              <a:gd name="connsiteX234" fmla="*/ 5947441 w 5947441"/>
              <a:gd name="connsiteY234" fmla="*/ 6857998 h 6857998"/>
              <a:gd name="connsiteX235" fmla="*/ 0 w 5947441"/>
              <a:gd name="connsiteY23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5947441" h="6857998">
                <a:moveTo>
                  <a:pt x="4676089" y="6207232"/>
                </a:moveTo>
                <a:cubicBezTo>
                  <a:pt x="4686990" y="6207232"/>
                  <a:pt x="4695295" y="6215704"/>
                  <a:pt x="4695295" y="6227979"/>
                </a:cubicBezTo>
                <a:cubicBezTo>
                  <a:pt x="4695295" y="6240255"/>
                  <a:pt x="4686990" y="6248726"/>
                  <a:pt x="4676089" y="6248726"/>
                </a:cubicBezTo>
                <a:cubicBezTo>
                  <a:pt x="4665190" y="6248726"/>
                  <a:pt x="4656884" y="6240255"/>
                  <a:pt x="4656884" y="6227979"/>
                </a:cubicBezTo>
                <a:cubicBezTo>
                  <a:pt x="4656884" y="6215704"/>
                  <a:pt x="4665190" y="6207232"/>
                  <a:pt x="4676089" y="6207232"/>
                </a:cubicBezTo>
                <a:close/>
                <a:moveTo>
                  <a:pt x="5109116" y="6206540"/>
                </a:moveTo>
                <a:cubicBezTo>
                  <a:pt x="5120881" y="6206540"/>
                  <a:pt x="5128838" y="6215531"/>
                  <a:pt x="5128838" y="6227979"/>
                </a:cubicBezTo>
                <a:cubicBezTo>
                  <a:pt x="5128838" y="6240428"/>
                  <a:pt x="5120881" y="6249419"/>
                  <a:pt x="5109116" y="6249419"/>
                </a:cubicBezTo>
                <a:cubicBezTo>
                  <a:pt x="5097350" y="6249419"/>
                  <a:pt x="5089392" y="6240428"/>
                  <a:pt x="5089392" y="6227979"/>
                </a:cubicBezTo>
                <a:cubicBezTo>
                  <a:pt x="5089392" y="6215531"/>
                  <a:pt x="5097350" y="6206540"/>
                  <a:pt x="5109116" y="6206540"/>
                </a:cubicBezTo>
                <a:close/>
                <a:moveTo>
                  <a:pt x="4405345" y="6206540"/>
                </a:moveTo>
                <a:cubicBezTo>
                  <a:pt x="4417110" y="6206540"/>
                  <a:pt x="4425068" y="6215531"/>
                  <a:pt x="4425068" y="6227979"/>
                </a:cubicBezTo>
                <a:cubicBezTo>
                  <a:pt x="4425068" y="6240428"/>
                  <a:pt x="4417110" y="6249419"/>
                  <a:pt x="4405345" y="6249419"/>
                </a:cubicBezTo>
                <a:cubicBezTo>
                  <a:pt x="4393579" y="6249419"/>
                  <a:pt x="4385621" y="6240428"/>
                  <a:pt x="4385621" y="6227979"/>
                </a:cubicBezTo>
                <a:cubicBezTo>
                  <a:pt x="4385621" y="6215531"/>
                  <a:pt x="4393579" y="6206540"/>
                  <a:pt x="4405345" y="6206540"/>
                </a:cubicBezTo>
                <a:close/>
                <a:moveTo>
                  <a:pt x="5008256" y="6204119"/>
                </a:moveTo>
                <a:cubicBezTo>
                  <a:pt x="5015868" y="6204119"/>
                  <a:pt x="5023828" y="6207923"/>
                  <a:pt x="5026076" y="6217087"/>
                </a:cubicBezTo>
                <a:lnTo>
                  <a:pt x="4989397" y="6217087"/>
                </a:lnTo>
                <a:cubicBezTo>
                  <a:pt x="4991646" y="6207577"/>
                  <a:pt x="5000643" y="6204119"/>
                  <a:pt x="5008256" y="6204119"/>
                </a:cubicBezTo>
                <a:close/>
                <a:moveTo>
                  <a:pt x="4304485" y="6204119"/>
                </a:moveTo>
                <a:cubicBezTo>
                  <a:pt x="4312097" y="6204119"/>
                  <a:pt x="4320057" y="6207923"/>
                  <a:pt x="4322305" y="6217087"/>
                </a:cubicBezTo>
                <a:lnTo>
                  <a:pt x="4285626" y="6217087"/>
                </a:lnTo>
                <a:cubicBezTo>
                  <a:pt x="4287875" y="6207577"/>
                  <a:pt x="4296872" y="6204119"/>
                  <a:pt x="4304485" y="6204119"/>
                </a:cubicBezTo>
                <a:close/>
                <a:moveTo>
                  <a:pt x="4470561" y="6184755"/>
                </a:moveTo>
                <a:lnTo>
                  <a:pt x="4470561" y="6271204"/>
                </a:lnTo>
                <a:lnTo>
                  <a:pt x="4496688" y="6271204"/>
                </a:lnTo>
                <a:lnTo>
                  <a:pt x="4496688" y="6207405"/>
                </a:lnTo>
                <a:lnTo>
                  <a:pt x="4525754" y="6207405"/>
                </a:lnTo>
                <a:lnTo>
                  <a:pt x="4525754" y="6184755"/>
                </a:lnTo>
                <a:close/>
                <a:moveTo>
                  <a:pt x="5103232" y="6182853"/>
                </a:moveTo>
                <a:cubicBezTo>
                  <a:pt x="5080568" y="6182853"/>
                  <a:pt x="5063093" y="6203429"/>
                  <a:pt x="5063093" y="6227979"/>
                </a:cubicBezTo>
                <a:cubicBezTo>
                  <a:pt x="5063093" y="6252531"/>
                  <a:pt x="5080568" y="6273104"/>
                  <a:pt x="5103232" y="6273104"/>
                </a:cubicBezTo>
                <a:cubicBezTo>
                  <a:pt x="5114824" y="6273104"/>
                  <a:pt x="5123302" y="6267228"/>
                  <a:pt x="5126764" y="6262559"/>
                </a:cubicBezTo>
                <a:lnTo>
                  <a:pt x="5126764" y="6271204"/>
                </a:lnTo>
                <a:lnTo>
                  <a:pt x="5152889" y="6271204"/>
                </a:lnTo>
                <a:lnTo>
                  <a:pt x="5152889" y="6184755"/>
                </a:lnTo>
                <a:lnTo>
                  <a:pt x="5126764" y="6184755"/>
                </a:lnTo>
                <a:lnTo>
                  <a:pt x="5126764" y="6193400"/>
                </a:lnTo>
                <a:cubicBezTo>
                  <a:pt x="5123302" y="6188732"/>
                  <a:pt x="5114824" y="6182853"/>
                  <a:pt x="5103232" y="6182853"/>
                </a:cubicBezTo>
                <a:close/>
                <a:moveTo>
                  <a:pt x="5008948" y="6182853"/>
                </a:moveTo>
                <a:cubicBezTo>
                  <a:pt x="4982649" y="6182853"/>
                  <a:pt x="4963445" y="6202218"/>
                  <a:pt x="4963445" y="6227979"/>
                </a:cubicBezTo>
                <a:cubicBezTo>
                  <a:pt x="4963445" y="6255816"/>
                  <a:pt x="4984033" y="6273104"/>
                  <a:pt x="5009467" y="6273104"/>
                </a:cubicBezTo>
                <a:cubicBezTo>
                  <a:pt x="5027634" y="6273104"/>
                  <a:pt x="5041993" y="6265498"/>
                  <a:pt x="5050126" y="6254087"/>
                </a:cubicBezTo>
                <a:lnTo>
                  <a:pt x="5030748" y="6239564"/>
                </a:lnTo>
                <a:cubicBezTo>
                  <a:pt x="5027460" y="6244577"/>
                  <a:pt x="5019847" y="6249419"/>
                  <a:pt x="5009813" y="6249419"/>
                </a:cubicBezTo>
                <a:cubicBezTo>
                  <a:pt x="4999951" y="6249419"/>
                  <a:pt x="4990262" y="6244577"/>
                  <a:pt x="4988705" y="6234204"/>
                </a:cubicBezTo>
                <a:lnTo>
                  <a:pt x="5051510" y="6234204"/>
                </a:lnTo>
                <a:cubicBezTo>
                  <a:pt x="5052029" y="6230053"/>
                  <a:pt x="5052029" y="6227288"/>
                  <a:pt x="5052029" y="6225041"/>
                </a:cubicBezTo>
                <a:cubicBezTo>
                  <a:pt x="5052029" y="6197031"/>
                  <a:pt x="5031785" y="6182853"/>
                  <a:pt x="5008948" y="6182853"/>
                </a:cubicBezTo>
                <a:close/>
                <a:moveTo>
                  <a:pt x="4676089" y="6182853"/>
                </a:moveTo>
                <a:cubicBezTo>
                  <a:pt x="4651176" y="6182853"/>
                  <a:pt x="4630587" y="6202564"/>
                  <a:pt x="4630587" y="6227979"/>
                </a:cubicBezTo>
                <a:cubicBezTo>
                  <a:pt x="4630587" y="6253395"/>
                  <a:pt x="4651176" y="6273104"/>
                  <a:pt x="4676089" y="6273104"/>
                </a:cubicBezTo>
                <a:cubicBezTo>
                  <a:pt x="4701004" y="6273104"/>
                  <a:pt x="4721592" y="6253395"/>
                  <a:pt x="4721592" y="6227979"/>
                </a:cubicBezTo>
                <a:cubicBezTo>
                  <a:pt x="4721592" y="6202564"/>
                  <a:pt x="4701004" y="6182853"/>
                  <a:pt x="4676089" y="6182853"/>
                </a:cubicBezTo>
                <a:close/>
                <a:moveTo>
                  <a:pt x="4399461" y="6182853"/>
                </a:moveTo>
                <a:cubicBezTo>
                  <a:pt x="4376797" y="6182853"/>
                  <a:pt x="4359322" y="6203429"/>
                  <a:pt x="4359322" y="6227979"/>
                </a:cubicBezTo>
                <a:cubicBezTo>
                  <a:pt x="4359322" y="6252531"/>
                  <a:pt x="4376797" y="6273104"/>
                  <a:pt x="4399461" y="6273104"/>
                </a:cubicBezTo>
                <a:cubicBezTo>
                  <a:pt x="4411053" y="6273104"/>
                  <a:pt x="4419531" y="6267228"/>
                  <a:pt x="4422991" y="6262559"/>
                </a:cubicBezTo>
                <a:lnTo>
                  <a:pt x="4422991" y="6271204"/>
                </a:lnTo>
                <a:lnTo>
                  <a:pt x="4449118" y="6271204"/>
                </a:lnTo>
                <a:lnTo>
                  <a:pt x="4449118" y="6184755"/>
                </a:lnTo>
                <a:lnTo>
                  <a:pt x="4422991" y="6184755"/>
                </a:lnTo>
                <a:lnTo>
                  <a:pt x="4422991" y="6193400"/>
                </a:lnTo>
                <a:cubicBezTo>
                  <a:pt x="4419531" y="6188732"/>
                  <a:pt x="4411053" y="6182853"/>
                  <a:pt x="4399461" y="6182853"/>
                </a:cubicBezTo>
                <a:close/>
                <a:moveTo>
                  <a:pt x="4305177" y="6182853"/>
                </a:moveTo>
                <a:cubicBezTo>
                  <a:pt x="4278879" y="6182853"/>
                  <a:pt x="4259674" y="6202218"/>
                  <a:pt x="4259674" y="6227979"/>
                </a:cubicBezTo>
                <a:cubicBezTo>
                  <a:pt x="4259674" y="6255816"/>
                  <a:pt x="4280262" y="6273104"/>
                  <a:pt x="4305696" y="6273104"/>
                </a:cubicBezTo>
                <a:cubicBezTo>
                  <a:pt x="4323861" y="6273104"/>
                  <a:pt x="4338222" y="6265498"/>
                  <a:pt x="4346353" y="6254087"/>
                </a:cubicBezTo>
                <a:lnTo>
                  <a:pt x="4326977" y="6239564"/>
                </a:lnTo>
                <a:cubicBezTo>
                  <a:pt x="4323689" y="6244577"/>
                  <a:pt x="4316076" y="6249419"/>
                  <a:pt x="4306042" y="6249419"/>
                </a:cubicBezTo>
                <a:cubicBezTo>
                  <a:pt x="4296179" y="6249419"/>
                  <a:pt x="4286491" y="6244577"/>
                  <a:pt x="4284934" y="6234204"/>
                </a:cubicBezTo>
                <a:lnTo>
                  <a:pt x="4347739" y="6234204"/>
                </a:lnTo>
                <a:cubicBezTo>
                  <a:pt x="4348258" y="6230053"/>
                  <a:pt x="4348258" y="6227288"/>
                  <a:pt x="4348258" y="6225041"/>
                </a:cubicBezTo>
                <a:cubicBezTo>
                  <a:pt x="4348258" y="6197031"/>
                  <a:pt x="4328014" y="6182853"/>
                  <a:pt x="4305177" y="6182853"/>
                </a:cubicBezTo>
                <a:close/>
                <a:moveTo>
                  <a:pt x="5248035" y="6157264"/>
                </a:moveTo>
                <a:lnTo>
                  <a:pt x="5221908" y="6184755"/>
                </a:lnTo>
                <a:lnTo>
                  <a:pt x="5221908" y="6271204"/>
                </a:lnTo>
                <a:lnTo>
                  <a:pt x="5248035" y="6271204"/>
                </a:lnTo>
                <a:lnTo>
                  <a:pt x="5248035" y="6207405"/>
                </a:lnTo>
                <a:lnTo>
                  <a:pt x="5272256" y="6207405"/>
                </a:lnTo>
                <a:lnTo>
                  <a:pt x="5272256" y="6184755"/>
                </a:lnTo>
                <a:lnTo>
                  <a:pt x="5248035" y="6184755"/>
                </a:lnTo>
                <a:close/>
                <a:moveTo>
                  <a:pt x="4566234" y="6157264"/>
                </a:moveTo>
                <a:lnTo>
                  <a:pt x="4540108" y="6184755"/>
                </a:lnTo>
                <a:lnTo>
                  <a:pt x="4540108" y="6271204"/>
                </a:lnTo>
                <a:lnTo>
                  <a:pt x="4566234" y="6271204"/>
                </a:lnTo>
                <a:lnTo>
                  <a:pt x="4566234" y="6207405"/>
                </a:lnTo>
                <a:lnTo>
                  <a:pt x="4590455" y="6207405"/>
                </a:lnTo>
                <a:lnTo>
                  <a:pt x="4590455" y="6184755"/>
                </a:lnTo>
                <a:lnTo>
                  <a:pt x="4566234" y="6184755"/>
                </a:lnTo>
                <a:close/>
                <a:moveTo>
                  <a:pt x="4843725" y="6148448"/>
                </a:moveTo>
                <a:lnTo>
                  <a:pt x="4843725" y="6271204"/>
                </a:lnTo>
                <a:lnTo>
                  <a:pt x="4871235" y="6271204"/>
                </a:lnTo>
                <a:lnTo>
                  <a:pt x="4871235" y="6222620"/>
                </a:lnTo>
                <a:lnTo>
                  <a:pt x="4920717" y="6222620"/>
                </a:lnTo>
                <a:lnTo>
                  <a:pt x="4920717" y="6271204"/>
                </a:lnTo>
                <a:lnTo>
                  <a:pt x="4948226" y="6271204"/>
                </a:lnTo>
                <a:lnTo>
                  <a:pt x="4948226" y="6148448"/>
                </a:lnTo>
                <a:lnTo>
                  <a:pt x="4920717" y="6148448"/>
                </a:lnTo>
                <a:lnTo>
                  <a:pt x="4920717" y="6196512"/>
                </a:lnTo>
                <a:lnTo>
                  <a:pt x="4871235" y="6196512"/>
                </a:lnTo>
                <a:lnTo>
                  <a:pt x="4871235" y="6148448"/>
                </a:lnTo>
                <a:close/>
                <a:moveTo>
                  <a:pt x="4139954" y="6148448"/>
                </a:moveTo>
                <a:lnTo>
                  <a:pt x="4139954" y="6232862"/>
                </a:lnTo>
                <a:lnTo>
                  <a:pt x="4167462" y="6260352"/>
                </a:lnTo>
                <a:lnTo>
                  <a:pt x="4167462" y="6222620"/>
                </a:lnTo>
                <a:lnTo>
                  <a:pt x="4216946" y="6222620"/>
                </a:lnTo>
                <a:lnTo>
                  <a:pt x="4216946" y="6271204"/>
                </a:lnTo>
                <a:lnTo>
                  <a:pt x="4244455" y="6271204"/>
                </a:lnTo>
                <a:lnTo>
                  <a:pt x="4244455" y="6148448"/>
                </a:lnTo>
                <a:lnTo>
                  <a:pt x="4216946" y="6148448"/>
                </a:lnTo>
                <a:lnTo>
                  <a:pt x="4216946" y="6196512"/>
                </a:lnTo>
                <a:lnTo>
                  <a:pt x="4167462" y="6196512"/>
                </a:lnTo>
                <a:lnTo>
                  <a:pt x="4167462" y="6148448"/>
                </a:lnTo>
                <a:close/>
                <a:moveTo>
                  <a:pt x="5285572" y="6141531"/>
                </a:moveTo>
                <a:lnTo>
                  <a:pt x="5285572" y="6271204"/>
                </a:lnTo>
                <a:lnTo>
                  <a:pt x="5311699" y="6271204"/>
                </a:lnTo>
                <a:lnTo>
                  <a:pt x="5311699" y="6229189"/>
                </a:lnTo>
                <a:cubicBezTo>
                  <a:pt x="5311699" y="6213630"/>
                  <a:pt x="5319310" y="6206540"/>
                  <a:pt x="5329173" y="6206540"/>
                </a:cubicBezTo>
                <a:cubicBezTo>
                  <a:pt x="5338516" y="6206540"/>
                  <a:pt x="5343186" y="6213802"/>
                  <a:pt x="5343186" y="6225731"/>
                </a:cubicBezTo>
                <a:lnTo>
                  <a:pt x="5343186" y="6271204"/>
                </a:lnTo>
                <a:lnTo>
                  <a:pt x="5369312" y="6271204"/>
                </a:lnTo>
                <a:lnTo>
                  <a:pt x="5369312" y="6221237"/>
                </a:lnTo>
                <a:cubicBezTo>
                  <a:pt x="5369312" y="6198586"/>
                  <a:pt x="5357028" y="6182853"/>
                  <a:pt x="5335747" y="6182853"/>
                </a:cubicBezTo>
                <a:cubicBezTo>
                  <a:pt x="5324502" y="6182853"/>
                  <a:pt x="5315850" y="6187695"/>
                  <a:pt x="5311699" y="6193574"/>
                </a:cubicBezTo>
                <a:lnTo>
                  <a:pt x="5311699" y="6141531"/>
                </a:lnTo>
                <a:close/>
                <a:moveTo>
                  <a:pt x="5174334" y="6141531"/>
                </a:moveTo>
                <a:lnTo>
                  <a:pt x="5174334" y="6271204"/>
                </a:lnTo>
                <a:lnTo>
                  <a:pt x="5200460" y="6271204"/>
                </a:lnTo>
                <a:lnTo>
                  <a:pt x="5200460" y="6141531"/>
                </a:lnTo>
                <a:close/>
                <a:moveTo>
                  <a:pt x="4780585" y="6140494"/>
                </a:moveTo>
                <a:cubicBezTo>
                  <a:pt x="4761380" y="6140494"/>
                  <a:pt x="4745808" y="6153288"/>
                  <a:pt x="4745808" y="6175247"/>
                </a:cubicBezTo>
                <a:lnTo>
                  <a:pt x="4745808" y="6184755"/>
                </a:lnTo>
                <a:lnTo>
                  <a:pt x="4728508" y="6184755"/>
                </a:lnTo>
                <a:lnTo>
                  <a:pt x="4728508" y="6207405"/>
                </a:lnTo>
                <a:lnTo>
                  <a:pt x="4745808" y="6207405"/>
                </a:lnTo>
                <a:lnTo>
                  <a:pt x="4745808" y="6271204"/>
                </a:lnTo>
                <a:lnTo>
                  <a:pt x="4771934" y="6271204"/>
                </a:lnTo>
                <a:lnTo>
                  <a:pt x="4771934" y="6207405"/>
                </a:lnTo>
                <a:lnTo>
                  <a:pt x="4796157" y="6207405"/>
                </a:lnTo>
                <a:lnTo>
                  <a:pt x="4796157" y="6184755"/>
                </a:lnTo>
                <a:lnTo>
                  <a:pt x="4771934" y="6184755"/>
                </a:lnTo>
                <a:lnTo>
                  <a:pt x="4771934" y="6178531"/>
                </a:lnTo>
                <a:cubicBezTo>
                  <a:pt x="4771934" y="6168157"/>
                  <a:pt x="4776260" y="6163835"/>
                  <a:pt x="4786814" y="6163835"/>
                </a:cubicBezTo>
                <a:cubicBezTo>
                  <a:pt x="4790620" y="6163835"/>
                  <a:pt x="4793388" y="6164354"/>
                  <a:pt x="4796157" y="6165390"/>
                </a:cubicBezTo>
                <a:lnTo>
                  <a:pt x="4796157" y="6142395"/>
                </a:lnTo>
                <a:cubicBezTo>
                  <a:pt x="4792350" y="6141185"/>
                  <a:pt x="4787505" y="6140494"/>
                  <a:pt x="4780585" y="6140494"/>
                </a:cubicBezTo>
                <a:close/>
                <a:moveTo>
                  <a:pt x="4314342" y="5948845"/>
                </a:moveTo>
                <a:cubicBezTo>
                  <a:pt x="4333989" y="5948845"/>
                  <a:pt x="4347629" y="5958197"/>
                  <a:pt x="4353322" y="5975334"/>
                </a:cubicBezTo>
                <a:lnTo>
                  <a:pt x="4273784" y="5975334"/>
                </a:lnTo>
                <a:cubicBezTo>
                  <a:pt x="4283099" y="5952465"/>
                  <a:pt x="4302832" y="5948845"/>
                  <a:pt x="4314342" y="5948845"/>
                </a:cubicBezTo>
                <a:close/>
                <a:moveTo>
                  <a:pt x="4314018" y="5896018"/>
                </a:moveTo>
                <a:cubicBezTo>
                  <a:pt x="4251288" y="5896018"/>
                  <a:pt x="4213801" y="5947840"/>
                  <a:pt x="4213801" y="5997928"/>
                </a:cubicBezTo>
                <a:cubicBezTo>
                  <a:pt x="4213801" y="6054363"/>
                  <a:pt x="4257965" y="6098568"/>
                  <a:pt x="4314342" y="6098568"/>
                </a:cubicBezTo>
                <a:cubicBezTo>
                  <a:pt x="4343596" y="6098568"/>
                  <a:pt x="4370860" y="6087984"/>
                  <a:pt x="4390755" y="6069221"/>
                </a:cubicBezTo>
                <a:lnTo>
                  <a:pt x="4353830" y="6032391"/>
                </a:lnTo>
                <a:cubicBezTo>
                  <a:pt x="4342433" y="6041921"/>
                  <a:pt x="4332286" y="6045379"/>
                  <a:pt x="4316581" y="6045670"/>
                </a:cubicBezTo>
                <a:cubicBezTo>
                  <a:pt x="4302940" y="6045541"/>
                  <a:pt x="4290657" y="6039928"/>
                  <a:pt x="4281813" y="6030954"/>
                </a:cubicBezTo>
                <a:cubicBezTo>
                  <a:pt x="4279996" y="6029101"/>
                  <a:pt x="4278358" y="6027107"/>
                  <a:pt x="4276855" y="6024995"/>
                </a:cubicBezTo>
                <a:cubicBezTo>
                  <a:pt x="4276509" y="6024460"/>
                  <a:pt x="4276103" y="6023925"/>
                  <a:pt x="4275790" y="6023401"/>
                </a:cubicBezTo>
                <a:lnTo>
                  <a:pt x="4275769" y="6023401"/>
                </a:lnTo>
                <a:cubicBezTo>
                  <a:pt x="4274184" y="6020986"/>
                  <a:pt x="4272757" y="6018463"/>
                  <a:pt x="4271627" y="6015789"/>
                </a:cubicBezTo>
                <a:lnTo>
                  <a:pt x="4410369" y="6015789"/>
                </a:lnTo>
                <a:cubicBezTo>
                  <a:pt x="4411456" y="6010581"/>
                  <a:pt x="4412656" y="6003438"/>
                  <a:pt x="4412656" y="5995059"/>
                </a:cubicBezTo>
                <a:cubicBezTo>
                  <a:pt x="4412656" y="5946376"/>
                  <a:pt x="4375769" y="5896018"/>
                  <a:pt x="4314018" y="5896018"/>
                </a:cubicBezTo>
                <a:close/>
                <a:moveTo>
                  <a:pt x="4110956" y="5896007"/>
                </a:moveTo>
                <a:lnTo>
                  <a:pt x="4110956" y="6096898"/>
                </a:lnTo>
                <a:lnTo>
                  <a:pt x="4167419" y="6096898"/>
                </a:lnTo>
                <a:lnTo>
                  <a:pt x="4167419" y="5947559"/>
                </a:lnTo>
                <a:lnTo>
                  <a:pt x="4212811" y="5947559"/>
                </a:lnTo>
                <a:lnTo>
                  <a:pt x="4212811" y="5896007"/>
                </a:lnTo>
                <a:close/>
                <a:moveTo>
                  <a:pt x="4529422" y="5895985"/>
                </a:moveTo>
                <a:lnTo>
                  <a:pt x="4528470" y="5896050"/>
                </a:lnTo>
                <a:cubicBezTo>
                  <a:pt x="4473201" y="5896471"/>
                  <a:pt x="4428372" y="5941448"/>
                  <a:pt x="4428372" y="5996690"/>
                </a:cubicBezTo>
                <a:cubicBezTo>
                  <a:pt x="4428372" y="6059636"/>
                  <a:pt x="4480905" y="6098600"/>
                  <a:pt x="4529811" y="6098600"/>
                </a:cubicBezTo>
                <a:cubicBezTo>
                  <a:pt x="4561611" y="6098600"/>
                  <a:pt x="4588432" y="6086087"/>
                  <a:pt x="4609549" y="6061403"/>
                </a:cubicBezTo>
                <a:lnTo>
                  <a:pt x="4613733" y="6056497"/>
                </a:lnTo>
                <a:lnTo>
                  <a:pt x="4577722" y="6020456"/>
                </a:lnTo>
                <a:lnTo>
                  <a:pt x="4572624" y="6025594"/>
                </a:lnTo>
                <a:cubicBezTo>
                  <a:pt x="4556826" y="6041359"/>
                  <a:pt x="4549825" y="6045638"/>
                  <a:pt x="4530741" y="6045762"/>
                </a:cubicBezTo>
                <a:cubicBezTo>
                  <a:pt x="4504574" y="6045540"/>
                  <a:pt x="4484846" y="6024719"/>
                  <a:pt x="4484846" y="5997333"/>
                </a:cubicBezTo>
                <a:cubicBezTo>
                  <a:pt x="4484846" y="5964053"/>
                  <a:pt x="4508056" y="5948877"/>
                  <a:pt x="4529611" y="5948855"/>
                </a:cubicBezTo>
                <a:lnTo>
                  <a:pt x="4530573" y="5948790"/>
                </a:lnTo>
                <a:cubicBezTo>
                  <a:pt x="4549771" y="5948899"/>
                  <a:pt x="4556918" y="5953285"/>
                  <a:pt x="4572602" y="5968948"/>
                </a:cubicBezTo>
                <a:lnTo>
                  <a:pt x="4577700" y="5974064"/>
                </a:lnTo>
                <a:lnTo>
                  <a:pt x="4613733" y="5938061"/>
                </a:lnTo>
                <a:lnTo>
                  <a:pt x="4609538" y="5933145"/>
                </a:lnTo>
                <a:cubicBezTo>
                  <a:pt x="4588334" y="5908347"/>
                  <a:pt x="4561314" y="5895807"/>
                  <a:pt x="4529422" y="5895985"/>
                </a:cubicBezTo>
                <a:close/>
                <a:moveTo>
                  <a:pt x="3912831" y="5863028"/>
                </a:moveTo>
                <a:lnTo>
                  <a:pt x="3912831" y="5990061"/>
                </a:lnTo>
                <a:cubicBezTo>
                  <a:pt x="3912831" y="5994795"/>
                  <a:pt x="3912526" y="5999870"/>
                  <a:pt x="3911858" y="6004922"/>
                </a:cubicBezTo>
                <a:lnTo>
                  <a:pt x="3911858" y="6004922"/>
                </a:lnTo>
                <a:lnTo>
                  <a:pt x="3911858" y="6004923"/>
                </a:lnTo>
                <a:lnTo>
                  <a:pt x="3769924" y="5863087"/>
                </a:lnTo>
                <a:lnTo>
                  <a:pt x="3769924" y="5990060"/>
                </a:lnTo>
                <a:cubicBezTo>
                  <a:pt x="3769924" y="6026733"/>
                  <a:pt x="3779406" y="6047268"/>
                  <a:pt x="3787489" y="6058013"/>
                </a:cubicBezTo>
                <a:cubicBezTo>
                  <a:pt x="3802091" y="6077587"/>
                  <a:pt x="3831837" y="6098501"/>
                  <a:pt x="3871536" y="6098501"/>
                </a:cubicBezTo>
                <a:cubicBezTo>
                  <a:pt x="3911235" y="6098501"/>
                  <a:pt x="3940980" y="6077587"/>
                  <a:pt x="3955583" y="6058013"/>
                </a:cubicBezTo>
                <a:cubicBezTo>
                  <a:pt x="3956814" y="6056376"/>
                  <a:pt x="3958077" y="6054481"/>
                  <a:pt x="3959335" y="6052367"/>
                </a:cubicBezTo>
                <a:lnTo>
                  <a:pt x="3959334" y="6052365"/>
                </a:lnTo>
                <a:lnTo>
                  <a:pt x="3959336" y="6052367"/>
                </a:lnTo>
                <a:cubicBezTo>
                  <a:pt x="3966334" y="6040605"/>
                  <a:pt x="3973148" y="6021145"/>
                  <a:pt x="3973148" y="5990060"/>
                </a:cubicBezTo>
                <a:lnTo>
                  <a:pt x="3973148" y="5863028"/>
                </a:lnTo>
                <a:close/>
                <a:moveTo>
                  <a:pt x="4056543" y="5839377"/>
                </a:moveTo>
                <a:lnTo>
                  <a:pt x="4000068" y="5896018"/>
                </a:lnTo>
                <a:lnTo>
                  <a:pt x="4000068" y="6096899"/>
                </a:lnTo>
                <a:lnTo>
                  <a:pt x="4056543" y="6096899"/>
                </a:lnTo>
                <a:lnTo>
                  <a:pt x="4056543" y="5947559"/>
                </a:lnTo>
                <a:lnTo>
                  <a:pt x="4093208" y="5947559"/>
                </a:lnTo>
                <a:lnTo>
                  <a:pt x="4093208" y="5896008"/>
                </a:lnTo>
                <a:lnTo>
                  <a:pt x="4056543" y="5896008"/>
                </a:lnTo>
                <a:close/>
                <a:moveTo>
                  <a:pt x="4690438" y="5839296"/>
                </a:moveTo>
                <a:lnTo>
                  <a:pt x="4633974" y="5896019"/>
                </a:lnTo>
                <a:cubicBezTo>
                  <a:pt x="4633974" y="5896019"/>
                  <a:pt x="4633499" y="6090529"/>
                  <a:pt x="4633974" y="6096898"/>
                </a:cubicBezTo>
                <a:lnTo>
                  <a:pt x="4690438" y="6096898"/>
                </a:lnTo>
                <a:lnTo>
                  <a:pt x="4690438" y="5996167"/>
                </a:lnTo>
                <a:cubicBezTo>
                  <a:pt x="4690438" y="5963103"/>
                  <a:pt x="4699029" y="5948996"/>
                  <a:pt x="4719194" y="5948996"/>
                </a:cubicBezTo>
                <a:cubicBezTo>
                  <a:pt x="4740349" y="5948996"/>
                  <a:pt x="4748594" y="5962038"/>
                  <a:pt x="4748594" y="5995529"/>
                </a:cubicBezTo>
                <a:lnTo>
                  <a:pt x="4748594" y="6096898"/>
                </a:lnTo>
                <a:lnTo>
                  <a:pt x="4805057" y="6096898"/>
                </a:lnTo>
                <a:lnTo>
                  <a:pt x="4805057" y="5986296"/>
                </a:lnTo>
                <a:cubicBezTo>
                  <a:pt x="4805057" y="5972092"/>
                  <a:pt x="4805057" y="5945647"/>
                  <a:pt x="4789514" y="5925917"/>
                </a:cubicBezTo>
                <a:cubicBezTo>
                  <a:pt x="4775522" y="5908120"/>
                  <a:pt x="4751373" y="5896164"/>
                  <a:pt x="4729407" y="5896164"/>
                </a:cubicBezTo>
                <a:cubicBezTo>
                  <a:pt x="4714891" y="5896164"/>
                  <a:pt x="4701824" y="5899849"/>
                  <a:pt x="4690438" y="5907142"/>
                </a:cubicBezTo>
                <a:close/>
                <a:moveTo>
                  <a:pt x="4889213" y="5839295"/>
                </a:moveTo>
                <a:lnTo>
                  <a:pt x="4832749" y="5896018"/>
                </a:lnTo>
                <a:lnTo>
                  <a:pt x="4832749" y="6096897"/>
                </a:lnTo>
                <a:lnTo>
                  <a:pt x="4889213" y="6096897"/>
                </a:lnTo>
                <a:lnTo>
                  <a:pt x="4889213" y="5947483"/>
                </a:lnTo>
                <a:lnTo>
                  <a:pt x="4925889" y="5947483"/>
                </a:lnTo>
                <a:lnTo>
                  <a:pt x="4925889" y="5895931"/>
                </a:lnTo>
                <a:lnTo>
                  <a:pt x="4889213" y="5895931"/>
                </a:lnTo>
                <a:close/>
                <a:moveTo>
                  <a:pt x="0" y="0"/>
                </a:moveTo>
                <a:lnTo>
                  <a:pt x="5947441" y="0"/>
                </a:lnTo>
                <a:lnTo>
                  <a:pt x="5947441" y="6857998"/>
                </a:lnTo>
                <a:lnTo>
                  <a:pt x="0" y="6857998"/>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6" name="Text Placeholder 3">
            <a:extLst>
              <a:ext uri="{FF2B5EF4-FFF2-40B4-BE49-F238E27FC236}">
                <a16:creationId xmlns:a16="http://schemas.microsoft.com/office/drawing/2014/main" id="{0B553010-FC8D-055B-FDC2-FCCD05240F7E}"/>
              </a:ext>
            </a:extLst>
          </p:cNvPr>
          <p:cNvSpPr>
            <a:spLocks noGrp="1"/>
          </p:cNvSpPr>
          <p:nvPr>
            <p:ph type="body" sz="quarter" idx="10"/>
          </p:nvPr>
        </p:nvSpPr>
        <p:spPr>
          <a:xfrm>
            <a:off x="1139124" y="2003728"/>
            <a:ext cx="4550476" cy="3650247"/>
          </a:xfrm>
        </p:spPr>
        <p:txBody>
          <a:bodyPr/>
          <a:lstStyle>
            <a:lvl1pPr>
              <a:spcAft>
                <a:spcPts val="600"/>
              </a:spcAft>
              <a:defRPr>
                <a:solidFill>
                  <a:schemeClr val="bg1"/>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Tree>
    <p:extLst>
      <p:ext uri="{BB962C8B-B14F-4D97-AF65-F5344CB8AC3E}">
        <p14:creationId xmlns:p14="http://schemas.microsoft.com/office/powerpoint/2010/main" val="2636986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troductie + Icon">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ECF70791-ABB2-50E9-BB56-ABE96A306259}"/>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err="1"/>
          </a:p>
        </p:txBody>
      </p:sp>
      <p:sp>
        <p:nvSpPr>
          <p:cNvPr id="3" name="Title 2">
            <a:extLst>
              <a:ext uri="{FF2B5EF4-FFF2-40B4-BE49-F238E27FC236}">
                <a16:creationId xmlns:a16="http://schemas.microsoft.com/office/drawing/2014/main" id="{18FB2C3B-2209-70F3-09D5-52F99CBE3D5C}"/>
              </a:ext>
            </a:extLst>
          </p:cNvPr>
          <p:cNvSpPr>
            <a:spLocks noGrp="1"/>
          </p:cNvSpPr>
          <p:nvPr>
            <p:ph type="title"/>
          </p:nvPr>
        </p:nvSpPr>
        <p:spPr>
          <a:xfrm>
            <a:off x="1139124" y="595590"/>
            <a:ext cx="8919276" cy="1000736"/>
          </a:xfrm>
        </p:spPr>
        <p:txBody>
          <a:bodyPr/>
          <a:lstStyle>
            <a:lvl1pPr>
              <a:defRPr>
                <a:solidFill>
                  <a:schemeClr val="bg1"/>
                </a:solidFill>
              </a:defRPr>
            </a:lvl1pPr>
          </a:lstStyle>
          <a:p>
            <a:r>
              <a:rPr lang="nl-NL"/>
              <a:t>Klik om stijl te bewerken</a:t>
            </a:r>
            <a:endParaRPr lang="en-US" dirty="0"/>
          </a:p>
        </p:txBody>
      </p:sp>
      <p:sp>
        <p:nvSpPr>
          <p:cNvPr id="16" name="Text Placeholder 3">
            <a:extLst>
              <a:ext uri="{FF2B5EF4-FFF2-40B4-BE49-F238E27FC236}">
                <a16:creationId xmlns:a16="http://schemas.microsoft.com/office/drawing/2014/main" id="{9745EC9F-CA82-1D30-63BA-3077505B8725}"/>
              </a:ext>
            </a:extLst>
          </p:cNvPr>
          <p:cNvSpPr>
            <a:spLocks noGrp="1"/>
          </p:cNvSpPr>
          <p:nvPr>
            <p:ph type="body" sz="quarter" idx="10"/>
          </p:nvPr>
        </p:nvSpPr>
        <p:spPr>
          <a:xfrm>
            <a:off x="1139124" y="2003728"/>
            <a:ext cx="8919276" cy="365024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grpSp>
        <p:nvGrpSpPr>
          <p:cNvPr id="2" name="Groep 1">
            <a:extLst>
              <a:ext uri="{FF2B5EF4-FFF2-40B4-BE49-F238E27FC236}">
                <a16:creationId xmlns:a16="http://schemas.microsoft.com/office/drawing/2014/main" id="{670BFF2B-7A57-1418-7933-080BA1CC8CB2}"/>
              </a:ext>
            </a:extLst>
          </p:cNvPr>
          <p:cNvGrpSpPr/>
          <p:nvPr userDrawn="1"/>
        </p:nvGrpSpPr>
        <p:grpSpPr>
          <a:xfrm>
            <a:off x="10014482" y="5839298"/>
            <a:ext cx="1599388" cy="433809"/>
            <a:chOff x="3101010" y="1249096"/>
            <a:chExt cx="3978412" cy="1079079"/>
          </a:xfrm>
          <a:solidFill>
            <a:schemeClr val="bg1"/>
          </a:solidFill>
        </p:grpSpPr>
        <p:sp>
          <p:nvSpPr>
            <p:cNvPr id="4" name="Vrije vorm 3">
              <a:extLst>
                <a:ext uri="{FF2B5EF4-FFF2-40B4-BE49-F238E27FC236}">
                  <a16:creationId xmlns:a16="http://schemas.microsoft.com/office/drawing/2014/main" id="{3C4CB00D-D83D-0981-2B86-176AAC575642}"/>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163629A3-B45D-125D-BF4A-288D71C4BE5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7E8289E5-04F9-A8B5-B72B-B4AA048C4D13}"/>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5B2D88DA-E4C3-A0AA-3267-5E114D77B668}"/>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27D7C4B8-35FE-0CF8-C231-94F3C0839862}"/>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E85CDEA3-51EE-7879-8AF1-A8A86F0BE5F3}"/>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3E8D733D-C788-01EB-A299-1B00AAE0D7DE}"/>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124CCA4C-CB62-2876-478E-BDC4AA6992EA}"/>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42349890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ussenslide II">
    <p:bg>
      <p:bgPr>
        <a:solidFill>
          <a:schemeClr val="accent4"/>
        </a:solidFill>
        <a:effectLst/>
      </p:bgPr>
    </p:bg>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570DB4A5-F388-FFFE-238D-09A1BEFC508A}"/>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00501C"/>
          </a:solidFill>
          <a:ln w="6208" cap="flat">
            <a:solidFill>
              <a:srgbClr val="00501C"/>
            </a:solidFill>
            <a:prstDash val="solid"/>
            <a:miter/>
          </a:ln>
        </p:spPr>
        <p:txBody>
          <a:bodyPr rtlCol="0" anchor="ctr"/>
          <a:lstStyle/>
          <a:p>
            <a:pPr lvl="0"/>
            <a:endParaRPr lang="en-GB"/>
          </a:p>
        </p:txBody>
      </p:sp>
      <p:sp>
        <p:nvSpPr>
          <p:cNvPr id="35" name="Freeform: Shape 34">
            <a:extLst>
              <a:ext uri="{FF2B5EF4-FFF2-40B4-BE49-F238E27FC236}">
                <a16:creationId xmlns:a16="http://schemas.microsoft.com/office/drawing/2014/main" id="{3F37BB5F-029B-9E59-4213-29E645BA78DD}"/>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26" name="Freeform: Shape 25">
            <a:extLst>
              <a:ext uri="{FF2B5EF4-FFF2-40B4-BE49-F238E27FC236}">
                <a16:creationId xmlns:a16="http://schemas.microsoft.com/office/drawing/2014/main" id="{7F177631-B9E3-2DA4-BF3D-A3A874A04D48}"/>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2" name="Freeform: Shape 1">
            <a:extLst>
              <a:ext uri="{FF2B5EF4-FFF2-40B4-BE49-F238E27FC236}">
                <a16:creationId xmlns:a16="http://schemas.microsoft.com/office/drawing/2014/main" id="{344E64F0-C52E-6D68-BE3C-A79D8444EEA7}"/>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17092A19-1FCC-AF48-28F7-DA5AD293FD99}"/>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00501C"/>
          </a:solidFill>
          <a:ln w="12700" cap="flat">
            <a:solidFill>
              <a:srgbClr val="00501C"/>
            </a:solidFill>
            <a:prstDash val="solid"/>
            <a:miter/>
          </a:ln>
        </p:spPr>
        <p:txBody>
          <a:bodyPr rtlCol="0" anchor="ctr"/>
          <a:lstStyle/>
          <a:p>
            <a:pPr lvl="0"/>
            <a:endParaRPr lang="en-GB"/>
          </a:p>
        </p:txBody>
      </p:sp>
      <p:sp>
        <p:nvSpPr>
          <p:cNvPr id="3" name="Title 1">
            <a:extLst>
              <a:ext uri="{FF2B5EF4-FFF2-40B4-BE49-F238E27FC236}">
                <a16:creationId xmlns:a16="http://schemas.microsoft.com/office/drawing/2014/main" id="{99B2A88E-AE50-56F9-5726-A94E90D792FB}"/>
              </a:ext>
            </a:extLst>
          </p:cNvPr>
          <p:cNvSpPr>
            <a:spLocks noGrp="1"/>
          </p:cNvSpPr>
          <p:nvPr>
            <p:ph type="ctrTitle" hasCustomPrompt="1"/>
          </p:nvPr>
        </p:nvSpPr>
        <p:spPr>
          <a:xfrm>
            <a:off x="1137600" y="4218920"/>
            <a:ext cx="6812280" cy="874022"/>
          </a:xfrm>
          <a:noFill/>
        </p:spPr>
        <p:txBody>
          <a:bodyPr wrap="square" anchor="b">
            <a:spAutoFit/>
          </a:bodyPr>
          <a:lstStyle>
            <a:lvl1pPr algn="l">
              <a:lnSpc>
                <a:spcPct val="80000"/>
              </a:lnSpc>
              <a:defRPr sz="7000" b="1">
                <a:solidFill>
                  <a:schemeClr val="bg1"/>
                </a:solidFill>
              </a:defRPr>
            </a:lvl1pPr>
          </a:lstStyle>
          <a:p>
            <a:r>
              <a:rPr lang="nl-NL" noProof="0" dirty="0"/>
              <a:t>Tekst</a:t>
            </a:r>
          </a:p>
        </p:txBody>
      </p:sp>
      <p:grpSp>
        <p:nvGrpSpPr>
          <p:cNvPr id="13" name="Group 12">
            <a:extLst>
              <a:ext uri="{FF2B5EF4-FFF2-40B4-BE49-F238E27FC236}">
                <a16:creationId xmlns:a16="http://schemas.microsoft.com/office/drawing/2014/main" id="{D8E95096-B3D2-B704-DAAC-27A438877F65}"/>
              </a:ext>
            </a:extLst>
          </p:cNvPr>
          <p:cNvGrpSpPr/>
          <p:nvPr userDrawn="1"/>
        </p:nvGrpSpPr>
        <p:grpSpPr>
          <a:xfrm>
            <a:off x="2335919" y="-761999"/>
            <a:ext cx="7122406" cy="608276"/>
            <a:chOff x="2335919" y="-761999"/>
            <a:chExt cx="7122406" cy="608276"/>
          </a:xfrm>
        </p:grpSpPr>
        <p:sp>
          <p:nvSpPr>
            <p:cNvPr id="14" name="Rectangle 13">
              <a:extLst>
                <a:ext uri="{FF2B5EF4-FFF2-40B4-BE49-F238E27FC236}">
                  <a16:creationId xmlns:a16="http://schemas.microsoft.com/office/drawing/2014/main" id="{E121C80F-FE36-A682-5813-199292F22447}"/>
                </a:ext>
              </a:extLst>
            </p:cNvPr>
            <p:cNvSpPr/>
            <p:nvPr userDrawn="1"/>
          </p:nvSpPr>
          <p:spPr>
            <a:xfrm>
              <a:off x="2733675" y="-761999"/>
              <a:ext cx="6724650" cy="608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5" name="TextBox 14">
              <a:extLst>
                <a:ext uri="{FF2B5EF4-FFF2-40B4-BE49-F238E27FC236}">
                  <a16:creationId xmlns:a16="http://schemas.microsoft.com/office/drawing/2014/main" id="{18AC0A05-C28F-EED5-FD34-3A2E06D616C8}"/>
                </a:ext>
              </a:extLst>
            </p:cNvPr>
            <p:cNvSpPr txBox="1"/>
            <p:nvPr userDrawn="1"/>
          </p:nvSpPr>
          <p:spPr>
            <a:xfrm>
              <a:off x="2335919" y="-581676"/>
              <a:ext cx="6337430" cy="261610"/>
            </a:xfrm>
            <a:prstGeom prst="rect">
              <a:avLst/>
            </a:prstGeom>
            <a:noFill/>
          </p:spPr>
          <p:txBody>
            <a:bodyPr wrap="square" rtlCol="0">
              <a:spAutoFit/>
            </a:bodyPr>
            <a:lstStyle/>
            <a:p>
              <a:pPr algn="ctr"/>
              <a:r>
                <a:rPr lang="nl-NL" sz="1100" noProof="1">
                  <a:solidFill>
                    <a:schemeClr val="tx1"/>
                  </a:solidFill>
                </a:rPr>
                <a:t>1 var. kleurvlak (accentkleur) via wijzigen achtergrond / kies alleen deze accentkleuren</a:t>
              </a:r>
            </a:p>
          </p:txBody>
        </p:sp>
        <p:grpSp>
          <p:nvGrpSpPr>
            <p:cNvPr id="16" name="Group 15">
              <a:extLst>
                <a:ext uri="{FF2B5EF4-FFF2-40B4-BE49-F238E27FC236}">
                  <a16:creationId xmlns:a16="http://schemas.microsoft.com/office/drawing/2014/main" id="{4EF06AD4-E02D-64D2-9FD9-656CA3EC42F1}"/>
                </a:ext>
              </a:extLst>
            </p:cNvPr>
            <p:cNvGrpSpPr/>
            <p:nvPr userDrawn="1"/>
          </p:nvGrpSpPr>
          <p:grpSpPr>
            <a:xfrm>
              <a:off x="8550833" y="-543417"/>
              <a:ext cx="743864" cy="176763"/>
              <a:chOff x="4205004" y="-519709"/>
              <a:chExt cx="1108072" cy="263308"/>
            </a:xfrm>
          </p:grpSpPr>
          <p:sp>
            <p:nvSpPr>
              <p:cNvPr id="18" name="Rectangle 17">
                <a:extLst>
                  <a:ext uri="{FF2B5EF4-FFF2-40B4-BE49-F238E27FC236}">
                    <a16:creationId xmlns:a16="http://schemas.microsoft.com/office/drawing/2014/main" id="{78419F8C-9BB5-C6C5-C125-116CB9232324}"/>
                  </a:ext>
                </a:extLst>
              </p:cNvPr>
              <p:cNvSpPr/>
              <p:nvPr userDrawn="1"/>
            </p:nvSpPr>
            <p:spPr>
              <a:xfrm>
                <a:off x="4205004" y="-519709"/>
                <a:ext cx="276225" cy="26330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9" name="Rectangle 18">
                <a:extLst>
                  <a:ext uri="{FF2B5EF4-FFF2-40B4-BE49-F238E27FC236}">
                    <a16:creationId xmlns:a16="http://schemas.microsoft.com/office/drawing/2014/main" id="{10357DB7-0F81-53A1-4D5F-16E577D70A14}"/>
                  </a:ext>
                </a:extLst>
              </p:cNvPr>
              <p:cNvSpPr/>
              <p:nvPr userDrawn="1"/>
            </p:nvSpPr>
            <p:spPr>
              <a:xfrm>
                <a:off x="5036851" y="-519709"/>
                <a:ext cx="276225" cy="263308"/>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20" name="Rectangle 19">
                <a:extLst>
                  <a:ext uri="{FF2B5EF4-FFF2-40B4-BE49-F238E27FC236}">
                    <a16:creationId xmlns:a16="http://schemas.microsoft.com/office/drawing/2014/main" id="{B3E7BA36-9016-6AA1-A11B-A5505EDABA60}"/>
                  </a:ext>
                </a:extLst>
              </p:cNvPr>
              <p:cNvSpPr/>
              <p:nvPr userDrawn="1"/>
            </p:nvSpPr>
            <p:spPr>
              <a:xfrm>
                <a:off x="4631249" y="-519709"/>
                <a:ext cx="276225" cy="263308"/>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cxnSp>
          <p:nvCxnSpPr>
            <p:cNvPr id="17" name="Straight Connector 16">
              <a:extLst>
                <a:ext uri="{FF2B5EF4-FFF2-40B4-BE49-F238E27FC236}">
                  <a16:creationId xmlns:a16="http://schemas.microsoft.com/office/drawing/2014/main" id="{83B9FEE8-4684-B307-097D-71684E5D7CAA}"/>
                </a:ext>
              </a:extLst>
            </p:cNvPr>
            <p:cNvCxnSpPr>
              <a:cxnSpLocks/>
            </p:cNvCxnSpPr>
            <p:nvPr userDrawn="1"/>
          </p:nvCxnSpPr>
          <p:spPr>
            <a:xfrm>
              <a:off x="2657475" y="-255323"/>
              <a:ext cx="67625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ep 4">
            <a:extLst>
              <a:ext uri="{FF2B5EF4-FFF2-40B4-BE49-F238E27FC236}">
                <a16:creationId xmlns:a16="http://schemas.microsoft.com/office/drawing/2014/main" id="{2EA48A7E-C890-1C30-5542-2ABF3EB38E30}"/>
              </a:ext>
            </a:extLst>
          </p:cNvPr>
          <p:cNvGrpSpPr/>
          <p:nvPr userDrawn="1"/>
        </p:nvGrpSpPr>
        <p:grpSpPr>
          <a:xfrm>
            <a:off x="10014482" y="5839298"/>
            <a:ext cx="1599388" cy="433809"/>
            <a:chOff x="3101010" y="1249096"/>
            <a:chExt cx="3978412" cy="1079079"/>
          </a:xfrm>
          <a:solidFill>
            <a:schemeClr val="bg1"/>
          </a:solidFill>
        </p:grpSpPr>
        <p:sp>
          <p:nvSpPr>
            <p:cNvPr id="6" name="Vrije vorm 5">
              <a:extLst>
                <a:ext uri="{FF2B5EF4-FFF2-40B4-BE49-F238E27FC236}">
                  <a16:creationId xmlns:a16="http://schemas.microsoft.com/office/drawing/2014/main" id="{A7698500-218F-50F0-7639-29D99540DCA7}"/>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D18A819F-FC99-F708-2D8A-93E9662C5A92}"/>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00654F9F-F8B2-B114-F165-BB6D3CEC44B1}"/>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8FB0A79E-E8E1-1404-C358-B175D5770F05}"/>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C1997265-4383-EE97-33FE-DB7944379496}"/>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2C2D90E2-406A-DA66-7BDD-AF42AF83A3EF}"/>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0C72F90A-E733-A1B8-306C-5826FEFEFF3C}"/>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B9051CE8-CDDA-8A5A-4351-C22332795071}"/>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1381074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Personen I">
    <p:bg>
      <p:bgPr>
        <a:solidFill>
          <a:schemeClr val="bg1"/>
        </a:solidFill>
        <a:effectLst/>
      </p:bgPr>
    </p:bg>
    <p:spTree>
      <p:nvGrpSpPr>
        <p:cNvPr id="1" name=""/>
        <p:cNvGrpSpPr/>
        <p:nvPr/>
      </p:nvGrpSpPr>
      <p:grpSpPr>
        <a:xfrm>
          <a:off x="0" y="0"/>
          <a:ext cx="0" cy="0"/>
          <a:chOff x="0" y="0"/>
          <a:chExt cx="0" cy="0"/>
        </a:xfrm>
      </p:grpSpPr>
      <p:sp>
        <p:nvSpPr>
          <p:cNvPr id="17" name="Freeform: Shape 8">
            <a:extLst>
              <a:ext uri="{FF2B5EF4-FFF2-40B4-BE49-F238E27FC236}">
                <a16:creationId xmlns:a16="http://schemas.microsoft.com/office/drawing/2014/main" id="{72388545-BB43-7041-BE04-7D954F3D89C0}"/>
              </a:ext>
            </a:extLst>
          </p:cNvPr>
          <p:cNvSpPr/>
          <p:nvPr userDrawn="1"/>
        </p:nvSpPr>
        <p:spPr>
          <a:xfrm>
            <a:off x="5404345"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rgbClr val="7A3500"/>
          </a:solidFill>
          <a:ln w="12700" cap="flat">
            <a:solidFill>
              <a:srgbClr val="7A3500"/>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a:p>
        </p:txBody>
      </p:sp>
      <p:sp>
        <p:nvSpPr>
          <p:cNvPr id="5" name="Freeform: Shape 4">
            <a:extLst>
              <a:ext uri="{FF2B5EF4-FFF2-40B4-BE49-F238E27FC236}">
                <a16:creationId xmlns:a16="http://schemas.microsoft.com/office/drawing/2014/main" id="{A7551F55-3D44-B660-C394-87345B2EA1F4}"/>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7A3500"/>
          </a:solidFill>
          <a:ln w="12700" cap="flat">
            <a:solidFill>
              <a:srgbClr val="7A3500"/>
            </a:solidFill>
            <a:prstDash val="solid"/>
            <a:miter/>
          </a:ln>
        </p:spPr>
        <p:txBody>
          <a:bodyPr rtlCol="0" anchor="ctr"/>
          <a:lstStyle/>
          <a:p>
            <a:pPr lvl="0"/>
            <a:endParaRPr lang="en-GB"/>
          </a:p>
        </p:txBody>
      </p:sp>
      <p:sp>
        <p:nvSpPr>
          <p:cNvPr id="8" name="Freeform: Shape 7">
            <a:extLst>
              <a:ext uri="{FF2B5EF4-FFF2-40B4-BE49-F238E27FC236}">
                <a16:creationId xmlns:a16="http://schemas.microsoft.com/office/drawing/2014/main" id="{18516936-CB48-32F5-7B68-0DD20FE381CE}"/>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9" name="Freeform: Shape 8">
            <a:extLst>
              <a:ext uri="{FF2B5EF4-FFF2-40B4-BE49-F238E27FC236}">
                <a16:creationId xmlns:a16="http://schemas.microsoft.com/office/drawing/2014/main" id="{A942AD04-E3D3-1D6A-DA8F-6F5F94A7E585}"/>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7A3500"/>
          </a:solidFill>
          <a:ln w="12700" cap="flat">
            <a:solidFill>
              <a:srgbClr val="7A3500"/>
            </a:solidFill>
            <a:prstDash val="solid"/>
            <a:miter/>
          </a:ln>
        </p:spPr>
        <p:txBody>
          <a:bodyPr rtlCol="0" anchor="ctr"/>
          <a:lstStyle/>
          <a:p>
            <a:pPr lvl="0"/>
            <a:endParaRPr lang="en-GB"/>
          </a:p>
        </p:txBody>
      </p:sp>
      <p:sp>
        <p:nvSpPr>
          <p:cNvPr id="10" name="Freeform: Shape 9">
            <a:extLst>
              <a:ext uri="{FF2B5EF4-FFF2-40B4-BE49-F238E27FC236}">
                <a16:creationId xmlns:a16="http://schemas.microsoft.com/office/drawing/2014/main" id="{580D7B89-E3F8-CE3E-0587-13080E1C284B}"/>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5" name="Title 1">
            <a:extLst>
              <a:ext uri="{FF2B5EF4-FFF2-40B4-BE49-F238E27FC236}">
                <a16:creationId xmlns:a16="http://schemas.microsoft.com/office/drawing/2014/main" id="{168348E2-D3FF-33DB-7F3C-17893C459453}"/>
              </a:ext>
            </a:extLst>
          </p:cNvPr>
          <p:cNvSpPr>
            <a:spLocks noGrp="1"/>
          </p:cNvSpPr>
          <p:nvPr userDrawn="1">
            <p:ph type="ctrTitle" hasCustomPrompt="1"/>
          </p:nvPr>
        </p:nvSpPr>
        <p:spPr>
          <a:xfrm>
            <a:off x="1137600" y="3107125"/>
            <a:ext cx="4532030" cy="549381"/>
          </a:xfrm>
          <a:noFill/>
        </p:spPr>
        <p:txBody>
          <a:bodyPr wrap="square" anchor="b">
            <a:spAutoFit/>
          </a:bodyPr>
          <a:lstStyle>
            <a:lvl1pPr algn="l">
              <a:lnSpc>
                <a:spcPct val="80000"/>
              </a:lnSpc>
              <a:defRPr sz="4400" b="1">
                <a:solidFill>
                  <a:schemeClr val="bg1"/>
                </a:solidFill>
              </a:defRPr>
            </a:lvl1pPr>
          </a:lstStyle>
          <a:p>
            <a:r>
              <a:rPr lang="nl-NL" noProof="0" dirty="0"/>
              <a:t>Naam</a:t>
            </a:r>
          </a:p>
        </p:txBody>
      </p:sp>
      <p:sp>
        <p:nvSpPr>
          <p:cNvPr id="18" name="Subtitle 2">
            <a:extLst>
              <a:ext uri="{FF2B5EF4-FFF2-40B4-BE49-F238E27FC236}">
                <a16:creationId xmlns:a16="http://schemas.microsoft.com/office/drawing/2014/main" id="{CEED09EF-0BC4-7139-9985-72A60701D6F4}"/>
              </a:ext>
            </a:extLst>
          </p:cNvPr>
          <p:cNvSpPr>
            <a:spLocks noGrp="1"/>
          </p:cNvSpPr>
          <p:nvPr userDrawn="1">
            <p:ph type="subTitle" idx="1"/>
          </p:nvPr>
        </p:nvSpPr>
        <p:spPr>
          <a:xfrm>
            <a:off x="1137600" y="3696048"/>
            <a:ext cx="4532030" cy="369332"/>
          </a:xfrm>
          <a:noFill/>
        </p:spPr>
        <p:txBody>
          <a:bodyPr wrap="square" anchor="t">
            <a:spAutoFit/>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Klikken om de ondertitelstijl van het model te bewerken</a:t>
            </a:r>
          </a:p>
        </p:txBody>
      </p:sp>
      <p:sp>
        <p:nvSpPr>
          <p:cNvPr id="30" name="Picture Placeholder 8">
            <a:extLst>
              <a:ext uri="{FF2B5EF4-FFF2-40B4-BE49-F238E27FC236}">
                <a16:creationId xmlns:a16="http://schemas.microsoft.com/office/drawing/2014/main" id="{04483224-BEF7-EA53-E3A9-48A573055C9A}"/>
              </a:ext>
            </a:extLst>
          </p:cNvPr>
          <p:cNvSpPr>
            <a:spLocks noGrp="1"/>
          </p:cNvSpPr>
          <p:nvPr userDrawn="1">
            <p:ph type="pic" sz="quarter" idx="19"/>
          </p:nvPr>
        </p:nvSpPr>
        <p:spPr>
          <a:xfrm>
            <a:off x="6162676" y="1066801"/>
            <a:ext cx="4343400" cy="4324350"/>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dirty="0"/>
              <a:t>Klik op het pictogram als u een afbeelding wilt toevoegen</a:t>
            </a:r>
            <a:endParaRPr lang="en-GB" dirty="0"/>
          </a:p>
        </p:txBody>
      </p:sp>
      <p:grpSp>
        <p:nvGrpSpPr>
          <p:cNvPr id="2" name="Groep 1">
            <a:extLst>
              <a:ext uri="{FF2B5EF4-FFF2-40B4-BE49-F238E27FC236}">
                <a16:creationId xmlns:a16="http://schemas.microsoft.com/office/drawing/2014/main" id="{B2185A22-FD6B-7FEB-20F8-CEE06F376587}"/>
              </a:ext>
            </a:extLst>
          </p:cNvPr>
          <p:cNvGrpSpPr/>
          <p:nvPr userDrawn="1"/>
        </p:nvGrpSpPr>
        <p:grpSpPr>
          <a:xfrm>
            <a:off x="10014482" y="5839298"/>
            <a:ext cx="1599388" cy="433809"/>
            <a:chOff x="3101010" y="1249096"/>
            <a:chExt cx="3978412" cy="1079079"/>
          </a:xfrm>
          <a:solidFill>
            <a:schemeClr val="bg1"/>
          </a:solidFill>
        </p:grpSpPr>
        <p:sp>
          <p:nvSpPr>
            <p:cNvPr id="3" name="Vrije vorm 2">
              <a:extLst>
                <a:ext uri="{FF2B5EF4-FFF2-40B4-BE49-F238E27FC236}">
                  <a16:creationId xmlns:a16="http://schemas.microsoft.com/office/drawing/2014/main" id="{AEF6ED20-EF99-DF9E-EEB9-C0ACC91C3AA2}"/>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288494EC-F676-9F9F-B718-A22E0798B32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6CF3897D-418C-8417-6385-D78F1DBF9572}"/>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26639E02-840D-3D7F-A839-9635D475B78F}"/>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829AC6E5-DF3F-61A6-4ECC-0FB5741768B7}"/>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98116AA6-1A93-0EB7-5613-FF62B77B2204}"/>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B649291C-7F6F-C825-8003-D78B9AAD384D}"/>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857EBBFA-8EA5-2907-1F7E-A80F5E27EB20}"/>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8010839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ersonen II">
    <p:bg>
      <p:bgPr>
        <a:solidFill>
          <a:schemeClr val="bg1"/>
        </a:solidFill>
        <a:effectLst/>
      </p:bgPr>
    </p:bg>
    <p:spTree>
      <p:nvGrpSpPr>
        <p:cNvPr id="1" name=""/>
        <p:cNvGrpSpPr/>
        <p:nvPr/>
      </p:nvGrpSpPr>
      <p:grpSpPr>
        <a:xfrm>
          <a:off x="0" y="0"/>
          <a:ext cx="0" cy="0"/>
          <a:chOff x="0" y="0"/>
          <a:chExt cx="0" cy="0"/>
        </a:xfrm>
      </p:grpSpPr>
      <p:sp>
        <p:nvSpPr>
          <p:cNvPr id="18" name="Freeform: Shape 8">
            <a:extLst>
              <a:ext uri="{FF2B5EF4-FFF2-40B4-BE49-F238E27FC236}">
                <a16:creationId xmlns:a16="http://schemas.microsoft.com/office/drawing/2014/main" id="{01836B7E-EC75-E01C-CBCC-1CC18F0DC6A1}"/>
              </a:ext>
            </a:extLst>
          </p:cNvPr>
          <p:cNvSpPr/>
          <p:nvPr userDrawn="1"/>
        </p:nvSpPr>
        <p:spPr>
          <a:xfrm>
            <a:off x="5404345"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rgbClr val="7A3500"/>
          </a:solidFill>
          <a:ln w="12700" cap="flat">
            <a:solidFill>
              <a:srgbClr val="7A3500"/>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a:p>
        </p:txBody>
      </p:sp>
      <p:sp>
        <p:nvSpPr>
          <p:cNvPr id="19" name="Freeform: Shape 7">
            <a:extLst>
              <a:ext uri="{FF2B5EF4-FFF2-40B4-BE49-F238E27FC236}">
                <a16:creationId xmlns:a16="http://schemas.microsoft.com/office/drawing/2014/main" id="{A6A498CE-B815-1C3A-9F17-90B7FD11186B}"/>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20" name="Freeform: Shape 9">
            <a:extLst>
              <a:ext uri="{FF2B5EF4-FFF2-40B4-BE49-F238E27FC236}">
                <a16:creationId xmlns:a16="http://schemas.microsoft.com/office/drawing/2014/main" id="{797FFBDA-94F1-C331-D13C-C373A4616A7F}"/>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grpSp>
        <p:nvGrpSpPr>
          <p:cNvPr id="5" name="Group 4">
            <a:extLst>
              <a:ext uri="{FF2B5EF4-FFF2-40B4-BE49-F238E27FC236}">
                <a16:creationId xmlns:a16="http://schemas.microsoft.com/office/drawing/2014/main" id="{F44CA204-46BE-9EEE-6F6C-BF05A7D51F45}"/>
              </a:ext>
            </a:extLst>
          </p:cNvPr>
          <p:cNvGrpSpPr/>
          <p:nvPr userDrawn="1"/>
        </p:nvGrpSpPr>
        <p:grpSpPr>
          <a:xfrm>
            <a:off x="0" y="0"/>
            <a:ext cx="12186919" cy="6858000"/>
            <a:chOff x="0" y="0"/>
            <a:chExt cx="12186919" cy="6858000"/>
          </a:xfrm>
        </p:grpSpPr>
        <p:sp>
          <p:nvSpPr>
            <p:cNvPr id="7" name="Freeform: Shape 6">
              <a:extLst>
                <a:ext uri="{FF2B5EF4-FFF2-40B4-BE49-F238E27FC236}">
                  <a16:creationId xmlns:a16="http://schemas.microsoft.com/office/drawing/2014/main" id="{A31CFB59-0754-3B02-0DB4-1DFCFBCB2FC0}"/>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7A3500"/>
            </a:solidFill>
            <a:ln w="12700" cap="flat">
              <a:solidFill>
                <a:srgbClr val="7A3500"/>
              </a:solidFill>
              <a:prstDash val="solid"/>
              <a:miter/>
            </a:ln>
          </p:spPr>
          <p:txBody>
            <a:bodyPr rtlCol="0" anchor="ctr"/>
            <a:lstStyle/>
            <a:p>
              <a:pPr lvl="0"/>
              <a:endParaRPr lang="en-GB"/>
            </a:p>
          </p:txBody>
        </p:sp>
        <p:sp>
          <p:nvSpPr>
            <p:cNvPr id="10" name="Freeform: Shape 9">
              <a:extLst>
                <a:ext uri="{FF2B5EF4-FFF2-40B4-BE49-F238E27FC236}">
                  <a16:creationId xmlns:a16="http://schemas.microsoft.com/office/drawing/2014/main" id="{2C02FF3B-4038-BB00-E052-EB8A480C72C0}"/>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7A3500"/>
            </a:solidFill>
            <a:ln w="12700" cap="flat">
              <a:solidFill>
                <a:srgbClr val="7A3500"/>
              </a:solidFill>
              <a:prstDash val="solid"/>
              <a:miter/>
            </a:ln>
          </p:spPr>
          <p:txBody>
            <a:bodyPr rtlCol="0" anchor="ctr"/>
            <a:lstStyle/>
            <a:p>
              <a:pPr lvl="0"/>
              <a:endParaRPr lang="en-GB"/>
            </a:p>
          </p:txBody>
        </p:sp>
      </p:grpSp>
      <p:sp>
        <p:nvSpPr>
          <p:cNvPr id="30" name="Picture Placeholder 8">
            <a:extLst>
              <a:ext uri="{FF2B5EF4-FFF2-40B4-BE49-F238E27FC236}">
                <a16:creationId xmlns:a16="http://schemas.microsoft.com/office/drawing/2014/main" id="{04483224-BEF7-EA53-E3A9-48A573055C9A}"/>
              </a:ext>
            </a:extLst>
          </p:cNvPr>
          <p:cNvSpPr>
            <a:spLocks noGrp="1"/>
          </p:cNvSpPr>
          <p:nvPr>
            <p:ph type="pic" sz="quarter" idx="19"/>
          </p:nvPr>
        </p:nvSpPr>
        <p:spPr>
          <a:xfrm>
            <a:off x="6232121" y="1373696"/>
            <a:ext cx="3107158" cy="3093530"/>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3" name="Picture Placeholder 8">
            <a:extLst>
              <a:ext uri="{FF2B5EF4-FFF2-40B4-BE49-F238E27FC236}">
                <a16:creationId xmlns:a16="http://schemas.microsoft.com/office/drawing/2014/main" id="{8206E040-3C65-135D-1D1D-FAC5C094824E}"/>
              </a:ext>
            </a:extLst>
          </p:cNvPr>
          <p:cNvSpPr>
            <a:spLocks noGrp="1"/>
          </p:cNvSpPr>
          <p:nvPr>
            <p:ph type="pic" sz="quarter" idx="20"/>
          </p:nvPr>
        </p:nvSpPr>
        <p:spPr>
          <a:xfrm>
            <a:off x="1154394" y="1373696"/>
            <a:ext cx="3107158" cy="3093530"/>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8" name="Text Placeholder 7">
            <a:extLst>
              <a:ext uri="{FF2B5EF4-FFF2-40B4-BE49-F238E27FC236}">
                <a16:creationId xmlns:a16="http://schemas.microsoft.com/office/drawing/2014/main" id="{18F06AD3-38F0-7A87-3982-57749E572863}"/>
              </a:ext>
            </a:extLst>
          </p:cNvPr>
          <p:cNvSpPr>
            <a:spLocks noGrp="1"/>
          </p:cNvSpPr>
          <p:nvPr>
            <p:ph type="body" sz="quarter" idx="21" hasCustomPrompt="1"/>
          </p:nvPr>
        </p:nvSpPr>
        <p:spPr>
          <a:xfrm>
            <a:off x="1137600" y="4696936"/>
            <a:ext cx="3107158" cy="369332"/>
          </a:xfrm>
        </p:spPr>
        <p:txBody>
          <a:bodyPr>
            <a:spAutoFit/>
          </a:bodyPr>
          <a:lstStyle>
            <a:lvl1pPr algn="l">
              <a:defRPr sz="2400" b="1">
                <a:solidFill>
                  <a:schemeClr val="bg1"/>
                </a:solidFill>
                <a:latin typeface="+mj-lt"/>
              </a:defRPr>
            </a:lvl1pPr>
          </a:lstStyle>
          <a:p>
            <a:pPr lvl="0"/>
            <a:r>
              <a:rPr lang="en-US" dirty="0"/>
              <a:t>Naam</a:t>
            </a:r>
          </a:p>
        </p:txBody>
      </p:sp>
      <p:sp>
        <p:nvSpPr>
          <p:cNvPr id="26" name="Text Placeholder 7">
            <a:extLst>
              <a:ext uri="{FF2B5EF4-FFF2-40B4-BE49-F238E27FC236}">
                <a16:creationId xmlns:a16="http://schemas.microsoft.com/office/drawing/2014/main" id="{B177B95B-54AF-1C0D-C084-ED883FB7558C}"/>
              </a:ext>
            </a:extLst>
          </p:cNvPr>
          <p:cNvSpPr>
            <a:spLocks noGrp="1"/>
          </p:cNvSpPr>
          <p:nvPr>
            <p:ph type="body" sz="quarter" idx="22" hasCustomPrompt="1"/>
          </p:nvPr>
        </p:nvSpPr>
        <p:spPr>
          <a:xfrm>
            <a:off x="1137600" y="5136851"/>
            <a:ext cx="3107158" cy="276999"/>
          </a:xfrm>
        </p:spPr>
        <p:txBody>
          <a:bodyPr>
            <a:spAutoFit/>
          </a:bodyPr>
          <a:lstStyle>
            <a:lvl1pPr algn="l">
              <a:defRPr sz="1800">
                <a:solidFill>
                  <a:schemeClr val="bg1"/>
                </a:solidFill>
                <a:latin typeface="+mn-lt"/>
              </a:defRPr>
            </a:lvl1pPr>
          </a:lstStyle>
          <a:p>
            <a:pPr lvl="0"/>
            <a:r>
              <a:rPr lang="en-US" dirty="0" err="1"/>
              <a:t>Functie</a:t>
            </a:r>
            <a:endParaRPr lang="en-US" dirty="0"/>
          </a:p>
        </p:txBody>
      </p:sp>
      <p:sp>
        <p:nvSpPr>
          <p:cNvPr id="27" name="Text Placeholder 7">
            <a:extLst>
              <a:ext uri="{FF2B5EF4-FFF2-40B4-BE49-F238E27FC236}">
                <a16:creationId xmlns:a16="http://schemas.microsoft.com/office/drawing/2014/main" id="{65535B3D-E176-56EE-5E61-1628FADF62AA}"/>
              </a:ext>
            </a:extLst>
          </p:cNvPr>
          <p:cNvSpPr>
            <a:spLocks noGrp="1"/>
          </p:cNvSpPr>
          <p:nvPr>
            <p:ph type="body" sz="quarter" idx="23" hasCustomPrompt="1"/>
          </p:nvPr>
        </p:nvSpPr>
        <p:spPr>
          <a:xfrm>
            <a:off x="6254836" y="4696936"/>
            <a:ext cx="3107158" cy="369332"/>
          </a:xfrm>
        </p:spPr>
        <p:txBody>
          <a:bodyPr>
            <a:spAutoFit/>
          </a:bodyPr>
          <a:lstStyle>
            <a:lvl1pPr algn="l">
              <a:defRPr sz="2400" b="1">
                <a:solidFill>
                  <a:schemeClr val="bg1"/>
                </a:solidFill>
                <a:latin typeface="+mj-lt"/>
              </a:defRPr>
            </a:lvl1pPr>
          </a:lstStyle>
          <a:p>
            <a:pPr lvl="0"/>
            <a:r>
              <a:rPr lang="en-US" dirty="0"/>
              <a:t>Naam</a:t>
            </a:r>
          </a:p>
        </p:txBody>
      </p:sp>
      <p:sp>
        <p:nvSpPr>
          <p:cNvPr id="28" name="Text Placeholder 7">
            <a:extLst>
              <a:ext uri="{FF2B5EF4-FFF2-40B4-BE49-F238E27FC236}">
                <a16:creationId xmlns:a16="http://schemas.microsoft.com/office/drawing/2014/main" id="{6DF84C52-EEB7-43F2-0E9E-03D89AA54038}"/>
              </a:ext>
            </a:extLst>
          </p:cNvPr>
          <p:cNvSpPr>
            <a:spLocks noGrp="1"/>
          </p:cNvSpPr>
          <p:nvPr>
            <p:ph type="body" sz="quarter" idx="24" hasCustomPrompt="1"/>
          </p:nvPr>
        </p:nvSpPr>
        <p:spPr>
          <a:xfrm>
            <a:off x="6254836" y="5136851"/>
            <a:ext cx="3107158" cy="276999"/>
          </a:xfrm>
        </p:spPr>
        <p:txBody>
          <a:bodyPr>
            <a:spAutoFit/>
          </a:bodyPr>
          <a:lstStyle>
            <a:lvl1pPr algn="l">
              <a:defRPr sz="1800">
                <a:solidFill>
                  <a:schemeClr val="bg1"/>
                </a:solidFill>
                <a:latin typeface="+mn-lt"/>
              </a:defRPr>
            </a:lvl1pPr>
          </a:lstStyle>
          <a:p>
            <a:pPr lvl="0"/>
            <a:r>
              <a:rPr lang="en-US" dirty="0" err="1"/>
              <a:t>Functie</a:t>
            </a:r>
            <a:endParaRPr lang="en-US" dirty="0"/>
          </a:p>
        </p:txBody>
      </p:sp>
      <p:grpSp>
        <p:nvGrpSpPr>
          <p:cNvPr id="2" name="Groep 1">
            <a:extLst>
              <a:ext uri="{FF2B5EF4-FFF2-40B4-BE49-F238E27FC236}">
                <a16:creationId xmlns:a16="http://schemas.microsoft.com/office/drawing/2014/main" id="{23FC2B67-52DD-ED46-DBA8-0C0A189F6DEC}"/>
              </a:ext>
            </a:extLst>
          </p:cNvPr>
          <p:cNvGrpSpPr/>
          <p:nvPr userDrawn="1"/>
        </p:nvGrpSpPr>
        <p:grpSpPr>
          <a:xfrm>
            <a:off x="10014482" y="5839298"/>
            <a:ext cx="1599388" cy="433809"/>
            <a:chOff x="3101010" y="1249096"/>
            <a:chExt cx="3978412" cy="1079079"/>
          </a:xfrm>
          <a:solidFill>
            <a:schemeClr val="bg1"/>
          </a:solidFill>
        </p:grpSpPr>
        <p:sp>
          <p:nvSpPr>
            <p:cNvPr id="3" name="Vrije vorm 2">
              <a:extLst>
                <a:ext uri="{FF2B5EF4-FFF2-40B4-BE49-F238E27FC236}">
                  <a16:creationId xmlns:a16="http://schemas.microsoft.com/office/drawing/2014/main" id="{E0DEAC0E-10ED-2939-B714-BD6AAAD4DAB5}"/>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E98E8878-4D58-F704-AE7B-6EC84C3D158E}"/>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26052B05-892B-756C-7223-DB665B8CCA0B}"/>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5FB35E1B-1BB1-0C81-9F77-336425C66F33}"/>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0781B84E-BE36-E6FD-E1FD-4E2A7A01D596}"/>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B6C3B072-6D0F-80B7-611D-C14A66F53006}"/>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3252F2BA-7F90-E4BC-A4D5-12BB6F878EE7}"/>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17522E74-4004-AA38-C24D-58BAE57815DF}"/>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4760726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Personen III">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2D7DDD3-88A8-EB44-963C-4FC7C82EBE5C}"/>
              </a:ext>
            </a:extLst>
          </p:cNvPr>
          <p:cNvGrpSpPr/>
          <p:nvPr userDrawn="1"/>
        </p:nvGrpSpPr>
        <p:grpSpPr>
          <a:xfrm>
            <a:off x="0" y="0"/>
            <a:ext cx="12192000" cy="6858000"/>
            <a:chOff x="0" y="0"/>
            <a:chExt cx="12192000" cy="6858000"/>
          </a:xfrm>
        </p:grpSpPr>
        <p:sp>
          <p:nvSpPr>
            <p:cNvPr id="9" name="Freeform: Shape 8">
              <a:extLst>
                <a:ext uri="{FF2B5EF4-FFF2-40B4-BE49-F238E27FC236}">
                  <a16:creationId xmlns:a16="http://schemas.microsoft.com/office/drawing/2014/main" id="{224D02C3-09D4-4FB2-E3FC-B3BEF4C37CEC}"/>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7A3500"/>
            </a:solidFill>
            <a:ln w="12700" cap="flat">
              <a:solidFill>
                <a:srgbClr val="7A3500"/>
              </a:solidFill>
              <a:prstDash val="solid"/>
              <a:miter/>
            </a:ln>
          </p:spPr>
          <p:txBody>
            <a:bodyPr rtlCol="0" anchor="ctr"/>
            <a:lstStyle/>
            <a:p>
              <a:pPr lvl="0"/>
              <a:endParaRPr lang="en-GB"/>
            </a:p>
          </p:txBody>
        </p:sp>
        <p:sp>
          <p:nvSpPr>
            <p:cNvPr id="10" name="Freeform: Shape 9">
              <a:extLst>
                <a:ext uri="{FF2B5EF4-FFF2-40B4-BE49-F238E27FC236}">
                  <a16:creationId xmlns:a16="http://schemas.microsoft.com/office/drawing/2014/main" id="{559B6A7B-9E20-FBD9-B041-59C1CCF43DA5}"/>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1" name="Freeform: Shape 10">
              <a:extLst>
                <a:ext uri="{FF2B5EF4-FFF2-40B4-BE49-F238E27FC236}">
                  <a16:creationId xmlns:a16="http://schemas.microsoft.com/office/drawing/2014/main" id="{E5040AAB-86B5-0BB6-4447-20A533834EF0}"/>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7A3500"/>
            </a:solidFill>
            <a:ln w="12700" cap="flat">
              <a:solidFill>
                <a:srgbClr val="7A3500"/>
              </a:solidFill>
              <a:prstDash val="solid"/>
              <a:miter/>
            </a:ln>
          </p:spPr>
          <p:txBody>
            <a:bodyPr rtlCol="0" anchor="ctr"/>
            <a:lstStyle/>
            <a:p>
              <a:pPr lvl="0"/>
              <a:endParaRPr lang="en-GB"/>
            </a:p>
          </p:txBody>
        </p:sp>
        <p:sp>
          <p:nvSpPr>
            <p:cNvPr id="12" name="Freeform: Shape 11">
              <a:extLst>
                <a:ext uri="{FF2B5EF4-FFF2-40B4-BE49-F238E27FC236}">
                  <a16:creationId xmlns:a16="http://schemas.microsoft.com/office/drawing/2014/main" id="{C4F4FFEB-394A-F0C0-1419-285252ECEECF}"/>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3" name="Freeform: Shape 12">
              <a:extLst>
                <a:ext uri="{FF2B5EF4-FFF2-40B4-BE49-F238E27FC236}">
                  <a16:creationId xmlns:a16="http://schemas.microsoft.com/office/drawing/2014/main" id="{1E456116-013A-F0A1-F51F-0DC4439848F6}"/>
                </a:ext>
              </a:extLst>
            </p:cNvPr>
            <p:cNvSpPr/>
            <p:nvPr userDrawn="1"/>
          </p:nvSpPr>
          <p:spPr>
            <a:xfrm>
              <a:off x="5414619"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rgbClr val="7A3500"/>
            </a:solidFill>
            <a:ln w="12700" cap="flat">
              <a:solidFill>
                <a:srgbClr val="7A3500"/>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grpSp>
      <p:sp>
        <p:nvSpPr>
          <p:cNvPr id="30" name="Picture Placeholder 8">
            <a:extLst>
              <a:ext uri="{FF2B5EF4-FFF2-40B4-BE49-F238E27FC236}">
                <a16:creationId xmlns:a16="http://schemas.microsoft.com/office/drawing/2014/main" id="{04483224-BEF7-EA53-E3A9-48A573055C9A}"/>
              </a:ext>
            </a:extLst>
          </p:cNvPr>
          <p:cNvSpPr>
            <a:spLocks noGrp="1" noChangeAspect="1"/>
          </p:cNvSpPr>
          <p:nvPr>
            <p:ph type="pic" sz="quarter" idx="19"/>
          </p:nvPr>
        </p:nvSpPr>
        <p:spPr>
          <a:xfrm>
            <a:off x="4717075" y="1786538"/>
            <a:ext cx="2240965" cy="2231136"/>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3" name="Picture Placeholder 8">
            <a:extLst>
              <a:ext uri="{FF2B5EF4-FFF2-40B4-BE49-F238E27FC236}">
                <a16:creationId xmlns:a16="http://schemas.microsoft.com/office/drawing/2014/main" id="{8206E040-3C65-135D-1D1D-FAC5C094824E}"/>
              </a:ext>
            </a:extLst>
          </p:cNvPr>
          <p:cNvSpPr>
            <a:spLocks noGrp="1"/>
          </p:cNvSpPr>
          <p:nvPr>
            <p:ph type="pic" sz="quarter" idx="20"/>
          </p:nvPr>
        </p:nvSpPr>
        <p:spPr>
          <a:xfrm>
            <a:off x="1154394" y="1783270"/>
            <a:ext cx="2236563" cy="2226753"/>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8" name="Text Placeholder 7">
            <a:extLst>
              <a:ext uri="{FF2B5EF4-FFF2-40B4-BE49-F238E27FC236}">
                <a16:creationId xmlns:a16="http://schemas.microsoft.com/office/drawing/2014/main" id="{18F06AD3-38F0-7A87-3982-57749E572863}"/>
              </a:ext>
            </a:extLst>
          </p:cNvPr>
          <p:cNvSpPr>
            <a:spLocks noGrp="1"/>
          </p:cNvSpPr>
          <p:nvPr>
            <p:ph type="body" sz="quarter" idx="21" hasCustomPrompt="1"/>
          </p:nvPr>
        </p:nvSpPr>
        <p:spPr>
          <a:xfrm>
            <a:off x="1137600" y="4257790"/>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26" name="Text Placeholder 7">
            <a:extLst>
              <a:ext uri="{FF2B5EF4-FFF2-40B4-BE49-F238E27FC236}">
                <a16:creationId xmlns:a16="http://schemas.microsoft.com/office/drawing/2014/main" id="{B177B95B-54AF-1C0D-C084-ED883FB7558C}"/>
              </a:ext>
            </a:extLst>
          </p:cNvPr>
          <p:cNvSpPr>
            <a:spLocks noGrp="1"/>
          </p:cNvSpPr>
          <p:nvPr>
            <p:ph type="body" sz="quarter" idx="22" hasCustomPrompt="1"/>
          </p:nvPr>
        </p:nvSpPr>
        <p:spPr>
          <a:xfrm>
            <a:off x="1137600" y="4588182"/>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34" name="Picture Placeholder 8">
            <a:extLst>
              <a:ext uri="{FF2B5EF4-FFF2-40B4-BE49-F238E27FC236}">
                <a16:creationId xmlns:a16="http://schemas.microsoft.com/office/drawing/2014/main" id="{49359509-209D-FD83-E2E3-DF4B41BDE35D}"/>
              </a:ext>
            </a:extLst>
          </p:cNvPr>
          <p:cNvSpPr>
            <a:spLocks noGrp="1" noChangeAspect="1"/>
          </p:cNvSpPr>
          <p:nvPr>
            <p:ph type="pic" sz="quarter" idx="25"/>
          </p:nvPr>
        </p:nvSpPr>
        <p:spPr>
          <a:xfrm>
            <a:off x="8284159" y="1786537"/>
            <a:ext cx="2240965" cy="2231136"/>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42" name="Text Placeholder 7">
            <a:extLst>
              <a:ext uri="{FF2B5EF4-FFF2-40B4-BE49-F238E27FC236}">
                <a16:creationId xmlns:a16="http://schemas.microsoft.com/office/drawing/2014/main" id="{FDCE24C7-FF7F-47FD-D779-ABC6FC210F01}"/>
              </a:ext>
            </a:extLst>
          </p:cNvPr>
          <p:cNvSpPr>
            <a:spLocks noGrp="1"/>
          </p:cNvSpPr>
          <p:nvPr>
            <p:ph type="body" sz="quarter" idx="26" hasCustomPrompt="1"/>
          </p:nvPr>
        </p:nvSpPr>
        <p:spPr>
          <a:xfrm>
            <a:off x="4723485" y="4257790"/>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3" name="Text Placeholder 7">
            <a:extLst>
              <a:ext uri="{FF2B5EF4-FFF2-40B4-BE49-F238E27FC236}">
                <a16:creationId xmlns:a16="http://schemas.microsoft.com/office/drawing/2014/main" id="{DC86E184-5512-C0CE-7F19-2E9D945A5696}"/>
              </a:ext>
            </a:extLst>
          </p:cNvPr>
          <p:cNvSpPr>
            <a:spLocks noGrp="1"/>
          </p:cNvSpPr>
          <p:nvPr>
            <p:ph type="body" sz="quarter" idx="27" hasCustomPrompt="1"/>
          </p:nvPr>
        </p:nvSpPr>
        <p:spPr>
          <a:xfrm>
            <a:off x="4723485" y="4588182"/>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44" name="Text Placeholder 7">
            <a:extLst>
              <a:ext uri="{FF2B5EF4-FFF2-40B4-BE49-F238E27FC236}">
                <a16:creationId xmlns:a16="http://schemas.microsoft.com/office/drawing/2014/main" id="{334843A1-7F9F-B805-78DA-7661A5E4DD59}"/>
              </a:ext>
            </a:extLst>
          </p:cNvPr>
          <p:cNvSpPr>
            <a:spLocks noGrp="1"/>
          </p:cNvSpPr>
          <p:nvPr>
            <p:ph type="body" sz="quarter" idx="28" hasCustomPrompt="1"/>
          </p:nvPr>
        </p:nvSpPr>
        <p:spPr>
          <a:xfrm>
            <a:off x="8298223" y="4257790"/>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5" name="Text Placeholder 7">
            <a:extLst>
              <a:ext uri="{FF2B5EF4-FFF2-40B4-BE49-F238E27FC236}">
                <a16:creationId xmlns:a16="http://schemas.microsoft.com/office/drawing/2014/main" id="{C48210F2-5D62-6D0F-047A-AB779E216D2D}"/>
              </a:ext>
            </a:extLst>
          </p:cNvPr>
          <p:cNvSpPr>
            <a:spLocks noGrp="1"/>
          </p:cNvSpPr>
          <p:nvPr>
            <p:ph type="body" sz="quarter" idx="29" hasCustomPrompt="1"/>
          </p:nvPr>
        </p:nvSpPr>
        <p:spPr>
          <a:xfrm>
            <a:off x="8298223" y="4588182"/>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grpSp>
        <p:nvGrpSpPr>
          <p:cNvPr id="2" name="Groep 1">
            <a:extLst>
              <a:ext uri="{FF2B5EF4-FFF2-40B4-BE49-F238E27FC236}">
                <a16:creationId xmlns:a16="http://schemas.microsoft.com/office/drawing/2014/main" id="{E75B983F-250F-4F91-744F-999DE711110C}"/>
              </a:ext>
            </a:extLst>
          </p:cNvPr>
          <p:cNvGrpSpPr/>
          <p:nvPr userDrawn="1"/>
        </p:nvGrpSpPr>
        <p:grpSpPr>
          <a:xfrm>
            <a:off x="10014482" y="5839298"/>
            <a:ext cx="1599388" cy="433809"/>
            <a:chOff x="3101010" y="1249096"/>
            <a:chExt cx="3978412" cy="1079079"/>
          </a:xfrm>
          <a:solidFill>
            <a:schemeClr val="bg1"/>
          </a:solidFill>
        </p:grpSpPr>
        <p:sp>
          <p:nvSpPr>
            <p:cNvPr id="3" name="Vrije vorm 2">
              <a:extLst>
                <a:ext uri="{FF2B5EF4-FFF2-40B4-BE49-F238E27FC236}">
                  <a16:creationId xmlns:a16="http://schemas.microsoft.com/office/drawing/2014/main" id="{83419BF2-BD92-448E-0539-16D96AEA91B3}"/>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59A2B9CB-6459-E5CD-BAFE-053F2C60CEE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CF2685E8-912A-AAC7-FDC8-7DD85133749B}"/>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56C9C9FE-EC3D-0441-7354-2423363AB3FC}"/>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05C16928-CC26-1640-DC2F-77C77A0C1C32}"/>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22228C75-DA1B-27DD-B7B9-07F67E2C0719}"/>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D2F7D303-8DC6-93D3-4B51-A3AA9B22C19D}"/>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58C284C2-37B3-DF39-26E7-B37B80429C42}"/>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8696706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Personen IV">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96F7F5C-A908-766D-DE0C-047B07E54C32}"/>
              </a:ext>
            </a:extLst>
          </p:cNvPr>
          <p:cNvGrpSpPr/>
          <p:nvPr userDrawn="1"/>
        </p:nvGrpSpPr>
        <p:grpSpPr>
          <a:xfrm>
            <a:off x="0" y="0"/>
            <a:ext cx="12192000" cy="6858000"/>
            <a:chOff x="0" y="0"/>
            <a:chExt cx="12192000" cy="6858000"/>
          </a:xfrm>
        </p:grpSpPr>
        <p:sp>
          <p:nvSpPr>
            <p:cNvPr id="4" name="Freeform: Shape 3">
              <a:extLst>
                <a:ext uri="{FF2B5EF4-FFF2-40B4-BE49-F238E27FC236}">
                  <a16:creationId xmlns:a16="http://schemas.microsoft.com/office/drawing/2014/main" id="{702D3C3D-000B-A538-CB3A-FFDD745EEF50}"/>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7A3500"/>
            </a:solidFill>
            <a:ln w="12700" cap="flat">
              <a:solidFill>
                <a:srgbClr val="7A3500"/>
              </a:solidFill>
              <a:prstDash val="solid"/>
              <a:miter/>
            </a:ln>
          </p:spPr>
          <p:txBody>
            <a:bodyPr rtlCol="0" anchor="ctr"/>
            <a:lstStyle/>
            <a:p>
              <a:pPr lvl="0"/>
              <a:endParaRPr lang="en-GB"/>
            </a:p>
          </p:txBody>
        </p:sp>
        <p:sp>
          <p:nvSpPr>
            <p:cNvPr id="5" name="Freeform: Shape 4">
              <a:extLst>
                <a:ext uri="{FF2B5EF4-FFF2-40B4-BE49-F238E27FC236}">
                  <a16:creationId xmlns:a16="http://schemas.microsoft.com/office/drawing/2014/main" id="{909A9029-02FF-EDE6-38ED-2FEBE2ED3987}"/>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6" name="Freeform: Shape 5">
              <a:extLst>
                <a:ext uri="{FF2B5EF4-FFF2-40B4-BE49-F238E27FC236}">
                  <a16:creationId xmlns:a16="http://schemas.microsoft.com/office/drawing/2014/main" id="{4F4BDA5E-0B55-2F0A-3B78-4C7DFE1A7654}"/>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7A3500"/>
            </a:solidFill>
            <a:ln w="12700" cap="flat">
              <a:solidFill>
                <a:srgbClr val="7A3500"/>
              </a:solidFill>
              <a:prstDash val="solid"/>
              <a:miter/>
            </a:ln>
          </p:spPr>
          <p:txBody>
            <a:bodyPr rtlCol="0" anchor="ctr"/>
            <a:lstStyle/>
            <a:p>
              <a:pPr lvl="0"/>
              <a:endParaRPr lang="en-GB"/>
            </a:p>
          </p:txBody>
        </p:sp>
        <p:sp>
          <p:nvSpPr>
            <p:cNvPr id="7" name="Freeform: Shape 6">
              <a:extLst>
                <a:ext uri="{FF2B5EF4-FFF2-40B4-BE49-F238E27FC236}">
                  <a16:creationId xmlns:a16="http://schemas.microsoft.com/office/drawing/2014/main" id="{BD4D8FF0-69EC-3253-EB4F-8CE1DF20F02D}"/>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9" name="Freeform: Shape 8">
              <a:extLst>
                <a:ext uri="{FF2B5EF4-FFF2-40B4-BE49-F238E27FC236}">
                  <a16:creationId xmlns:a16="http://schemas.microsoft.com/office/drawing/2014/main" id="{250328EE-5066-40DC-2EB1-E889D29401C3}"/>
                </a:ext>
              </a:extLst>
            </p:cNvPr>
            <p:cNvSpPr/>
            <p:nvPr userDrawn="1"/>
          </p:nvSpPr>
          <p:spPr>
            <a:xfrm>
              <a:off x="5414619"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rgbClr val="7A3500"/>
            </a:solidFill>
            <a:ln w="12700" cap="flat">
              <a:solidFill>
                <a:srgbClr val="7A3500"/>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grpSp>
      <p:sp>
        <p:nvSpPr>
          <p:cNvPr id="30" name="Picture Placeholder 8">
            <a:extLst>
              <a:ext uri="{FF2B5EF4-FFF2-40B4-BE49-F238E27FC236}">
                <a16:creationId xmlns:a16="http://schemas.microsoft.com/office/drawing/2014/main" id="{04483224-BEF7-EA53-E3A9-48A573055C9A}"/>
              </a:ext>
            </a:extLst>
          </p:cNvPr>
          <p:cNvSpPr>
            <a:spLocks noGrp="1" noChangeAspect="1"/>
          </p:cNvSpPr>
          <p:nvPr>
            <p:ph type="pic" sz="quarter" idx="19"/>
          </p:nvPr>
        </p:nvSpPr>
        <p:spPr>
          <a:xfrm>
            <a:off x="3969070" y="2175548"/>
            <a:ext cx="1773936" cy="1766155"/>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3" name="Picture Placeholder 8">
            <a:extLst>
              <a:ext uri="{FF2B5EF4-FFF2-40B4-BE49-F238E27FC236}">
                <a16:creationId xmlns:a16="http://schemas.microsoft.com/office/drawing/2014/main" id="{8206E040-3C65-135D-1D1D-FAC5C094824E}"/>
              </a:ext>
            </a:extLst>
          </p:cNvPr>
          <p:cNvSpPr>
            <a:spLocks noGrp="1"/>
          </p:cNvSpPr>
          <p:nvPr>
            <p:ph type="pic" sz="quarter" idx="20"/>
          </p:nvPr>
        </p:nvSpPr>
        <p:spPr>
          <a:xfrm>
            <a:off x="1154395" y="2175548"/>
            <a:ext cx="1769838" cy="1773936"/>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8" name="Text Placeholder 7">
            <a:extLst>
              <a:ext uri="{FF2B5EF4-FFF2-40B4-BE49-F238E27FC236}">
                <a16:creationId xmlns:a16="http://schemas.microsoft.com/office/drawing/2014/main" id="{18F06AD3-38F0-7A87-3982-57749E572863}"/>
              </a:ext>
            </a:extLst>
          </p:cNvPr>
          <p:cNvSpPr>
            <a:spLocks noGrp="1"/>
          </p:cNvSpPr>
          <p:nvPr>
            <p:ph type="body" sz="quarter" idx="21" hasCustomPrompt="1"/>
          </p:nvPr>
        </p:nvSpPr>
        <p:spPr>
          <a:xfrm>
            <a:off x="1137600" y="4045924"/>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26" name="Text Placeholder 7">
            <a:extLst>
              <a:ext uri="{FF2B5EF4-FFF2-40B4-BE49-F238E27FC236}">
                <a16:creationId xmlns:a16="http://schemas.microsoft.com/office/drawing/2014/main" id="{B177B95B-54AF-1C0D-C084-ED883FB7558C}"/>
              </a:ext>
            </a:extLst>
          </p:cNvPr>
          <p:cNvSpPr>
            <a:spLocks noGrp="1"/>
          </p:cNvSpPr>
          <p:nvPr>
            <p:ph type="body" sz="quarter" idx="22" hasCustomPrompt="1"/>
          </p:nvPr>
        </p:nvSpPr>
        <p:spPr>
          <a:xfrm>
            <a:off x="1137600" y="4390589"/>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34" name="Picture Placeholder 8">
            <a:extLst>
              <a:ext uri="{FF2B5EF4-FFF2-40B4-BE49-F238E27FC236}">
                <a16:creationId xmlns:a16="http://schemas.microsoft.com/office/drawing/2014/main" id="{49359509-209D-FD83-E2E3-DF4B41BDE35D}"/>
              </a:ext>
            </a:extLst>
          </p:cNvPr>
          <p:cNvSpPr>
            <a:spLocks noGrp="1" noChangeAspect="1"/>
          </p:cNvSpPr>
          <p:nvPr>
            <p:ph type="pic" sz="quarter" idx="25"/>
          </p:nvPr>
        </p:nvSpPr>
        <p:spPr>
          <a:xfrm>
            <a:off x="6787843" y="2175548"/>
            <a:ext cx="1773936" cy="1766155"/>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42" name="Text Placeholder 7">
            <a:extLst>
              <a:ext uri="{FF2B5EF4-FFF2-40B4-BE49-F238E27FC236}">
                <a16:creationId xmlns:a16="http://schemas.microsoft.com/office/drawing/2014/main" id="{FDCE24C7-FF7F-47FD-D779-ABC6FC210F01}"/>
              </a:ext>
            </a:extLst>
          </p:cNvPr>
          <p:cNvSpPr>
            <a:spLocks noGrp="1"/>
          </p:cNvSpPr>
          <p:nvPr>
            <p:ph type="body" sz="quarter" idx="26" hasCustomPrompt="1"/>
          </p:nvPr>
        </p:nvSpPr>
        <p:spPr>
          <a:xfrm>
            <a:off x="3961485" y="4045924"/>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3" name="Text Placeholder 7">
            <a:extLst>
              <a:ext uri="{FF2B5EF4-FFF2-40B4-BE49-F238E27FC236}">
                <a16:creationId xmlns:a16="http://schemas.microsoft.com/office/drawing/2014/main" id="{DC86E184-5512-C0CE-7F19-2E9D945A5696}"/>
              </a:ext>
            </a:extLst>
          </p:cNvPr>
          <p:cNvSpPr>
            <a:spLocks noGrp="1"/>
          </p:cNvSpPr>
          <p:nvPr>
            <p:ph type="body" sz="quarter" idx="27" hasCustomPrompt="1"/>
          </p:nvPr>
        </p:nvSpPr>
        <p:spPr>
          <a:xfrm>
            <a:off x="3961485" y="4390589"/>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44" name="Text Placeholder 7">
            <a:extLst>
              <a:ext uri="{FF2B5EF4-FFF2-40B4-BE49-F238E27FC236}">
                <a16:creationId xmlns:a16="http://schemas.microsoft.com/office/drawing/2014/main" id="{334843A1-7F9F-B805-78DA-7661A5E4DD59}"/>
              </a:ext>
            </a:extLst>
          </p:cNvPr>
          <p:cNvSpPr>
            <a:spLocks noGrp="1"/>
          </p:cNvSpPr>
          <p:nvPr>
            <p:ph type="body" sz="quarter" idx="28" hasCustomPrompt="1"/>
          </p:nvPr>
        </p:nvSpPr>
        <p:spPr>
          <a:xfrm>
            <a:off x="6774224" y="4045924"/>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5" name="Text Placeholder 7">
            <a:extLst>
              <a:ext uri="{FF2B5EF4-FFF2-40B4-BE49-F238E27FC236}">
                <a16:creationId xmlns:a16="http://schemas.microsoft.com/office/drawing/2014/main" id="{C48210F2-5D62-6D0F-047A-AB779E216D2D}"/>
              </a:ext>
            </a:extLst>
          </p:cNvPr>
          <p:cNvSpPr>
            <a:spLocks noGrp="1"/>
          </p:cNvSpPr>
          <p:nvPr>
            <p:ph type="body" sz="quarter" idx="29" hasCustomPrompt="1"/>
          </p:nvPr>
        </p:nvSpPr>
        <p:spPr>
          <a:xfrm>
            <a:off x="6774224" y="4390589"/>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36" name="Picture Placeholder 8">
            <a:extLst>
              <a:ext uri="{FF2B5EF4-FFF2-40B4-BE49-F238E27FC236}">
                <a16:creationId xmlns:a16="http://schemas.microsoft.com/office/drawing/2014/main" id="{D27B2E7C-810D-44CC-7A3F-14969273B0F5}"/>
              </a:ext>
            </a:extLst>
          </p:cNvPr>
          <p:cNvSpPr>
            <a:spLocks noGrp="1" noChangeAspect="1"/>
          </p:cNvSpPr>
          <p:nvPr>
            <p:ph type="pic" sz="quarter" idx="30"/>
          </p:nvPr>
        </p:nvSpPr>
        <p:spPr>
          <a:xfrm>
            <a:off x="9586963" y="2175548"/>
            <a:ext cx="1773936" cy="1766155"/>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41" name="Text Placeholder 7">
            <a:extLst>
              <a:ext uri="{FF2B5EF4-FFF2-40B4-BE49-F238E27FC236}">
                <a16:creationId xmlns:a16="http://schemas.microsoft.com/office/drawing/2014/main" id="{FA799B20-C2C7-73D2-B8B0-0A28A1E94139}"/>
              </a:ext>
            </a:extLst>
          </p:cNvPr>
          <p:cNvSpPr>
            <a:spLocks noGrp="1"/>
          </p:cNvSpPr>
          <p:nvPr>
            <p:ph type="body" sz="quarter" idx="31" hasCustomPrompt="1"/>
          </p:nvPr>
        </p:nvSpPr>
        <p:spPr>
          <a:xfrm>
            <a:off x="9586963" y="4054329"/>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6" name="Text Placeholder 7">
            <a:extLst>
              <a:ext uri="{FF2B5EF4-FFF2-40B4-BE49-F238E27FC236}">
                <a16:creationId xmlns:a16="http://schemas.microsoft.com/office/drawing/2014/main" id="{C8322BE2-A6EA-2B77-4274-B8A694B26A5F}"/>
              </a:ext>
            </a:extLst>
          </p:cNvPr>
          <p:cNvSpPr>
            <a:spLocks noGrp="1"/>
          </p:cNvSpPr>
          <p:nvPr>
            <p:ph type="body" sz="quarter" idx="32" hasCustomPrompt="1"/>
          </p:nvPr>
        </p:nvSpPr>
        <p:spPr>
          <a:xfrm>
            <a:off x="9586963" y="4398994"/>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grpSp>
        <p:nvGrpSpPr>
          <p:cNvPr id="2" name="Groep 1">
            <a:extLst>
              <a:ext uri="{FF2B5EF4-FFF2-40B4-BE49-F238E27FC236}">
                <a16:creationId xmlns:a16="http://schemas.microsoft.com/office/drawing/2014/main" id="{CF0039A4-B884-F71B-2F40-C0C74C935C2C}"/>
              </a:ext>
            </a:extLst>
          </p:cNvPr>
          <p:cNvGrpSpPr/>
          <p:nvPr userDrawn="1"/>
        </p:nvGrpSpPr>
        <p:grpSpPr>
          <a:xfrm>
            <a:off x="10014482" y="5839298"/>
            <a:ext cx="1599388" cy="433809"/>
            <a:chOff x="3101010" y="1249096"/>
            <a:chExt cx="3978412" cy="1079079"/>
          </a:xfrm>
          <a:solidFill>
            <a:schemeClr val="bg1"/>
          </a:solidFill>
        </p:grpSpPr>
        <p:sp>
          <p:nvSpPr>
            <p:cNvPr id="10" name="Vrije vorm 9">
              <a:extLst>
                <a:ext uri="{FF2B5EF4-FFF2-40B4-BE49-F238E27FC236}">
                  <a16:creationId xmlns:a16="http://schemas.microsoft.com/office/drawing/2014/main" id="{6B8DE00C-52D0-D862-E831-2F8281B7F252}"/>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F6581F89-6ACC-7CE7-A635-326CE8C1705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61E283BC-A80A-808B-21A9-C3FCF2F39C9B}"/>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42A4534F-4144-1641-728A-91A73A78992B}"/>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E26CA505-5AB0-810F-6087-29006D4DD774}"/>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9310EC34-BDB6-3D17-5347-7544F93C773B}"/>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33E0C7A7-CD66-C647-5D55-5AB6618998DA}"/>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6A9F36E1-F717-D5E6-195B-197AEA12D9CB}"/>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3017303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ekst / 1 kolom">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11CCC-33F0-7A7C-3C48-F19EDC149C27}"/>
              </a:ext>
            </a:extLst>
          </p:cNvPr>
          <p:cNvSpPr>
            <a:spLocks noGrp="1"/>
          </p:cNvSpPr>
          <p:nvPr>
            <p:ph type="title"/>
          </p:nvPr>
        </p:nvSpPr>
        <p:spPr>
          <a:xfrm>
            <a:off x="1139124" y="595590"/>
            <a:ext cx="9938183" cy="1000736"/>
          </a:xfrm>
        </p:spPr>
        <p:txBody>
          <a:bodyPr/>
          <a:lstStyle/>
          <a:p>
            <a:r>
              <a:rPr lang="nl-NL"/>
              <a:t>Klik om stijl te bewerken</a:t>
            </a:r>
            <a:endParaRPr lang="en-US"/>
          </a:p>
        </p:txBody>
      </p:sp>
      <p:sp>
        <p:nvSpPr>
          <p:cNvPr id="10" name="Text Placeholder 3">
            <a:extLst>
              <a:ext uri="{FF2B5EF4-FFF2-40B4-BE49-F238E27FC236}">
                <a16:creationId xmlns:a16="http://schemas.microsoft.com/office/drawing/2014/main" id="{BE5E00DB-1EA6-464A-0466-C026D0729C7E}"/>
              </a:ext>
            </a:extLst>
          </p:cNvPr>
          <p:cNvSpPr>
            <a:spLocks noGrp="1"/>
          </p:cNvSpPr>
          <p:nvPr>
            <p:ph type="body" sz="quarter" idx="10"/>
          </p:nvPr>
        </p:nvSpPr>
        <p:spPr>
          <a:xfrm>
            <a:off x="1139124" y="2003728"/>
            <a:ext cx="9925751" cy="3650247"/>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grpSp>
        <p:nvGrpSpPr>
          <p:cNvPr id="3" name="Groep 2">
            <a:extLst>
              <a:ext uri="{FF2B5EF4-FFF2-40B4-BE49-F238E27FC236}">
                <a16:creationId xmlns:a16="http://schemas.microsoft.com/office/drawing/2014/main" id="{717CE920-9579-14CE-0672-F0EDB4637649}"/>
              </a:ext>
            </a:extLst>
          </p:cNvPr>
          <p:cNvGrpSpPr/>
          <p:nvPr userDrawn="1"/>
        </p:nvGrpSpPr>
        <p:grpSpPr>
          <a:xfrm>
            <a:off x="10014482" y="5839298"/>
            <a:ext cx="1599388" cy="433809"/>
            <a:chOff x="3101010" y="1249096"/>
            <a:chExt cx="3978412" cy="1079079"/>
          </a:xfrm>
          <a:solidFill>
            <a:schemeClr val="tx2"/>
          </a:solidFill>
        </p:grpSpPr>
        <p:sp>
          <p:nvSpPr>
            <p:cNvPr id="4" name="Vrije vorm 3">
              <a:extLst>
                <a:ext uri="{FF2B5EF4-FFF2-40B4-BE49-F238E27FC236}">
                  <a16:creationId xmlns:a16="http://schemas.microsoft.com/office/drawing/2014/main" id="{380C4147-1AAD-BC0A-B4EC-5E1BF1E28731}"/>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67970AEF-9C1C-E0BF-0AB2-D7E0B736F93F}"/>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84411933-F6E6-5A1C-278D-0F2AC93E2462}"/>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23094AAE-E411-FB67-B5C5-CDF9E1FDB5DB}"/>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2E6525B7-4CB3-01C7-F264-B96F3FEBB53E}"/>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85A51975-E367-D2D0-12F6-BB6BB908F9BE}"/>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F9A610A0-47D8-BCBD-8C51-98D26A7C1B28}"/>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9905D9D6-1F3F-516F-0924-728C828B3A4A}"/>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821125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ekst 2 kolommen + kop">
    <p:bg>
      <p:bgPr>
        <a:solidFill>
          <a:schemeClr val="bg1"/>
        </a:solidFill>
        <a:effectLst/>
      </p:bgPr>
    </p:bg>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2083A11-CB10-4A2B-AC8E-382DFEA6B28C}"/>
              </a:ext>
            </a:extLst>
          </p:cNvPr>
          <p:cNvSpPr>
            <a:spLocks noGrp="1"/>
          </p:cNvSpPr>
          <p:nvPr>
            <p:ph type="body" sz="half" idx="14" hasCustomPrompt="1"/>
          </p:nvPr>
        </p:nvSpPr>
        <p:spPr>
          <a:xfrm>
            <a:off x="1139126"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sp>
        <p:nvSpPr>
          <p:cNvPr id="12" name="Text Placeholder 3">
            <a:extLst>
              <a:ext uri="{FF2B5EF4-FFF2-40B4-BE49-F238E27FC236}">
                <a16:creationId xmlns:a16="http://schemas.microsoft.com/office/drawing/2014/main" id="{BD4322EE-9691-472A-BFB9-D03E483F397D}"/>
              </a:ext>
            </a:extLst>
          </p:cNvPr>
          <p:cNvSpPr>
            <a:spLocks noGrp="1"/>
          </p:cNvSpPr>
          <p:nvPr>
            <p:ph type="body" sz="half" idx="15" hasCustomPrompt="1"/>
          </p:nvPr>
        </p:nvSpPr>
        <p:spPr>
          <a:xfrm>
            <a:off x="6503577"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22" name="Text Placeholder 13">
            <a:extLst>
              <a:ext uri="{FF2B5EF4-FFF2-40B4-BE49-F238E27FC236}">
                <a16:creationId xmlns:a16="http://schemas.microsoft.com/office/drawing/2014/main" id="{351DD9B3-B6F8-575C-F146-D8B11E0E2F00}"/>
              </a:ext>
            </a:extLst>
          </p:cNvPr>
          <p:cNvSpPr>
            <a:spLocks noGrp="1"/>
          </p:cNvSpPr>
          <p:nvPr>
            <p:ph type="body" sz="quarter" idx="18"/>
          </p:nvPr>
        </p:nvSpPr>
        <p:spPr>
          <a:xfrm>
            <a:off x="1139124" y="2559063"/>
            <a:ext cx="4545423" cy="3336923"/>
          </a:xfrm>
        </p:spPr>
        <p:txBody>
          <a:bodyPr/>
          <a:lstStyle>
            <a:lvl1pPr>
              <a:defRPr sz="2400"/>
            </a:lvl1pPr>
            <a:lvl2pPr>
              <a:defRPr sz="2400"/>
            </a:lvl2pPr>
            <a:lvl3pPr>
              <a:defRPr sz="2000"/>
            </a:lvl3pPr>
            <a:lvl4pPr>
              <a:defRPr sz="2000"/>
            </a:lvl4pPr>
            <a:lvl5pPr>
              <a:defRPr sz="2000"/>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3" name="Text Placeholder 13">
            <a:extLst>
              <a:ext uri="{FF2B5EF4-FFF2-40B4-BE49-F238E27FC236}">
                <a16:creationId xmlns:a16="http://schemas.microsoft.com/office/drawing/2014/main" id="{447AE6B1-D598-594A-E638-E7AD94B9C07C}"/>
              </a:ext>
            </a:extLst>
          </p:cNvPr>
          <p:cNvSpPr>
            <a:spLocks noGrp="1"/>
          </p:cNvSpPr>
          <p:nvPr>
            <p:ph type="body" sz="quarter" idx="19"/>
          </p:nvPr>
        </p:nvSpPr>
        <p:spPr>
          <a:xfrm>
            <a:off x="6501384" y="2559063"/>
            <a:ext cx="4545424" cy="3336923"/>
          </a:xfrm>
        </p:spPr>
        <p:txBody>
          <a:bodyPr/>
          <a:lstStyle>
            <a:lvl1pPr>
              <a:defRPr sz="2400"/>
            </a:lvl1pPr>
            <a:lvl2pPr>
              <a:defRPr sz="2400"/>
            </a:lvl2pPr>
            <a:lvl3pPr>
              <a:defRPr sz="2000"/>
            </a:lvl3pPr>
            <a:lvl4pPr>
              <a:defRPr sz="2000"/>
            </a:lvl4pPr>
            <a:lvl5pPr>
              <a:defRPr sz="20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grpSp>
        <p:nvGrpSpPr>
          <p:cNvPr id="2" name="Groep 1">
            <a:extLst>
              <a:ext uri="{FF2B5EF4-FFF2-40B4-BE49-F238E27FC236}">
                <a16:creationId xmlns:a16="http://schemas.microsoft.com/office/drawing/2014/main" id="{018001FB-571C-6A33-56FF-18039F4BEED5}"/>
              </a:ext>
            </a:extLst>
          </p:cNvPr>
          <p:cNvGrpSpPr/>
          <p:nvPr userDrawn="1"/>
        </p:nvGrpSpPr>
        <p:grpSpPr>
          <a:xfrm>
            <a:off x="10014482" y="5839298"/>
            <a:ext cx="1599388" cy="433809"/>
            <a:chOff x="3101010" y="1249096"/>
            <a:chExt cx="3978412" cy="1079079"/>
          </a:xfrm>
          <a:solidFill>
            <a:schemeClr val="tx2"/>
          </a:solidFill>
        </p:grpSpPr>
        <p:sp>
          <p:nvSpPr>
            <p:cNvPr id="3" name="Vrije vorm 2">
              <a:extLst>
                <a:ext uri="{FF2B5EF4-FFF2-40B4-BE49-F238E27FC236}">
                  <a16:creationId xmlns:a16="http://schemas.microsoft.com/office/drawing/2014/main" id="{1ADAB990-D70B-E487-DD39-8EB662AE4404}"/>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C4E674C4-35EC-E32B-DD16-74F8DC88DF99}"/>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ED7E33C9-0AFC-FF2A-6FBE-28BBAE9C1B48}"/>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477420AF-B501-F4F3-7742-CC2B9F623723}"/>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A5E05816-C418-A13A-B6AD-9819B2EF549F}"/>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2BD69AEB-BEA7-A196-6DA1-F04E29096F04}"/>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1EB77E87-104F-570F-31FD-5B93BFB4193D}"/>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3D09D907-2713-DD02-A018-C75B7E1E6B68}"/>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4820482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kst / 2 kolommen">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11" name="Text Placeholder 13">
            <a:extLst>
              <a:ext uri="{FF2B5EF4-FFF2-40B4-BE49-F238E27FC236}">
                <a16:creationId xmlns:a16="http://schemas.microsoft.com/office/drawing/2014/main" id="{671406B8-42F0-6CED-3C85-BD33A019A204}"/>
              </a:ext>
            </a:extLst>
          </p:cNvPr>
          <p:cNvSpPr>
            <a:spLocks noGrp="1"/>
          </p:cNvSpPr>
          <p:nvPr>
            <p:ph type="body" sz="quarter" idx="16"/>
          </p:nvPr>
        </p:nvSpPr>
        <p:spPr>
          <a:xfrm>
            <a:off x="1139125" y="2005200"/>
            <a:ext cx="4545423" cy="3848185"/>
          </a:xfrm>
        </p:spPr>
        <p:txBody>
          <a:bodyPr/>
          <a:lstStyle>
            <a:lvl1pPr>
              <a:defRPr sz="2400"/>
            </a:lvl1pPr>
            <a:lvl2pPr>
              <a:defRPr sz="2400"/>
            </a:lvl2pPr>
            <a:lvl3pPr>
              <a:defRPr sz="2000"/>
            </a:lvl3pPr>
            <a:lvl4pPr>
              <a:defRPr sz="1800"/>
            </a:lvl4pPr>
            <a:lvl5pPr>
              <a:defRPr sz="1800"/>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7" name="Text Placeholder 13">
            <a:extLst>
              <a:ext uri="{FF2B5EF4-FFF2-40B4-BE49-F238E27FC236}">
                <a16:creationId xmlns:a16="http://schemas.microsoft.com/office/drawing/2014/main" id="{9FB715D7-6B7C-D117-C555-DAAFB48A25CD}"/>
              </a:ext>
            </a:extLst>
          </p:cNvPr>
          <p:cNvSpPr>
            <a:spLocks noGrp="1"/>
          </p:cNvSpPr>
          <p:nvPr>
            <p:ph type="body" sz="quarter" idx="17"/>
          </p:nvPr>
        </p:nvSpPr>
        <p:spPr>
          <a:xfrm>
            <a:off x="6501384" y="2005200"/>
            <a:ext cx="4545424" cy="3848185"/>
          </a:xfrm>
        </p:spPr>
        <p:txBody>
          <a:bodyPr/>
          <a:lstStyle>
            <a:lvl1pPr>
              <a:defRPr sz="2400"/>
            </a:lvl1pPr>
            <a:lvl2pPr>
              <a:defRPr sz="2400"/>
            </a:lvl2pPr>
            <a:lvl3pPr>
              <a:defRPr sz="20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grpSp>
        <p:nvGrpSpPr>
          <p:cNvPr id="2" name="Groep 1">
            <a:extLst>
              <a:ext uri="{FF2B5EF4-FFF2-40B4-BE49-F238E27FC236}">
                <a16:creationId xmlns:a16="http://schemas.microsoft.com/office/drawing/2014/main" id="{404A00FE-4243-DEF1-7212-14DD17D14411}"/>
              </a:ext>
            </a:extLst>
          </p:cNvPr>
          <p:cNvGrpSpPr/>
          <p:nvPr userDrawn="1"/>
        </p:nvGrpSpPr>
        <p:grpSpPr>
          <a:xfrm>
            <a:off x="10014482" y="5839298"/>
            <a:ext cx="1599388" cy="433809"/>
            <a:chOff x="3101010" y="1249096"/>
            <a:chExt cx="3978412" cy="1079079"/>
          </a:xfrm>
          <a:solidFill>
            <a:schemeClr val="tx2"/>
          </a:solidFill>
        </p:grpSpPr>
        <p:sp>
          <p:nvSpPr>
            <p:cNvPr id="3" name="Vrije vorm 2">
              <a:extLst>
                <a:ext uri="{FF2B5EF4-FFF2-40B4-BE49-F238E27FC236}">
                  <a16:creationId xmlns:a16="http://schemas.microsoft.com/office/drawing/2014/main" id="{5A21C78F-055A-4422-7B2D-A808C9057046}"/>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BB3EDE27-A728-E00C-82D1-43EC9BB86B80}"/>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5F7174E5-C106-C1CE-C2F3-A19FD33835F1}"/>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63C14F53-C273-E8E5-BC8D-298C7718416C}"/>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920F0599-8BA0-72BB-CAF0-E367359C65C8}"/>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130C314C-706B-C986-D9C6-1641EDB6CD9C}"/>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32E2205F-A0F8-61C6-56D6-E8A13CF740BC}"/>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E8290881-E435-DAC5-5674-280C9266BD28}"/>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401730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kst / Beeld 1/2">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F074158-219E-B689-9936-B3A15631E122}"/>
              </a:ext>
            </a:extLst>
          </p:cNvPr>
          <p:cNvSpPr/>
          <p:nvPr userDrawn="1"/>
        </p:nvSpPr>
        <p:spPr>
          <a:xfrm>
            <a:off x="0" y="0"/>
            <a:ext cx="6244557"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p>
        </p:txBody>
      </p:sp>
      <p:sp>
        <p:nvSpPr>
          <p:cNvPr id="3" name="Title 2">
            <a:extLst>
              <a:ext uri="{FF2B5EF4-FFF2-40B4-BE49-F238E27FC236}">
                <a16:creationId xmlns:a16="http://schemas.microsoft.com/office/drawing/2014/main" id="{18FB2C3B-2209-70F3-09D5-52F99CBE3D5C}"/>
              </a:ext>
            </a:extLst>
          </p:cNvPr>
          <p:cNvSpPr>
            <a:spLocks noGrp="1"/>
          </p:cNvSpPr>
          <p:nvPr>
            <p:ph type="title"/>
          </p:nvPr>
        </p:nvSpPr>
        <p:spPr>
          <a:xfrm>
            <a:off x="1139124" y="595590"/>
            <a:ext cx="4550476" cy="1000736"/>
          </a:xfrm>
        </p:spPr>
        <p:txBody>
          <a:bodyPr/>
          <a:lstStyle>
            <a:lvl1pPr>
              <a:defRPr>
                <a:solidFill>
                  <a:schemeClr val="accent1"/>
                </a:solidFill>
              </a:defRPr>
            </a:lvl1pPr>
          </a:lstStyle>
          <a:p>
            <a:r>
              <a:rPr lang="nl-NL" dirty="0"/>
              <a:t>Klik om stijl te bewerken</a:t>
            </a:r>
            <a:endParaRPr lang="en-US" dirty="0"/>
          </a:p>
        </p:txBody>
      </p:sp>
      <p:sp>
        <p:nvSpPr>
          <p:cNvPr id="15" name="Tijdelijke aanduiding voor afbeelding 14">
            <a:extLst>
              <a:ext uri="{FF2B5EF4-FFF2-40B4-BE49-F238E27FC236}">
                <a16:creationId xmlns:a16="http://schemas.microsoft.com/office/drawing/2014/main" id="{C15A5C28-50F1-62AA-8A14-8AE7DA608F41}"/>
              </a:ext>
            </a:extLst>
          </p:cNvPr>
          <p:cNvSpPr>
            <a:spLocks noGrp="1"/>
          </p:cNvSpPr>
          <p:nvPr>
            <p:ph type="pic" sz="quarter" idx="19"/>
          </p:nvPr>
        </p:nvSpPr>
        <p:spPr>
          <a:xfrm>
            <a:off x="6244558" y="3"/>
            <a:ext cx="5947441" cy="6857998"/>
          </a:xfrm>
          <a:custGeom>
            <a:avLst/>
            <a:gdLst>
              <a:gd name="connsiteX0" fmla="*/ 4676089 w 5947441"/>
              <a:gd name="connsiteY0" fmla="*/ 6207232 h 6857998"/>
              <a:gd name="connsiteX1" fmla="*/ 4695295 w 5947441"/>
              <a:gd name="connsiteY1" fmla="*/ 6227979 h 6857998"/>
              <a:gd name="connsiteX2" fmla="*/ 4676089 w 5947441"/>
              <a:gd name="connsiteY2" fmla="*/ 6248726 h 6857998"/>
              <a:gd name="connsiteX3" fmla="*/ 4656884 w 5947441"/>
              <a:gd name="connsiteY3" fmla="*/ 6227979 h 6857998"/>
              <a:gd name="connsiteX4" fmla="*/ 4676089 w 5947441"/>
              <a:gd name="connsiteY4" fmla="*/ 6207232 h 6857998"/>
              <a:gd name="connsiteX5" fmla="*/ 5109116 w 5947441"/>
              <a:gd name="connsiteY5" fmla="*/ 6206540 h 6857998"/>
              <a:gd name="connsiteX6" fmla="*/ 5128838 w 5947441"/>
              <a:gd name="connsiteY6" fmla="*/ 6227979 h 6857998"/>
              <a:gd name="connsiteX7" fmla="*/ 5109116 w 5947441"/>
              <a:gd name="connsiteY7" fmla="*/ 6249419 h 6857998"/>
              <a:gd name="connsiteX8" fmla="*/ 5089392 w 5947441"/>
              <a:gd name="connsiteY8" fmla="*/ 6227979 h 6857998"/>
              <a:gd name="connsiteX9" fmla="*/ 5109116 w 5947441"/>
              <a:gd name="connsiteY9" fmla="*/ 6206540 h 6857998"/>
              <a:gd name="connsiteX10" fmla="*/ 4405345 w 5947441"/>
              <a:gd name="connsiteY10" fmla="*/ 6206540 h 6857998"/>
              <a:gd name="connsiteX11" fmla="*/ 4425068 w 5947441"/>
              <a:gd name="connsiteY11" fmla="*/ 6227979 h 6857998"/>
              <a:gd name="connsiteX12" fmla="*/ 4405345 w 5947441"/>
              <a:gd name="connsiteY12" fmla="*/ 6249419 h 6857998"/>
              <a:gd name="connsiteX13" fmla="*/ 4385621 w 5947441"/>
              <a:gd name="connsiteY13" fmla="*/ 6227979 h 6857998"/>
              <a:gd name="connsiteX14" fmla="*/ 4405345 w 5947441"/>
              <a:gd name="connsiteY14" fmla="*/ 6206540 h 6857998"/>
              <a:gd name="connsiteX15" fmla="*/ 5008256 w 5947441"/>
              <a:gd name="connsiteY15" fmla="*/ 6204119 h 6857998"/>
              <a:gd name="connsiteX16" fmla="*/ 5026076 w 5947441"/>
              <a:gd name="connsiteY16" fmla="*/ 6217087 h 6857998"/>
              <a:gd name="connsiteX17" fmla="*/ 4989397 w 5947441"/>
              <a:gd name="connsiteY17" fmla="*/ 6217087 h 6857998"/>
              <a:gd name="connsiteX18" fmla="*/ 5008256 w 5947441"/>
              <a:gd name="connsiteY18" fmla="*/ 6204119 h 6857998"/>
              <a:gd name="connsiteX19" fmla="*/ 4304485 w 5947441"/>
              <a:gd name="connsiteY19" fmla="*/ 6204119 h 6857998"/>
              <a:gd name="connsiteX20" fmla="*/ 4322305 w 5947441"/>
              <a:gd name="connsiteY20" fmla="*/ 6217087 h 6857998"/>
              <a:gd name="connsiteX21" fmla="*/ 4285626 w 5947441"/>
              <a:gd name="connsiteY21" fmla="*/ 6217087 h 6857998"/>
              <a:gd name="connsiteX22" fmla="*/ 4304485 w 5947441"/>
              <a:gd name="connsiteY22" fmla="*/ 6204119 h 6857998"/>
              <a:gd name="connsiteX23" fmla="*/ 4470561 w 5947441"/>
              <a:gd name="connsiteY23" fmla="*/ 6184755 h 6857998"/>
              <a:gd name="connsiteX24" fmla="*/ 4470561 w 5947441"/>
              <a:gd name="connsiteY24" fmla="*/ 6271204 h 6857998"/>
              <a:gd name="connsiteX25" fmla="*/ 4496688 w 5947441"/>
              <a:gd name="connsiteY25" fmla="*/ 6271204 h 6857998"/>
              <a:gd name="connsiteX26" fmla="*/ 4496688 w 5947441"/>
              <a:gd name="connsiteY26" fmla="*/ 6207405 h 6857998"/>
              <a:gd name="connsiteX27" fmla="*/ 4525754 w 5947441"/>
              <a:gd name="connsiteY27" fmla="*/ 6207405 h 6857998"/>
              <a:gd name="connsiteX28" fmla="*/ 4525754 w 5947441"/>
              <a:gd name="connsiteY28" fmla="*/ 6184755 h 6857998"/>
              <a:gd name="connsiteX29" fmla="*/ 5103232 w 5947441"/>
              <a:gd name="connsiteY29" fmla="*/ 6182853 h 6857998"/>
              <a:gd name="connsiteX30" fmla="*/ 5063093 w 5947441"/>
              <a:gd name="connsiteY30" fmla="*/ 6227979 h 6857998"/>
              <a:gd name="connsiteX31" fmla="*/ 5103232 w 5947441"/>
              <a:gd name="connsiteY31" fmla="*/ 6273104 h 6857998"/>
              <a:gd name="connsiteX32" fmla="*/ 5126764 w 5947441"/>
              <a:gd name="connsiteY32" fmla="*/ 6262559 h 6857998"/>
              <a:gd name="connsiteX33" fmla="*/ 5126764 w 5947441"/>
              <a:gd name="connsiteY33" fmla="*/ 6271204 h 6857998"/>
              <a:gd name="connsiteX34" fmla="*/ 5152889 w 5947441"/>
              <a:gd name="connsiteY34" fmla="*/ 6271204 h 6857998"/>
              <a:gd name="connsiteX35" fmla="*/ 5152889 w 5947441"/>
              <a:gd name="connsiteY35" fmla="*/ 6184755 h 6857998"/>
              <a:gd name="connsiteX36" fmla="*/ 5126764 w 5947441"/>
              <a:gd name="connsiteY36" fmla="*/ 6184755 h 6857998"/>
              <a:gd name="connsiteX37" fmla="*/ 5126764 w 5947441"/>
              <a:gd name="connsiteY37" fmla="*/ 6193400 h 6857998"/>
              <a:gd name="connsiteX38" fmla="*/ 5103232 w 5947441"/>
              <a:gd name="connsiteY38" fmla="*/ 6182853 h 6857998"/>
              <a:gd name="connsiteX39" fmla="*/ 5008948 w 5947441"/>
              <a:gd name="connsiteY39" fmla="*/ 6182853 h 6857998"/>
              <a:gd name="connsiteX40" fmla="*/ 4963445 w 5947441"/>
              <a:gd name="connsiteY40" fmla="*/ 6227979 h 6857998"/>
              <a:gd name="connsiteX41" fmla="*/ 5009467 w 5947441"/>
              <a:gd name="connsiteY41" fmla="*/ 6273104 h 6857998"/>
              <a:gd name="connsiteX42" fmla="*/ 5050126 w 5947441"/>
              <a:gd name="connsiteY42" fmla="*/ 6254087 h 6857998"/>
              <a:gd name="connsiteX43" fmla="*/ 5030748 w 5947441"/>
              <a:gd name="connsiteY43" fmla="*/ 6239564 h 6857998"/>
              <a:gd name="connsiteX44" fmla="*/ 5009813 w 5947441"/>
              <a:gd name="connsiteY44" fmla="*/ 6249419 h 6857998"/>
              <a:gd name="connsiteX45" fmla="*/ 4988705 w 5947441"/>
              <a:gd name="connsiteY45" fmla="*/ 6234204 h 6857998"/>
              <a:gd name="connsiteX46" fmla="*/ 5051510 w 5947441"/>
              <a:gd name="connsiteY46" fmla="*/ 6234204 h 6857998"/>
              <a:gd name="connsiteX47" fmla="*/ 5052029 w 5947441"/>
              <a:gd name="connsiteY47" fmla="*/ 6225041 h 6857998"/>
              <a:gd name="connsiteX48" fmla="*/ 5008948 w 5947441"/>
              <a:gd name="connsiteY48" fmla="*/ 6182853 h 6857998"/>
              <a:gd name="connsiteX49" fmla="*/ 4676089 w 5947441"/>
              <a:gd name="connsiteY49" fmla="*/ 6182853 h 6857998"/>
              <a:gd name="connsiteX50" fmla="*/ 4630587 w 5947441"/>
              <a:gd name="connsiteY50" fmla="*/ 6227979 h 6857998"/>
              <a:gd name="connsiteX51" fmla="*/ 4676089 w 5947441"/>
              <a:gd name="connsiteY51" fmla="*/ 6273104 h 6857998"/>
              <a:gd name="connsiteX52" fmla="*/ 4721592 w 5947441"/>
              <a:gd name="connsiteY52" fmla="*/ 6227979 h 6857998"/>
              <a:gd name="connsiteX53" fmla="*/ 4676089 w 5947441"/>
              <a:gd name="connsiteY53" fmla="*/ 6182853 h 6857998"/>
              <a:gd name="connsiteX54" fmla="*/ 4399461 w 5947441"/>
              <a:gd name="connsiteY54" fmla="*/ 6182853 h 6857998"/>
              <a:gd name="connsiteX55" fmla="*/ 4359322 w 5947441"/>
              <a:gd name="connsiteY55" fmla="*/ 6227979 h 6857998"/>
              <a:gd name="connsiteX56" fmla="*/ 4399461 w 5947441"/>
              <a:gd name="connsiteY56" fmla="*/ 6273104 h 6857998"/>
              <a:gd name="connsiteX57" fmla="*/ 4422991 w 5947441"/>
              <a:gd name="connsiteY57" fmla="*/ 6262559 h 6857998"/>
              <a:gd name="connsiteX58" fmla="*/ 4422991 w 5947441"/>
              <a:gd name="connsiteY58" fmla="*/ 6271204 h 6857998"/>
              <a:gd name="connsiteX59" fmla="*/ 4449118 w 5947441"/>
              <a:gd name="connsiteY59" fmla="*/ 6271204 h 6857998"/>
              <a:gd name="connsiteX60" fmla="*/ 4449118 w 5947441"/>
              <a:gd name="connsiteY60" fmla="*/ 6184755 h 6857998"/>
              <a:gd name="connsiteX61" fmla="*/ 4422991 w 5947441"/>
              <a:gd name="connsiteY61" fmla="*/ 6184755 h 6857998"/>
              <a:gd name="connsiteX62" fmla="*/ 4422991 w 5947441"/>
              <a:gd name="connsiteY62" fmla="*/ 6193400 h 6857998"/>
              <a:gd name="connsiteX63" fmla="*/ 4399461 w 5947441"/>
              <a:gd name="connsiteY63" fmla="*/ 6182853 h 6857998"/>
              <a:gd name="connsiteX64" fmla="*/ 4305177 w 5947441"/>
              <a:gd name="connsiteY64" fmla="*/ 6182853 h 6857998"/>
              <a:gd name="connsiteX65" fmla="*/ 4259674 w 5947441"/>
              <a:gd name="connsiteY65" fmla="*/ 6227979 h 6857998"/>
              <a:gd name="connsiteX66" fmla="*/ 4305696 w 5947441"/>
              <a:gd name="connsiteY66" fmla="*/ 6273104 h 6857998"/>
              <a:gd name="connsiteX67" fmla="*/ 4346353 w 5947441"/>
              <a:gd name="connsiteY67" fmla="*/ 6254087 h 6857998"/>
              <a:gd name="connsiteX68" fmla="*/ 4326977 w 5947441"/>
              <a:gd name="connsiteY68" fmla="*/ 6239564 h 6857998"/>
              <a:gd name="connsiteX69" fmla="*/ 4306042 w 5947441"/>
              <a:gd name="connsiteY69" fmla="*/ 6249419 h 6857998"/>
              <a:gd name="connsiteX70" fmla="*/ 4284934 w 5947441"/>
              <a:gd name="connsiteY70" fmla="*/ 6234204 h 6857998"/>
              <a:gd name="connsiteX71" fmla="*/ 4347739 w 5947441"/>
              <a:gd name="connsiteY71" fmla="*/ 6234204 h 6857998"/>
              <a:gd name="connsiteX72" fmla="*/ 4348258 w 5947441"/>
              <a:gd name="connsiteY72" fmla="*/ 6225041 h 6857998"/>
              <a:gd name="connsiteX73" fmla="*/ 4305177 w 5947441"/>
              <a:gd name="connsiteY73" fmla="*/ 6182853 h 6857998"/>
              <a:gd name="connsiteX74" fmla="*/ 5248035 w 5947441"/>
              <a:gd name="connsiteY74" fmla="*/ 6157264 h 6857998"/>
              <a:gd name="connsiteX75" fmla="*/ 5221908 w 5947441"/>
              <a:gd name="connsiteY75" fmla="*/ 6184755 h 6857998"/>
              <a:gd name="connsiteX76" fmla="*/ 5221908 w 5947441"/>
              <a:gd name="connsiteY76" fmla="*/ 6271204 h 6857998"/>
              <a:gd name="connsiteX77" fmla="*/ 5248035 w 5947441"/>
              <a:gd name="connsiteY77" fmla="*/ 6271204 h 6857998"/>
              <a:gd name="connsiteX78" fmla="*/ 5248035 w 5947441"/>
              <a:gd name="connsiteY78" fmla="*/ 6207405 h 6857998"/>
              <a:gd name="connsiteX79" fmla="*/ 5272256 w 5947441"/>
              <a:gd name="connsiteY79" fmla="*/ 6207405 h 6857998"/>
              <a:gd name="connsiteX80" fmla="*/ 5272256 w 5947441"/>
              <a:gd name="connsiteY80" fmla="*/ 6184755 h 6857998"/>
              <a:gd name="connsiteX81" fmla="*/ 5248035 w 5947441"/>
              <a:gd name="connsiteY81" fmla="*/ 6184755 h 6857998"/>
              <a:gd name="connsiteX82" fmla="*/ 4566234 w 5947441"/>
              <a:gd name="connsiteY82" fmla="*/ 6157264 h 6857998"/>
              <a:gd name="connsiteX83" fmla="*/ 4540108 w 5947441"/>
              <a:gd name="connsiteY83" fmla="*/ 6184755 h 6857998"/>
              <a:gd name="connsiteX84" fmla="*/ 4540108 w 5947441"/>
              <a:gd name="connsiteY84" fmla="*/ 6271204 h 6857998"/>
              <a:gd name="connsiteX85" fmla="*/ 4566234 w 5947441"/>
              <a:gd name="connsiteY85" fmla="*/ 6271204 h 6857998"/>
              <a:gd name="connsiteX86" fmla="*/ 4566234 w 5947441"/>
              <a:gd name="connsiteY86" fmla="*/ 6207405 h 6857998"/>
              <a:gd name="connsiteX87" fmla="*/ 4590455 w 5947441"/>
              <a:gd name="connsiteY87" fmla="*/ 6207405 h 6857998"/>
              <a:gd name="connsiteX88" fmla="*/ 4590455 w 5947441"/>
              <a:gd name="connsiteY88" fmla="*/ 6184755 h 6857998"/>
              <a:gd name="connsiteX89" fmla="*/ 4566234 w 5947441"/>
              <a:gd name="connsiteY89" fmla="*/ 6184755 h 6857998"/>
              <a:gd name="connsiteX90" fmla="*/ 4843725 w 5947441"/>
              <a:gd name="connsiteY90" fmla="*/ 6148448 h 6857998"/>
              <a:gd name="connsiteX91" fmla="*/ 4843725 w 5947441"/>
              <a:gd name="connsiteY91" fmla="*/ 6271204 h 6857998"/>
              <a:gd name="connsiteX92" fmla="*/ 4871235 w 5947441"/>
              <a:gd name="connsiteY92" fmla="*/ 6271204 h 6857998"/>
              <a:gd name="connsiteX93" fmla="*/ 4871235 w 5947441"/>
              <a:gd name="connsiteY93" fmla="*/ 6222620 h 6857998"/>
              <a:gd name="connsiteX94" fmla="*/ 4920717 w 5947441"/>
              <a:gd name="connsiteY94" fmla="*/ 6222620 h 6857998"/>
              <a:gd name="connsiteX95" fmla="*/ 4920717 w 5947441"/>
              <a:gd name="connsiteY95" fmla="*/ 6271204 h 6857998"/>
              <a:gd name="connsiteX96" fmla="*/ 4948226 w 5947441"/>
              <a:gd name="connsiteY96" fmla="*/ 6271204 h 6857998"/>
              <a:gd name="connsiteX97" fmla="*/ 4948226 w 5947441"/>
              <a:gd name="connsiteY97" fmla="*/ 6148448 h 6857998"/>
              <a:gd name="connsiteX98" fmla="*/ 4920717 w 5947441"/>
              <a:gd name="connsiteY98" fmla="*/ 6148448 h 6857998"/>
              <a:gd name="connsiteX99" fmla="*/ 4920717 w 5947441"/>
              <a:gd name="connsiteY99" fmla="*/ 6196512 h 6857998"/>
              <a:gd name="connsiteX100" fmla="*/ 4871235 w 5947441"/>
              <a:gd name="connsiteY100" fmla="*/ 6196512 h 6857998"/>
              <a:gd name="connsiteX101" fmla="*/ 4871235 w 5947441"/>
              <a:gd name="connsiteY101" fmla="*/ 6148448 h 6857998"/>
              <a:gd name="connsiteX102" fmla="*/ 4139954 w 5947441"/>
              <a:gd name="connsiteY102" fmla="*/ 6148448 h 6857998"/>
              <a:gd name="connsiteX103" fmla="*/ 4139954 w 5947441"/>
              <a:gd name="connsiteY103" fmla="*/ 6232862 h 6857998"/>
              <a:gd name="connsiteX104" fmla="*/ 4167462 w 5947441"/>
              <a:gd name="connsiteY104" fmla="*/ 6260352 h 6857998"/>
              <a:gd name="connsiteX105" fmla="*/ 4167462 w 5947441"/>
              <a:gd name="connsiteY105" fmla="*/ 6222620 h 6857998"/>
              <a:gd name="connsiteX106" fmla="*/ 4216946 w 5947441"/>
              <a:gd name="connsiteY106" fmla="*/ 6222620 h 6857998"/>
              <a:gd name="connsiteX107" fmla="*/ 4216946 w 5947441"/>
              <a:gd name="connsiteY107" fmla="*/ 6271204 h 6857998"/>
              <a:gd name="connsiteX108" fmla="*/ 4244455 w 5947441"/>
              <a:gd name="connsiteY108" fmla="*/ 6271204 h 6857998"/>
              <a:gd name="connsiteX109" fmla="*/ 4244455 w 5947441"/>
              <a:gd name="connsiteY109" fmla="*/ 6148448 h 6857998"/>
              <a:gd name="connsiteX110" fmla="*/ 4216946 w 5947441"/>
              <a:gd name="connsiteY110" fmla="*/ 6148448 h 6857998"/>
              <a:gd name="connsiteX111" fmla="*/ 4216946 w 5947441"/>
              <a:gd name="connsiteY111" fmla="*/ 6196512 h 6857998"/>
              <a:gd name="connsiteX112" fmla="*/ 4167462 w 5947441"/>
              <a:gd name="connsiteY112" fmla="*/ 6196512 h 6857998"/>
              <a:gd name="connsiteX113" fmla="*/ 4167462 w 5947441"/>
              <a:gd name="connsiteY113" fmla="*/ 6148448 h 6857998"/>
              <a:gd name="connsiteX114" fmla="*/ 5285572 w 5947441"/>
              <a:gd name="connsiteY114" fmla="*/ 6141531 h 6857998"/>
              <a:gd name="connsiteX115" fmla="*/ 5285572 w 5947441"/>
              <a:gd name="connsiteY115" fmla="*/ 6271204 h 6857998"/>
              <a:gd name="connsiteX116" fmla="*/ 5311699 w 5947441"/>
              <a:gd name="connsiteY116" fmla="*/ 6271204 h 6857998"/>
              <a:gd name="connsiteX117" fmla="*/ 5311699 w 5947441"/>
              <a:gd name="connsiteY117" fmla="*/ 6229189 h 6857998"/>
              <a:gd name="connsiteX118" fmla="*/ 5329173 w 5947441"/>
              <a:gd name="connsiteY118" fmla="*/ 6206540 h 6857998"/>
              <a:gd name="connsiteX119" fmla="*/ 5343186 w 5947441"/>
              <a:gd name="connsiteY119" fmla="*/ 6225731 h 6857998"/>
              <a:gd name="connsiteX120" fmla="*/ 5343186 w 5947441"/>
              <a:gd name="connsiteY120" fmla="*/ 6271204 h 6857998"/>
              <a:gd name="connsiteX121" fmla="*/ 5369312 w 5947441"/>
              <a:gd name="connsiteY121" fmla="*/ 6271204 h 6857998"/>
              <a:gd name="connsiteX122" fmla="*/ 5369312 w 5947441"/>
              <a:gd name="connsiteY122" fmla="*/ 6221237 h 6857998"/>
              <a:gd name="connsiteX123" fmla="*/ 5335747 w 5947441"/>
              <a:gd name="connsiteY123" fmla="*/ 6182853 h 6857998"/>
              <a:gd name="connsiteX124" fmla="*/ 5311699 w 5947441"/>
              <a:gd name="connsiteY124" fmla="*/ 6193574 h 6857998"/>
              <a:gd name="connsiteX125" fmla="*/ 5311699 w 5947441"/>
              <a:gd name="connsiteY125" fmla="*/ 6141531 h 6857998"/>
              <a:gd name="connsiteX126" fmla="*/ 5174334 w 5947441"/>
              <a:gd name="connsiteY126" fmla="*/ 6141531 h 6857998"/>
              <a:gd name="connsiteX127" fmla="*/ 5174334 w 5947441"/>
              <a:gd name="connsiteY127" fmla="*/ 6271204 h 6857998"/>
              <a:gd name="connsiteX128" fmla="*/ 5200460 w 5947441"/>
              <a:gd name="connsiteY128" fmla="*/ 6271204 h 6857998"/>
              <a:gd name="connsiteX129" fmla="*/ 5200460 w 5947441"/>
              <a:gd name="connsiteY129" fmla="*/ 6141531 h 6857998"/>
              <a:gd name="connsiteX130" fmla="*/ 4780585 w 5947441"/>
              <a:gd name="connsiteY130" fmla="*/ 6140494 h 6857998"/>
              <a:gd name="connsiteX131" fmla="*/ 4745808 w 5947441"/>
              <a:gd name="connsiteY131" fmla="*/ 6175247 h 6857998"/>
              <a:gd name="connsiteX132" fmla="*/ 4745808 w 5947441"/>
              <a:gd name="connsiteY132" fmla="*/ 6184755 h 6857998"/>
              <a:gd name="connsiteX133" fmla="*/ 4728508 w 5947441"/>
              <a:gd name="connsiteY133" fmla="*/ 6184755 h 6857998"/>
              <a:gd name="connsiteX134" fmla="*/ 4728508 w 5947441"/>
              <a:gd name="connsiteY134" fmla="*/ 6207405 h 6857998"/>
              <a:gd name="connsiteX135" fmla="*/ 4745808 w 5947441"/>
              <a:gd name="connsiteY135" fmla="*/ 6207405 h 6857998"/>
              <a:gd name="connsiteX136" fmla="*/ 4745808 w 5947441"/>
              <a:gd name="connsiteY136" fmla="*/ 6271204 h 6857998"/>
              <a:gd name="connsiteX137" fmla="*/ 4771934 w 5947441"/>
              <a:gd name="connsiteY137" fmla="*/ 6271204 h 6857998"/>
              <a:gd name="connsiteX138" fmla="*/ 4771934 w 5947441"/>
              <a:gd name="connsiteY138" fmla="*/ 6207405 h 6857998"/>
              <a:gd name="connsiteX139" fmla="*/ 4796157 w 5947441"/>
              <a:gd name="connsiteY139" fmla="*/ 6207405 h 6857998"/>
              <a:gd name="connsiteX140" fmla="*/ 4796157 w 5947441"/>
              <a:gd name="connsiteY140" fmla="*/ 6184755 h 6857998"/>
              <a:gd name="connsiteX141" fmla="*/ 4771934 w 5947441"/>
              <a:gd name="connsiteY141" fmla="*/ 6184755 h 6857998"/>
              <a:gd name="connsiteX142" fmla="*/ 4771934 w 5947441"/>
              <a:gd name="connsiteY142" fmla="*/ 6178531 h 6857998"/>
              <a:gd name="connsiteX143" fmla="*/ 4786814 w 5947441"/>
              <a:gd name="connsiteY143" fmla="*/ 6163835 h 6857998"/>
              <a:gd name="connsiteX144" fmla="*/ 4796157 w 5947441"/>
              <a:gd name="connsiteY144" fmla="*/ 6165390 h 6857998"/>
              <a:gd name="connsiteX145" fmla="*/ 4796157 w 5947441"/>
              <a:gd name="connsiteY145" fmla="*/ 6142395 h 6857998"/>
              <a:gd name="connsiteX146" fmla="*/ 4780585 w 5947441"/>
              <a:gd name="connsiteY146" fmla="*/ 6140494 h 6857998"/>
              <a:gd name="connsiteX147" fmla="*/ 4314342 w 5947441"/>
              <a:gd name="connsiteY147" fmla="*/ 5948845 h 6857998"/>
              <a:gd name="connsiteX148" fmla="*/ 4353322 w 5947441"/>
              <a:gd name="connsiteY148" fmla="*/ 5975334 h 6857998"/>
              <a:gd name="connsiteX149" fmla="*/ 4273784 w 5947441"/>
              <a:gd name="connsiteY149" fmla="*/ 5975334 h 6857998"/>
              <a:gd name="connsiteX150" fmla="*/ 4314342 w 5947441"/>
              <a:gd name="connsiteY150" fmla="*/ 5948845 h 6857998"/>
              <a:gd name="connsiteX151" fmla="*/ 4314018 w 5947441"/>
              <a:gd name="connsiteY151" fmla="*/ 5896018 h 6857998"/>
              <a:gd name="connsiteX152" fmla="*/ 4213801 w 5947441"/>
              <a:gd name="connsiteY152" fmla="*/ 5997928 h 6857998"/>
              <a:gd name="connsiteX153" fmla="*/ 4314342 w 5947441"/>
              <a:gd name="connsiteY153" fmla="*/ 6098568 h 6857998"/>
              <a:gd name="connsiteX154" fmla="*/ 4390755 w 5947441"/>
              <a:gd name="connsiteY154" fmla="*/ 6069221 h 6857998"/>
              <a:gd name="connsiteX155" fmla="*/ 4353830 w 5947441"/>
              <a:gd name="connsiteY155" fmla="*/ 6032391 h 6857998"/>
              <a:gd name="connsiteX156" fmla="*/ 4316581 w 5947441"/>
              <a:gd name="connsiteY156" fmla="*/ 6045670 h 6857998"/>
              <a:gd name="connsiteX157" fmla="*/ 4281813 w 5947441"/>
              <a:gd name="connsiteY157" fmla="*/ 6030954 h 6857998"/>
              <a:gd name="connsiteX158" fmla="*/ 4276855 w 5947441"/>
              <a:gd name="connsiteY158" fmla="*/ 6024995 h 6857998"/>
              <a:gd name="connsiteX159" fmla="*/ 4275790 w 5947441"/>
              <a:gd name="connsiteY159" fmla="*/ 6023401 h 6857998"/>
              <a:gd name="connsiteX160" fmla="*/ 4275769 w 5947441"/>
              <a:gd name="connsiteY160" fmla="*/ 6023401 h 6857998"/>
              <a:gd name="connsiteX161" fmla="*/ 4271627 w 5947441"/>
              <a:gd name="connsiteY161" fmla="*/ 6015789 h 6857998"/>
              <a:gd name="connsiteX162" fmla="*/ 4410369 w 5947441"/>
              <a:gd name="connsiteY162" fmla="*/ 6015789 h 6857998"/>
              <a:gd name="connsiteX163" fmla="*/ 4412656 w 5947441"/>
              <a:gd name="connsiteY163" fmla="*/ 5995059 h 6857998"/>
              <a:gd name="connsiteX164" fmla="*/ 4314018 w 5947441"/>
              <a:gd name="connsiteY164" fmla="*/ 5896018 h 6857998"/>
              <a:gd name="connsiteX165" fmla="*/ 4110956 w 5947441"/>
              <a:gd name="connsiteY165" fmla="*/ 5896007 h 6857998"/>
              <a:gd name="connsiteX166" fmla="*/ 4110956 w 5947441"/>
              <a:gd name="connsiteY166" fmla="*/ 6096898 h 6857998"/>
              <a:gd name="connsiteX167" fmla="*/ 4167419 w 5947441"/>
              <a:gd name="connsiteY167" fmla="*/ 6096898 h 6857998"/>
              <a:gd name="connsiteX168" fmla="*/ 4167419 w 5947441"/>
              <a:gd name="connsiteY168" fmla="*/ 5947559 h 6857998"/>
              <a:gd name="connsiteX169" fmla="*/ 4212811 w 5947441"/>
              <a:gd name="connsiteY169" fmla="*/ 5947559 h 6857998"/>
              <a:gd name="connsiteX170" fmla="*/ 4212811 w 5947441"/>
              <a:gd name="connsiteY170" fmla="*/ 5896007 h 6857998"/>
              <a:gd name="connsiteX171" fmla="*/ 4529422 w 5947441"/>
              <a:gd name="connsiteY171" fmla="*/ 5895985 h 6857998"/>
              <a:gd name="connsiteX172" fmla="*/ 4528470 w 5947441"/>
              <a:gd name="connsiteY172" fmla="*/ 5896050 h 6857998"/>
              <a:gd name="connsiteX173" fmla="*/ 4428372 w 5947441"/>
              <a:gd name="connsiteY173" fmla="*/ 5996690 h 6857998"/>
              <a:gd name="connsiteX174" fmla="*/ 4529811 w 5947441"/>
              <a:gd name="connsiteY174" fmla="*/ 6098600 h 6857998"/>
              <a:gd name="connsiteX175" fmla="*/ 4609549 w 5947441"/>
              <a:gd name="connsiteY175" fmla="*/ 6061403 h 6857998"/>
              <a:gd name="connsiteX176" fmla="*/ 4613733 w 5947441"/>
              <a:gd name="connsiteY176" fmla="*/ 6056497 h 6857998"/>
              <a:gd name="connsiteX177" fmla="*/ 4577722 w 5947441"/>
              <a:gd name="connsiteY177" fmla="*/ 6020456 h 6857998"/>
              <a:gd name="connsiteX178" fmla="*/ 4572624 w 5947441"/>
              <a:gd name="connsiteY178" fmla="*/ 6025594 h 6857998"/>
              <a:gd name="connsiteX179" fmla="*/ 4530741 w 5947441"/>
              <a:gd name="connsiteY179" fmla="*/ 6045762 h 6857998"/>
              <a:gd name="connsiteX180" fmla="*/ 4484846 w 5947441"/>
              <a:gd name="connsiteY180" fmla="*/ 5997333 h 6857998"/>
              <a:gd name="connsiteX181" fmla="*/ 4529611 w 5947441"/>
              <a:gd name="connsiteY181" fmla="*/ 5948855 h 6857998"/>
              <a:gd name="connsiteX182" fmla="*/ 4530573 w 5947441"/>
              <a:gd name="connsiteY182" fmla="*/ 5948790 h 6857998"/>
              <a:gd name="connsiteX183" fmla="*/ 4572602 w 5947441"/>
              <a:gd name="connsiteY183" fmla="*/ 5968948 h 6857998"/>
              <a:gd name="connsiteX184" fmla="*/ 4577700 w 5947441"/>
              <a:gd name="connsiteY184" fmla="*/ 5974064 h 6857998"/>
              <a:gd name="connsiteX185" fmla="*/ 4613733 w 5947441"/>
              <a:gd name="connsiteY185" fmla="*/ 5938061 h 6857998"/>
              <a:gd name="connsiteX186" fmla="*/ 4609538 w 5947441"/>
              <a:gd name="connsiteY186" fmla="*/ 5933145 h 6857998"/>
              <a:gd name="connsiteX187" fmla="*/ 4529422 w 5947441"/>
              <a:gd name="connsiteY187" fmla="*/ 5895985 h 6857998"/>
              <a:gd name="connsiteX188" fmla="*/ 3912831 w 5947441"/>
              <a:gd name="connsiteY188" fmla="*/ 5863028 h 6857998"/>
              <a:gd name="connsiteX189" fmla="*/ 3912831 w 5947441"/>
              <a:gd name="connsiteY189" fmla="*/ 5990061 h 6857998"/>
              <a:gd name="connsiteX190" fmla="*/ 3911858 w 5947441"/>
              <a:gd name="connsiteY190" fmla="*/ 6004922 h 6857998"/>
              <a:gd name="connsiteX191" fmla="*/ 3911858 w 5947441"/>
              <a:gd name="connsiteY191" fmla="*/ 6004922 h 6857998"/>
              <a:gd name="connsiteX192" fmla="*/ 3911858 w 5947441"/>
              <a:gd name="connsiteY192" fmla="*/ 6004923 h 6857998"/>
              <a:gd name="connsiteX193" fmla="*/ 3769924 w 5947441"/>
              <a:gd name="connsiteY193" fmla="*/ 5863087 h 6857998"/>
              <a:gd name="connsiteX194" fmla="*/ 3769924 w 5947441"/>
              <a:gd name="connsiteY194" fmla="*/ 5990060 h 6857998"/>
              <a:gd name="connsiteX195" fmla="*/ 3787489 w 5947441"/>
              <a:gd name="connsiteY195" fmla="*/ 6058013 h 6857998"/>
              <a:gd name="connsiteX196" fmla="*/ 3871536 w 5947441"/>
              <a:gd name="connsiteY196" fmla="*/ 6098501 h 6857998"/>
              <a:gd name="connsiteX197" fmla="*/ 3955583 w 5947441"/>
              <a:gd name="connsiteY197" fmla="*/ 6058013 h 6857998"/>
              <a:gd name="connsiteX198" fmla="*/ 3959335 w 5947441"/>
              <a:gd name="connsiteY198" fmla="*/ 6052367 h 6857998"/>
              <a:gd name="connsiteX199" fmla="*/ 3959334 w 5947441"/>
              <a:gd name="connsiteY199" fmla="*/ 6052365 h 6857998"/>
              <a:gd name="connsiteX200" fmla="*/ 3959336 w 5947441"/>
              <a:gd name="connsiteY200" fmla="*/ 6052367 h 6857998"/>
              <a:gd name="connsiteX201" fmla="*/ 3973148 w 5947441"/>
              <a:gd name="connsiteY201" fmla="*/ 5990060 h 6857998"/>
              <a:gd name="connsiteX202" fmla="*/ 3973148 w 5947441"/>
              <a:gd name="connsiteY202" fmla="*/ 5863028 h 6857998"/>
              <a:gd name="connsiteX203" fmla="*/ 4056543 w 5947441"/>
              <a:gd name="connsiteY203" fmla="*/ 5839377 h 6857998"/>
              <a:gd name="connsiteX204" fmla="*/ 4000068 w 5947441"/>
              <a:gd name="connsiteY204" fmla="*/ 5896018 h 6857998"/>
              <a:gd name="connsiteX205" fmla="*/ 4000068 w 5947441"/>
              <a:gd name="connsiteY205" fmla="*/ 6096899 h 6857998"/>
              <a:gd name="connsiteX206" fmla="*/ 4056543 w 5947441"/>
              <a:gd name="connsiteY206" fmla="*/ 6096899 h 6857998"/>
              <a:gd name="connsiteX207" fmla="*/ 4056543 w 5947441"/>
              <a:gd name="connsiteY207" fmla="*/ 5947559 h 6857998"/>
              <a:gd name="connsiteX208" fmla="*/ 4093208 w 5947441"/>
              <a:gd name="connsiteY208" fmla="*/ 5947559 h 6857998"/>
              <a:gd name="connsiteX209" fmla="*/ 4093208 w 5947441"/>
              <a:gd name="connsiteY209" fmla="*/ 5896008 h 6857998"/>
              <a:gd name="connsiteX210" fmla="*/ 4056543 w 5947441"/>
              <a:gd name="connsiteY210" fmla="*/ 5896008 h 6857998"/>
              <a:gd name="connsiteX211" fmla="*/ 4690438 w 5947441"/>
              <a:gd name="connsiteY211" fmla="*/ 5839296 h 6857998"/>
              <a:gd name="connsiteX212" fmla="*/ 4633974 w 5947441"/>
              <a:gd name="connsiteY212" fmla="*/ 5896019 h 6857998"/>
              <a:gd name="connsiteX213" fmla="*/ 4633974 w 5947441"/>
              <a:gd name="connsiteY213" fmla="*/ 6096898 h 6857998"/>
              <a:gd name="connsiteX214" fmla="*/ 4690438 w 5947441"/>
              <a:gd name="connsiteY214" fmla="*/ 6096898 h 6857998"/>
              <a:gd name="connsiteX215" fmla="*/ 4690438 w 5947441"/>
              <a:gd name="connsiteY215" fmla="*/ 5996167 h 6857998"/>
              <a:gd name="connsiteX216" fmla="*/ 4719194 w 5947441"/>
              <a:gd name="connsiteY216" fmla="*/ 5948996 h 6857998"/>
              <a:gd name="connsiteX217" fmla="*/ 4748594 w 5947441"/>
              <a:gd name="connsiteY217" fmla="*/ 5995529 h 6857998"/>
              <a:gd name="connsiteX218" fmla="*/ 4748594 w 5947441"/>
              <a:gd name="connsiteY218" fmla="*/ 6096898 h 6857998"/>
              <a:gd name="connsiteX219" fmla="*/ 4805057 w 5947441"/>
              <a:gd name="connsiteY219" fmla="*/ 6096898 h 6857998"/>
              <a:gd name="connsiteX220" fmla="*/ 4805057 w 5947441"/>
              <a:gd name="connsiteY220" fmla="*/ 5986296 h 6857998"/>
              <a:gd name="connsiteX221" fmla="*/ 4789514 w 5947441"/>
              <a:gd name="connsiteY221" fmla="*/ 5925917 h 6857998"/>
              <a:gd name="connsiteX222" fmla="*/ 4729407 w 5947441"/>
              <a:gd name="connsiteY222" fmla="*/ 5896164 h 6857998"/>
              <a:gd name="connsiteX223" fmla="*/ 4690438 w 5947441"/>
              <a:gd name="connsiteY223" fmla="*/ 5907142 h 6857998"/>
              <a:gd name="connsiteX224" fmla="*/ 4889213 w 5947441"/>
              <a:gd name="connsiteY224" fmla="*/ 5839295 h 6857998"/>
              <a:gd name="connsiteX225" fmla="*/ 4832749 w 5947441"/>
              <a:gd name="connsiteY225" fmla="*/ 5896018 h 6857998"/>
              <a:gd name="connsiteX226" fmla="*/ 4832749 w 5947441"/>
              <a:gd name="connsiteY226" fmla="*/ 6096897 h 6857998"/>
              <a:gd name="connsiteX227" fmla="*/ 4889213 w 5947441"/>
              <a:gd name="connsiteY227" fmla="*/ 6096897 h 6857998"/>
              <a:gd name="connsiteX228" fmla="*/ 4889213 w 5947441"/>
              <a:gd name="connsiteY228" fmla="*/ 5947483 h 6857998"/>
              <a:gd name="connsiteX229" fmla="*/ 4925889 w 5947441"/>
              <a:gd name="connsiteY229" fmla="*/ 5947483 h 6857998"/>
              <a:gd name="connsiteX230" fmla="*/ 4925889 w 5947441"/>
              <a:gd name="connsiteY230" fmla="*/ 5895931 h 6857998"/>
              <a:gd name="connsiteX231" fmla="*/ 4889213 w 5947441"/>
              <a:gd name="connsiteY231" fmla="*/ 5895931 h 6857998"/>
              <a:gd name="connsiteX232" fmla="*/ 0 w 5947441"/>
              <a:gd name="connsiteY232" fmla="*/ 0 h 6857998"/>
              <a:gd name="connsiteX233" fmla="*/ 5947441 w 5947441"/>
              <a:gd name="connsiteY233" fmla="*/ 0 h 6857998"/>
              <a:gd name="connsiteX234" fmla="*/ 5947441 w 5947441"/>
              <a:gd name="connsiteY234" fmla="*/ 6857998 h 6857998"/>
              <a:gd name="connsiteX235" fmla="*/ 0 w 5947441"/>
              <a:gd name="connsiteY23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5947441" h="6857998">
                <a:moveTo>
                  <a:pt x="4676089" y="6207232"/>
                </a:moveTo>
                <a:cubicBezTo>
                  <a:pt x="4686990" y="6207232"/>
                  <a:pt x="4695295" y="6215704"/>
                  <a:pt x="4695295" y="6227979"/>
                </a:cubicBezTo>
                <a:cubicBezTo>
                  <a:pt x="4695295" y="6240255"/>
                  <a:pt x="4686990" y="6248726"/>
                  <a:pt x="4676089" y="6248726"/>
                </a:cubicBezTo>
                <a:cubicBezTo>
                  <a:pt x="4665190" y="6248726"/>
                  <a:pt x="4656884" y="6240255"/>
                  <a:pt x="4656884" y="6227979"/>
                </a:cubicBezTo>
                <a:cubicBezTo>
                  <a:pt x="4656884" y="6215704"/>
                  <a:pt x="4665190" y="6207232"/>
                  <a:pt x="4676089" y="6207232"/>
                </a:cubicBezTo>
                <a:close/>
                <a:moveTo>
                  <a:pt x="5109116" y="6206540"/>
                </a:moveTo>
                <a:cubicBezTo>
                  <a:pt x="5120881" y="6206540"/>
                  <a:pt x="5128838" y="6215531"/>
                  <a:pt x="5128838" y="6227979"/>
                </a:cubicBezTo>
                <a:cubicBezTo>
                  <a:pt x="5128838" y="6240428"/>
                  <a:pt x="5120881" y="6249419"/>
                  <a:pt x="5109116" y="6249419"/>
                </a:cubicBezTo>
                <a:cubicBezTo>
                  <a:pt x="5097350" y="6249419"/>
                  <a:pt x="5089392" y="6240428"/>
                  <a:pt x="5089392" y="6227979"/>
                </a:cubicBezTo>
                <a:cubicBezTo>
                  <a:pt x="5089392" y="6215531"/>
                  <a:pt x="5097350" y="6206540"/>
                  <a:pt x="5109116" y="6206540"/>
                </a:cubicBezTo>
                <a:close/>
                <a:moveTo>
                  <a:pt x="4405345" y="6206540"/>
                </a:moveTo>
                <a:cubicBezTo>
                  <a:pt x="4417110" y="6206540"/>
                  <a:pt x="4425068" y="6215531"/>
                  <a:pt x="4425068" y="6227979"/>
                </a:cubicBezTo>
                <a:cubicBezTo>
                  <a:pt x="4425068" y="6240428"/>
                  <a:pt x="4417110" y="6249419"/>
                  <a:pt x="4405345" y="6249419"/>
                </a:cubicBezTo>
                <a:cubicBezTo>
                  <a:pt x="4393579" y="6249419"/>
                  <a:pt x="4385621" y="6240428"/>
                  <a:pt x="4385621" y="6227979"/>
                </a:cubicBezTo>
                <a:cubicBezTo>
                  <a:pt x="4385621" y="6215531"/>
                  <a:pt x="4393579" y="6206540"/>
                  <a:pt x="4405345" y="6206540"/>
                </a:cubicBezTo>
                <a:close/>
                <a:moveTo>
                  <a:pt x="5008256" y="6204119"/>
                </a:moveTo>
                <a:cubicBezTo>
                  <a:pt x="5015868" y="6204119"/>
                  <a:pt x="5023828" y="6207923"/>
                  <a:pt x="5026076" y="6217087"/>
                </a:cubicBezTo>
                <a:lnTo>
                  <a:pt x="4989397" y="6217087"/>
                </a:lnTo>
                <a:cubicBezTo>
                  <a:pt x="4991646" y="6207577"/>
                  <a:pt x="5000643" y="6204119"/>
                  <a:pt x="5008256" y="6204119"/>
                </a:cubicBezTo>
                <a:close/>
                <a:moveTo>
                  <a:pt x="4304485" y="6204119"/>
                </a:moveTo>
                <a:cubicBezTo>
                  <a:pt x="4312097" y="6204119"/>
                  <a:pt x="4320057" y="6207923"/>
                  <a:pt x="4322305" y="6217087"/>
                </a:cubicBezTo>
                <a:lnTo>
                  <a:pt x="4285626" y="6217087"/>
                </a:lnTo>
                <a:cubicBezTo>
                  <a:pt x="4287875" y="6207577"/>
                  <a:pt x="4296872" y="6204119"/>
                  <a:pt x="4304485" y="6204119"/>
                </a:cubicBezTo>
                <a:close/>
                <a:moveTo>
                  <a:pt x="4470561" y="6184755"/>
                </a:moveTo>
                <a:lnTo>
                  <a:pt x="4470561" y="6271204"/>
                </a:lnTo>
                <a:lnTo>
                  <a:pt x="4496688" y="6271204"/>
                </a:lnTo>
                <a:lnTo>
                  <a:pt x="4496688" y="6207405"/>
                </a:lnTo>
                <a:lnTo>
                  <a:pt x="4525754" y="6207405"/>
                </a:lnTo>
                <a:lnTo>
                  <a:pt x="4525754" y="6184755"/>
                </a:lnTo>
                <a:close/>
                <a:moveTo>
                  <a:pt x="5103232" y="6182853"/>
                </a:moveTo>
                <a:cubicBezTo>
                  <a:pt x="5080568" y="6182853"/>
                  <a:pt x="5063093" y="6203429"/>
                  <a:pt x="5063093" y="6227979"/>
                </a:cubicBezTo>
                <a:cubicBezTo>
                  <a:pt x="5063093" y="6252531"/>
                  <a:pt x="5080568" y="6273104"/>
                  <a:pt x="5103232" y="6273104"/>
                </a:cubicBezTo>
                <a:cubicBezTo>
                  <a:pt x="5114824" y="6273104"/>
                  <a:pt x="5123302" y="6267228"/>
                  <a:pt x="5126764" y="6262559"/>
                </a:cubicBezTo>
                <a:lnTo>
                  <a:pt x="5126764" y="6271204"/>
                </a:lnTo>
                <a:lnTo>
                  <a:pt x="5152889" y="6271204"/>
                </a:lnTo>
                <a:lnTo>
                  <a:pt x="5152889" y="6184755"/>
                </a:lnTo>
                <a:lnTo>
                  <a:pt x="5126764" y="6184755"/>
                </a:lnTo>
                <a:lnTo>
                  <a:pt x="5126764" y="6193400"/>
                </a:lnTo>
                <a:cubicBezTo>
                  <a:pt x="5123302" y="6188732"/>
                  <a:pt x="5114824" y="6182853"/>
                  <a:pt x="5103232" y="6182853"/>
                </a:cubicBezTo>
                <a:close/>
                <a:moveTo>
                  <a:pt x="5008948" y="6182853"/>
                </a:moveTo>
                <a:cubicBezTo>
                  <a:pt x="4982649" y="6182853"/>
                  <a:pt x="4963445" y="6202218"/>
                  <a:pt x="4963445" y="6227979"/>
                </a:cubicBezTo>
                <a:cubicBezTo>
                  <a:pt x="4963445" y="6255816"/>
                  <a:pt x="4984033" y="6273104"/>
                  <a:pt x="5009467" y="6273104"/>
                </a:cubicBezTo>
                <a:cubicBezTo>
                  <a:pt x="5027634" y="6273104"/>
                  <a:pt x="5041993" y="6265498"/>
                  <a:pt x="5050126" y="6254087"/>
                </a:cubicBezTo>
                <a:lnTo>
                  <a:pt x="5030748" y="6239564"/>
                </a:lnTo>
                <a:cubicBezTo>
                  <a:pt x="5027460" y="6244577"/>
                  <a:pt x="5019847" y="6249419"/>
                  <a:pt x="5009813" y="6249419"/>
                </a:cubicBezTo>
                <a:cubicBezTo>
                  <a:pt x="4999951" y="6249419"/>
                  <a:pt x="4990262" y="6244577"/>
                  <a:pt x="4988705" y="6234204"/>
                </a:cubicBezTo>
                <a:lnTo>
                  <a:pt x="5051510" y="6234204"/>
                </a:lnTo>
                <a:cubicBezTo>
                  <a:pt x="5052029" y="6230053"/>
                  <a:pt x="5052029" y="6227288"/>
                  <a:pt x="5052029" y="6225041"/>
                </a:cubicBezTo>
                <a:cubicBezTo>
                  <a:pt x="5052029" y="6197031"/>
                  <a:pt x="5031785" y="6182853"/>
                  <a:pt x="5008948" y="6182853"/>
                </a:cubicBezTo>
                <a:close/>
                <a:moveTo>
                  <a:pt x="4676089" y="6182853"/>
                </a:moveTo>
                <a:cubicBezTo>
                  <a:pt x="4651176" y="6182853"/>
                  <a:pt x="4630587" y="6202564"/>
                  <a:pt x="4630587" y="6227979"/>
                </a:cubicBezTo>
                <a:cubicBezTo>
                  <a:pt x="4630587" y="6253395"/>
                  <a:pt x="4651176" y="6273104"/>
                  <a:pt x="4676089" y="6273104"/>
                </a:cubicBezTo>
                <a:cubicBezTo>
                  <a:pt x="4701004" y="6273104"/>
                  <a:pt x="4721592" y="6253395"/>
                  <a:pt x="4721592" y="6227979"/>
                </a:cubicBezTo>
                <a:cubicBezTo>
                  <a:pt x="4721592" y="6202564"/>
                  <a:pt x="4701004" y="6182853"/>
                  <a:pt x="4676089" y="6182853"/>
                </a:cubicBezTo>
                <a:close/>
                <a:moveTo>
                  <a:pt x="4399461" y="6182853"/>
                </a:moveTo>
                <a:cubicBezTo>
                  <a:pt x="4376797" y="6182853"/>
                  <a:pt x="4359322" y="6203429"/>
                  <a:pt x="4359322" y="6227979"/>
                </a:cubicBezTo>
                <a:cubicBezTo>
                  <a:pt x="4359322" y="6252531"/>
                  <a:pt x="4376797" y="6273104"/>
                  <a:pt x="4399461" y="6273104"/>
                </a:cubicBezTo>
                <a:cubicBezTo>
                  <a:pt x="4411053" y="6273104"/>
                  <a:pt x="4419531" y="6267228"/>
                  <a:pt x="4422991" y="6262559"/>
                </a:cubicBezTo>
                <a:lnTo>
                  <a:pt x="4422991" y="6271204"/>
                </a:lnTo>
                <a:lnTo>
                  <a:pt x="4449118" y="6271204"/>
                </a:lnTo>
                <a:lnTo>
                  <a:pt x="4449118" y="6184755"/>
                </a:lnTo>
                <a:lnTo>
                  <a:pt x="4422991" y="6184755"/>
                </a:lnTo>
                <a:lnTo>
                  <a:pt x="4422991" y="6193400"/>
                </a:lnTo>
                <a:cubicBezTo>
                  <a:pt x="4419531" y="6188732"/>
                  <a:pt x="4411053" y="6182853"/>
                  <a:pt x="4399461" y="6182853"/>
                </a:cubicBezTo>
                <a:close/>
                <a:moveTo>
                  <a:pt x="4305177" y="6182853"/>
                </a:moveTo>
                <a:cubicBezTo>
                  <a:pt x="4278879" y="6182853"/>
                  <a:pt x="4259674" y="6202218"/>
                  <a:pt x="4259674" y="6227979"/>
                </a:cubicBezTo>
                <a:cubicBezTo>
                  <a:pt x="4259674" y="6255816"/>
                  <a:pt x="4280262" y="6273104"/>
                  <a:pt x="4305696" y="6273104"/>
                </a:cubicBezTo>
                <a:cubicBezTo>
                  <a:pt x="4323861" y="6273104"/>
                  <a:pt x="4338222" y="6265498"/>
                  <a:pt x="4346353" y="6254087"/>
                </a:cubicBezTo>
                <a:lnTo>
                  <a:pt x="4326977" y="6239564"/>
                </a:lnTo>
                <a:cubicBezTo>
                  <a:pt x="4323689" y="6244577"/>
                  <a:pt x="4316076" y="6249419"/>
                  <a:pt x="4306042" y="6249419"/>
                </a:cubicBezTo>
                <a:cubicBezTo>
                  <a:pt x="4296179" y="6249419"/>
                  <a:pt x="4286491" y="6244577"/>
                  <a:pt x="4284934" y="6234204"/>
                </a:cubicBezTo>
                <a:lnTo>
                  <a:pt x="4347739" y="6234204"/>
                </a:lnTo>
                <a:cubicBezTo>
                  <a:pt x="4348258" y="6230053"/>
                  <a:pt x="4348258" y="6227288"/>
                  <a:pt x="4348258" y="6225041"/>
                </a:cubicBezTo>
                <a:cubicBezTo>
                  <a:pt x="4348258" y="6197031"/>
                  <a:pt x="4328014" y="6182853"/>
                  <a:pt x="4305177" y="6182853"/>
                </a:cubicBezTo>
                <a:close/>
                <a:moveTo>
                  <a:pt x="5248035" y="6157264"/>
                </a:moveTo>
                <a:lnTo>
                  <a:pt x="5221908" y="6184755"/>
                </a:lnTo>
                <a:lnTo>
                  <a:pt x="5221908" y="6271204"/>
                </a:lnTo>
                <a:lnTo>
                  <a:pt x="5248035" y="6271204"/>
                </a:lnTo>
                <a:lnTo>
                  <a:pt x="5248035" y="6207405"/>
                </a:lnTo>
                <a:lnTo>
                  <a:pt x="5272256" y="6207405"/>
                </a:lnTo>
                <a:lnTo>
                  <a:pt x="5272256" y="6184755"/>
                </a:lnTo>
                <a:lnTo>
                  <a:pt x="5248035" y="6184755"/>
                </a:lnTo>
                <a:close/>
                <a:moveTo>
                  <a:pt x="4566234" y="6157264"/>
                </a:moveTo>
                <a:lnTo>
                  <a:pt x="4540108" y="6184755"/>
                </a:lnTo>
                <a:lnTo>
                  <a:pt x="4540108" y="6271204"/>
                </a:lnTo>
                <a:lnTo>
                  <a:pt x="4566234" y="6271204"/>
                </a:lnTo>
                <a:lnTo>
                  <a:pt x="4566234" y="6207405"/>
                </a:lnTo>
                <a:lnTo>
                  <a:pt x="4590455" y="6207405"/>
                </a:lnTo>
                <a:lnTo>
                  <a:pt x="4590455" y="6184755"/>
                </a:lnTo>
                <a:lnTo>
                  <a:pt x="4566234" y="6184755"/>
                </a:lnTo>
                <a:close/>
                <a:moveTo>
                  <a:pt x="4843725" y="6148448"/>
                </a:moveTo>
                <a:lnTo>
                  <a:pt x="4843725" y="6271204"/>
                </a:lnTo>
                <a:lnTo>
                  <a:pt x="4871235" y="6271204"/>
                </a:lnTo>
                <a:lnTo>
                  <a:pt x="4871235" y="6222620"/>
                </a:lnTo>
                <a:lnTo>
                  <a:pt x="4920717" y="6222620"/>
                </a:lnTo>
                <a:lnTo>
                  <a:pt x="4920717" y="6271204"/>
                </a:lnTo>
                <a:lnTo>
                  <a:pt x="4948226" y="6271204"/>
                </a:lnTo>
                <a:lnTo>
                  <a:pt x="4948226" y="6148448"/>
                </a:lnTo>
                <a:lnTo>
                  <a:pt x="4920717" y="6148448"/>
                </a:lnTo>
                <a:lnTo>
                  <a:pt x="4920717" y="6196512"/>
                </a:lnTo>
                <a:lnTo>
                  <a:pt x="4871235" y="6196512"/>
                </a:lnTo>
                <a:lnTo>
                  <a:pt x="4871235" y="6148448"/>
                </a:lnTo>
                <a:close/>
                <a:moveTo>
                  <a:pt x="4139954" y="6148448"/>
                </a:moveTo>
                <a:lnTo>
                  <a:pt x="4139954" y="6232862"/>
                </a:lnTo>
                <a:lnTo>
                  <a:pt x="4167462" y="6260352"/>
                </a:lnTo>
                <a:lnTo>
                  <a:pt x="4167462" y="6222620"/>
                </a:lnTo>
                <a:lnTo>
                  <a:pt x="4216946" y="6222620"/>
                </a:lnTo>
                <a:lnTo>
                  <a:pt x="4216946" y="6271204"/>
                </a:lnTo>
                <a:lnTo>
                  <a:pt x="4244455" y="6271204"/>
                </a:lnTo>
                <a:lnTo>
                  <a:pt x="4244455" y="6148448"/>
                </a:lnTo>
                <a:lnTo>
                  <a:pt x="4216946" y="6148448"/>
                </a:lnTo>
                <a:lnTo>
                  <a:pt x="4216946" y="6196512"/>
                </a:lnTo>
                <a:lnTo>
                  <a:pt x="4167462" y="6196512"/>
                </a:lnTo>
                <a:lnTo>
                  <a:pt x="4167462" y="6148448"/>
                </a:lnTo>
                <a:close/>
                <a:moveTo>
                  <a:pt x="5285572" y="6141531"/>
                </a:moveTo>
                <a:lnTo>
                  <a:pt x="5285572" y="6271204"/>
                </a:lnTo>
                <a:lnTo>
                  <a:pt x="5311699" y="6271204"/>
                </a:lnTo>
                <a:lnTo>
                  <a:pt x="5311699" y="6229189"/>
                </a:lnTo>
                <a:cubicBezTo>
                  <a:pt x="5311699" y="6213630"/>
                  <a:pt x="5319310" y="6206540"/>
                  <a:pt x="5329173" y="6206540"/>
                </a:cubicBezTo>
                <a:cubicBezTo>
                  <a:pt x="5338516" y="6206540"/>
                  <a:pt x="5343186" y="6213802"/>
                  <a:pt x="5343186" y="6225731"/>
                </a:cubicBezTo>
                <a:lnTo>
                  <a:pt x="5343186" y="6271204"/>
                </a:lnTo>
                <a:lnTo>
                  <a:pt x="5369312" y="6271204"/>
                </a:lnTo>
                <a:lnTo>
                  <a:pt x="5369312" y="6221237"/>
                </a:lnTo>
                <a:cubicBezTo>
                  <a:pt x="5369312" y="6198586"/>
                  <a:pt x="5357028" y="6182853"/>
                  <a:pt x="5335747" y="6182853"/>
                </a:cubicBezTo>
                <a:cubicBezTo>
                  <a:pt x="5324502" y="6182853"/>
                  <a:pt x="5315850" y="6187695"/>
                  <a:pt x="5311699" y="6193574"/>
                </a:cubicBezTo>
                <a:lnTo>
                  <a:pt x="5311699" y="6141531"/>
                </a:lnTo>
                <a:close/>
                <a:moveTo>
                  <a:pt x="5174334" y="6141531"/>
                </a:moveTo>
                <a:lnTo>
                  <a:pt x="5174334" y="6271204"/>
                </a:lnTo>
                <a:lnTo>
                  <a:pt x="5200460" y="6271204"/>
                </a:lnTo>
                <a:lnTo>
                  <a:pt x="5200460" y="6141531"/>
                </a:lnTo>
                <a:close/>
                <a:moveTo>
                  <a:pt x="4780585" y="6140494"/>
                </a:moveTo>
                <a:cubicBezTo>
                  <a:pt x="4761380" y="6140494"/>
                  <a:pt x="4745808" y="6153288"/>
                  <a:pt x="4745808" y="6175247"/>
                </a:cubicBezTo>
                <a:lnTo>
                  <a:pt x="4745808" y="6184755"/>
                </a:lnTo>
                <a:lnTo>
                  <a:pt x="4728508" y="6184755"/>
                </a:lnTo>
                <a:lnTo>
                  <a:pt x="4728508" y="6207405"/>
                </a:lnTo>
                <a:lnTo>
                  <a:pt x="4745808" y="6207405"/>
                </a:lnTo>
                <a:lnTo>
                  <a:pt x="4745808" y="6271204"/>
                </a:lnTo>
                <a:lnTo>
                  <a:pt x="4771934" y="6271204"/>
                </a:lnTo>
                <a:lnTo>
                  <a:pt x="4771934" y="6207405"/>
                </a:lnTo>
                <a:lnTo>
                  <a:pt x="4796157" y="6207405"/>
                </a:lnTo>
                <a:lnTo>
                  <a:pt x="4796157" y="6184755"/>
                </a:lnTo>
                <a:lnTo>
                  <a:pt x="4771934" y="6184755"/>
                </a:lnTo>
                <a:lnTo>
                  <a:pt x="4771934" y="6178531"/>
                </a:lnTo>
                <a:cubicBezTo>
                  <a:pt x="4771934" y="6168157"/>
                  <a:pt x="4776260" y="6163835"/>
                  <a:pt x="4786814" y="6163835"/>
                </a:cubicBezTo>
                <a:cubicBezTo>
                  <a:pt x="4790620" y="6163835"/>
                  <a:pt x="4793388" y="6164354"/>
                  <a:pt x="4796157" y="6165390"/>
                </a:cubicBezTo>
                <a:lnTo>
                  <a:pt x="4796157" y="6142395"/>
                </a:lnTo>
                <a:cubicBezTo>
                  <a:pt x="4792350" y="6141185"/>
                  <a:pt x="4787505" y="6140494"/>
                  <a:pt x="4780585" y="6140494"/>
                </a:cubicBezTo>
                <a:close/>
                <a:moveTo>
                  <a:pt x="4314342" y="5948845"/>
                </a:moveTo>
                <a:cubicBezTo>
                  <a:pt x="4333989" y="5948845"/>
                  <a:pt x="4347629" y="5958197"/>
                  <a:pt x="4353322" y="5975334"/>
                </a:cubicBezTo>
                <a:lnTo>
                  <a:pt x="4273784" y="5975334"/>
                </a:lnTo>
                <a:cubicBezTo>
                  <a:pt x="4283099" y="5952465"/>
                  <a:pt x="4302832" y="5948845"/>
                  <a:pt x="4314342" y="5948845"/>
                </a:cubicBezTo>
                <a:close/>
                <a:moveTo>
                  <a:pt x="4314018" y="5896018"/>
                </a:moveTo>
                <a:cubicBezTo>
                  <a:pt x="4251288" y="5896018"/>
                  <a:pt x="4213801" y="5947840"/>
                  <a:pt x="4213801" y="5997928"/>
                </a:cubicBezTo>
                <a:cubicBezTo>
                  <a:pt x="4213801" y="6054363"/>
                  <a:pt x="4257965" y="6098568"/>
                  <a:pt x="4314342" y="6098568"/>
                </a:cubicBezTo>
                <a:cubicBezTo>
                  <a:pt x="4343596" y="6098568"/>
                  <a:pt x="4370860" y="6087984"/>
                  <a:pt x="4390755" y="6069221"/>
                </a:cubicBezTo>
                <a:lnTo>
                  <a:pt x="4353830" y="6032391"/>
                </a:lnTo>
                <a:cubicBezTo>
                  <a:pt x="4342433" y="6041921"/>
                  <a:pt x="4332286" y="6045379"/>
                  <a:pt x="4316581" y="6045670"/>
                </a:cubicBezTo>
                <a:cubicBezTo>
                  <a:pt x="4302940" y="6045541"/>
                  <a:pt x="4290657" y="6039928"/>
                  <a:pt x="4281813" y="6030954"/>
                </a:cubicBezTo>
                <a:cubicBezTo>
                  <a:pt x="4279996" y="6029101"/>
                  <a:pt x="4278358" y="6027107"/>
                  <a:pt x="4276855" y="6024995"/>
                </a:cubicBezTo>
                <a:cubicBezTo>
                  <a:pt x="4276509" y="6024460"/>
                  <a:pt x="4276103" y="6023925"/>
                  <a:pt x="4275790" y="6023401"/>
                </a:cubicBezTo>
                <a:lnTo>
                  <a:pt x="4275769" y="6023401"/>
                </a:lnTo>
                <a:cubicBezTo>
                  <a:pt x="4274184" y="6020986"/>
                  <a:pt x="4272757" y="6018463"/>
                  <a:pt x="4271627" y="6015789"/>
                </a:cubicBezTo>
                <a:lnTo>
                  <a:pt x="4410369" y="6015789"/>
                </a:lnTo>
                <a:cubicBezTo>
                  <a:pt x="4411456" y="6010581"/>
                  <a:pt x="4412656" y="6003438"/>
                  <a:pt x="4412656" y="5995059"/>
                </a:cubicBezTo>
                <a:cubicBezTo>
                  <a:pt x="4412656" y="5946376"/>
                  <a:pt x="4375769" y="5896018"/>
                  <a:pt x="4314018" y="5896018"/>
                </a:cubicBezTo>
                <a:close/>
                <a:moveTo>
                  <a:pt x="4110956" y="5896007"/>
                </a:moveTo>
                <a:lnTo>
                  <a:pt x="4110956" y="6096898"/>
                </a:lnTo>
                <a:lnTo>
                  <a:pt x="4167419" y="6096898"/>
                </a:lnTo>
                <a:lnTo>
                  <a:pt x="4167419" y="5947559"/>
                </a:lnTo>
                <a:lnTo>
                  <a:pt x="4212811" y="5947559"/>
                </a:lnTo>
                <a:lnTo>
                  <a:pt x="4212811" y="5896007"/>
                </a:lnTo>
                <a:close/>
                <a:moveTo>
                  <a:pt x="4529422" y="5895985"/>
                </a:moveTo>
                <a:lnTo>
                  <a:pt x="4528470" y="5896050"/>
                </a:lnTo>
                <a:cubicBezTo>
                  <a:pt x="4473201" y="5896471"/>
                  <a:pt x="4428372" y="5941448"/>
                  <a:pt x="4428372" y="5996690"/>
                </a:cubicBezTo>
                <a:cubicBezTo>
                  <a:pt x="4428372" y="6059636"/>
                  <a:pt x="4480905" y="6098600"/>
                  <a:pt x="4529811" y="6098600"/>
                </a:cubicBezTo>
                <a:cubicBezTo>
                  <a:pt x="4561611" y="6098600"/>
                  <a:pt x="4588432" y="6086087"/>
                  <a:pt x="4609549" y="6061403"/>
                </a:cubicBezTo>
                <a:lnTo>
                  <a:pt x="4613733" y="6056497"/>
                </a:lnTo>
                <a:lnTo>
                  <a:pt x="4577722" y="6020456"/>
                </a:lnTo>
                <a:lnTo>
                  <a:pt x="4572624" y="6025594"/>
                </a:lnTo>
                <a:cubicBezTo>
                  <a:pt x="4556826" y="6041359"/>
                  <a:pt x="4549825" y="6045638"/>
                  <a:pt x="4530741" y="6045762"/>
                </a:cubicBezTo>
                <a:cubicBezTo>
                  <a:pt x="4504574" y="6045540"/>
                  <a:pt x="4484846" y="6024719"/>
                  <a:pt x="4484846" y="5997333"/>
                </a:cubicBezTo>
                <a:cubicBezTo>
                  <a:pt x="4484846" y="5964053"/>
                  <a:pt x="4508056" y="5948877"/>
                  <a:pt x="4529611" y="5948855"/>
                </a:cubicBezTo>
                <a:lnTo>
                  <a:pt x="4530573" y="5948790"/>
                </a:lnTo>
                <a:cubicBezTo>
                  <a:pt x="4549771" y="5948899"/>
                  <a:pt x="4556918" y="5953285"/>
                  <a:pt x="4572602" y="5968948"/>
                </a:cubicBezTo>
                <a:lnTo>
                  <a:pt x="4577700" y="5974064"/>
                </a:lnTo>
                <a:lnTo>
                  <a:pt x="4613733" y="5938061"/>
                </a:lnTo>
                <a:lnTo>
                  <a:pt x="4609538" y="5933145"/>
                </a:lnTo>
                <a:cubicBezTo>
                  <a:pt x="4588334" y="5908347"/>
                  <a:pt x="4561314" y="5895807"/>
                  <a:pt x="4529422" y="5895985"/>
                </a:cubicBezTo>
                <a:close/>
                <a:moveTo>
                  <a:pt x="3912831" y="5863028"/>
                </a:moveTo>
                <a:lnTo>
                  <a:pt x="3912831" y="5990061"/>
                </a:lnTo>
                <a:cubicBezTo>
                  <a:pt x="3912831" y="5994795"/>
                  <a:pt x="3912526" y="5999870"/>
                  <a:pt x="3911858" y="6004922"/>
                </a:cubicBezTo>
                <a:lnTo>
                  <a:pt x="3911858" y="6004922"/>
                </a:lnTo>
                <a:lnTo>
                  <a:pt x="3911858" y="6004923"/>
                </a:lnTo>
                <a:lnTo>
                  <a:pt x="3769924" y="5863087"/>
                </a:lnTo>
                <a:lnTo>
                  <a:pt x="3769924" y="5990060"/>
                </a:lnTo>
                <a:cubicBezTo>
                  <a:pt x="3769924" y="6026733"/>
                  <a:pt x="3779406" y="6047268"/>
                  <a:pt x="3787489" y="6058013"/>
                </a:cubicBezTo>
                <a:cubicBezTo>
                  <a:pt x="3802091" y="6077587"/>
                  <a:pt x="3831837" y="6098501"/>
                  <a:pt x="3871536" y="6098501"/>
                </a:cubicBezTo>
                <a:cubicBezTo>
                  <a:pt x="3911235" y="6098501"/>
                  <a:pt x="3940980" y="6077587"/>
                  <a:pt x="3955583" y="6058013"/>
                </a:cubicBezTo>
                <a:cubicBezTo>
                  <a:pt x="3956814" y="6056376"/>
                  <a:pt x="3958077" y="6054481"/>
                  <a:pt x="3959335" y="6052367"/>
                </a:cubicBezTo>
                <a:lnTo>
                  <a:pt x="3959334" y="6052365"/>
                </a:lnTo>
                <a:lnTo>
                  <a:pt x="3959336" y="6052367"/>
                </a:lnTo>
                <a:cubicBezTo>
                  <a:pt x="3966334" y="6040605"/>
                  <a:pt x="3973148" y="6021145"/>
                  <a:pt x="3973148" y="5990060"/>
                </a:cubicBezTo>
                <a:lnTo>
                  <a:pt x="3973148" y="5863028"/>
                </a:lnTo>
                <a:close/>
                <a:moveTo>
                  <a:pt x="4056543" y="5839377"/>
                </a:moveTo>
                <a:lnTo>
                  <a:pt x="4000068" y="5896018"/>
                </a:lnTo>
                <a:lnTo>
                  <a:pt x="4000068" y="6096899"/>
                </a:lnTo>
                <a:lnTo>
                  <a:pt x="4056543" y="6096899"/>
                </a:lnTo>
                <a:lnTo>
                  <a:pt x="4056543" y="5947559"/>
                </a:lnTo>
                <a:lnTo>
                  <a:pt x="4093208" y="5947559"/>
                </a:lnTo>
                <a:lnTo>
                  <a:pt x="4093208" y="5896008"/>
                </a:lnTo>
                <a:lnTo>
                  <a:pt x="4056543" y="5896008"/>
                </a:lnTo>
                <a:close/>
                <a:moveTo>
                  <a:pt x="4690438" y="5839296"/>
                </a:moveTo>
                <a:lnTo>
                  <a:pt x="4633974" y="5896019"/>
                </a:lnTo>
                <a:cubicBezTo>
                  <a:pt x="4633974" y="5896019"/>
                  <a:pt x="4633499" y="6090529"/>
                  <a:pt x="4633974" y="6096898"/>
                </a:cubicBezTo>
                <a:lnTo>
                  <a:pt x="4690438" y="6096898"/>
                </a:lnTo>
                <a:lnTo>
                  <a:pt x="4690438" y="5996167"/>
                </a:lnTo>
                <a:cubicBezTo>
                  <a:pt x="4690438" y="5963103"/>
                  <a:pt x="4699029" y="5948996"/>
                  <a:pt x="4719194" y="5948996"/>
                </a:cubicBezTo>
                <a:cubicBezTo>
                  <a:pt x="4740349" y="5948996"/>
                  <a:pt x="4748594" y="5962038"/>
                  <a:pt x="4748594" y="5995529"/>
                </a:cubicBezTo>
                <a:lnTo>
                  <a:pt x="4748594" y="6096898"/>
                </a:lnTo>
                <a:lnTo>
                  <a:pt x="4805057" y="6096898"/>
                </a:lnTo>
                <a:lnTo>
                  <a:pt x="4805057" y="5986296"/>
                </a:lnTo>
                <a:cubicBezTo>
                  <a:pt x="4805057" y="5972092"/>
                  <a:pt x="4805057" y="5945647"/>
                  <a:pt x="4789514" y="5925917"/>
                </a:cubicBezTo>
                <a:cubicBezTo>
                  <a:pt x="4775522" y="5908120"/>
                  <a:pt x="4751373" y="5896164"/>
                  <a:pt x="4729407" y="5896164"/>
                </a:cubicBezTo>
                <a:cubicBezTo>
                  <a:pt x="4714891" y="5896164"/>
                  <a:pt x="4701824" y="5899849"/>
                  <a:pt x="4690438" y="5907142"/>
                </a:cubicBezTo>
                <a:close/>
                <a:moveTo>
                  <a:pt x="4889213" y="5839295"/>
                </a:moveTo>
                <a:lnTo>
                  <a:pt x="4832749" y="5896018"/>
                </a:lnTo>
                <a:lnTo>
                  <a:pt x="4832749" y="6096897"/>
                </a:lnTo>
                <a:lnTo>
                  <a:pt x="4889213" y="6096897"/>
                </a:lnTo>
                <a:lnTo>
                  <a:pt x="4889213" y="5947483"/>
                </a:lnTo>
                <a:lnTo>
                  <a:pt x="4925889" y="5947483"/>
                </a:lnTo>
                <a:lnTo>
                  <a:pt x="4925889" y="5895931"/>
                </a:lnTo>
                <a:lnTo>
                  <a:pt x="4889213" y="5895931"/>
                </a:lnTo>
                <a:close/>
                <a:moveTo>
                  <a:pt x="0" y="0"/>
                </a:moveTo>
                <a:lnTo>
                  <a:pt x="5947441" y="0"/>
                </a:lnTo>
                <a:lnTo>
                  <a:pt x="5947441" y="6857998"/>
                </a:lnTo>
                <a:lnTo>
                  <a:pt x="0" y="6857998"/>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6" name="Text Placeholder 3">
            <a:extLst>
              <a:ext uri="{FF2B5EF4-FFF2-40B4-BE49-F238E27FC236}">
                <a16:creationId xmlns:a16="http://schemas.microsoft.com/office/drawing/2014/main" id="{0B553010-FC8D-055B-FDC2-FCCD05240F7E}"/>
              </a:ext>
            </a:extLst>
          </p:cNvPr>
          <p:cNvSpPr>
            <a:spLocks noGrp="1"/>
          </p:cNvSpPr>
          <p:nvPr>
            <p:ph type="body" sz="quarter" idx="10"/>
          </p:nvPr>
        </p:nvSpPr>
        <p:spPr>
          <a:xfrm>
            <a:off x="1139124" y="2003728"/>
            <a:ext cx="4550476" cy="3650247"/>
          </a:xfrm>
        </p:spPr>
        <p:txBody>
          <a:bodyPr/>
          <a:lstStyle>
            <a:lvl1pPr>
              <a:spcAft>
                <a:spcPts val="600"/>
              </a:spcAft>
              <a:defRPr>
                <a:solidFill>
                  <a:schemeClr val="accent1"/>
                </a:solidFill>
              </a:defRPr>
            </a:lvl1pPr>
            <a:lvl2pPr>
              <a:spcAft>
                <a:spcPts val="600"/>
              </a:spcAft>
              <a:defRPr>
                <a:solidFill>
                  <a:schemeClr val="accent1"/>
                </a:solidFill>
              </a:defRPr>
            </a:lvl2pPr>
            <a:lvl3pPr>
              <a:spcAft>
                <a:spcPts val="600"/>
              </a:spcAft>
              <a:defRPr>
                <a:solidFill>
                  <a:schemeClr val="accent1"/>
                </a:solidFill>
              </a:defRPr>
            </a:lvl3pPr>
            <a:lvl4pPr>
              <a:spcAft>
                <a:spcPts val="600"/>
              </a:spcAft>
              <a:defRPr>
                <a:solidFill>
                  <a:schemeClr val="accent1"/>
                </a:solidFill>
              </a:defRPr>
            </a:lvl4pPr>
            <a:lvl5pPr>
              <a:spcAft>
                <a:spcPts val="600"/>
              </a:spcAft>
              <a:defRPr>
                <a:solidFill>
                  <a:schemeClr val="accent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Tree>
    <p:extLst>
      <p:ext uri="{BB962C8B-B14F-4D97-AF65-F5344CB8AC3E}">
        <p14:creationId xmlns:p14="http://schemas.microsoft.com/office/powerpoint/2010/main" val="20899022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 Beeld rechts">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11" name="Text Placeholder 13">
            <a:extLst>
              <a:ext uri="{FF2B5EF4-FFF2-40B4-BE49-F238E27FC236}">
                <a16:creationId xmlns:a16="http://schemas.microsoft.com/office/drawing/2014/main" id="{671406B8-42F0-6CED-3C85-BD33A019A204}"/>
              </a:ext>
            </a:extLst>
          </p:cNvPr>
          <p:cNvSpPr>
            <a:spLocks noGrp="1"/>
          </p:cNvSpPr>
          <p:nvPr>
            <p:ph type="body" sz="quarter" idx="16"/>
          </p:nvPr>
        </p:nvSpPr>
        <p:spPr>
          <a:xfrm>
            <a:off x="1139125" y="2005200"/>
            <a:ext cx="4545423" cy="3848185"/>
          </a:xfrm>
        </p:spPr>
        <p:txBody>
          <a:bodyPr/>
          <a:lstStyle>
            <a:lvl1pPr>
              <a:defRPr sz="2400"/>
            </a:lvl1pPr>
            <a:lvl2pPr>
              <a:defRPr sz="2400"/>
            </a:lvl2pPr>
            <a:lvl3pPr>
              <a:defRPr sz="20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5" name="Tijdelijke aanduiding voor afbeelding 14">
            <a:extLst>
              <a:ext uri="{FF2B5EF4-FFF2-40B4-BE49-F238E27FC236}">
                <a16:creationId xmlns:a16="http://schemas.microsoft.com/office/drawing/2014/main" id="{7E7220D7-4BCB-1010-5FFD-1BEF18ECF4F1}"/>
              </a:ext>
            </a:extLst>
          </p:cNvPr>
          <p:cNvSpPr>
            <a:spLocks noGrp="1"/>
          </p:cNvSpPr>
          <p:nvPr>
            <p:ph type="pic" sz="quarter" idx="17"/>
          </p:nvPr>
        </p:nvSpPr>
        <p:spPr>
          <a:xfrm>
            <a:off x="6096000" y="1163155"/>
            <a:ext cx="6096000" cy="5694845"/>
          </a:xfrm>
          <a:custGeom>
            <a:avLst/>
            <a:gdLst>
              <a:gd name="connsiteX0" fmla="*/ 4824647 w 6096000"/>
              <a:gd name="connsiteY0" fmla="*/ 5044080 h 5694845"/>
              <a:gd name="connsiteX1" fmla="*/ 4843853 w 6096000"/>
              <a:gd name="connsiteY1" fmla="*/ 5064827 h 5694845"/>
              <a:gd name="connsiteX2" fmla="*/ 4824647 w 6096000"/>
              <a:gd name="connsiteY2" fmla="*/ 5085574 h 5694845"/>
              <a:gd name="connsiteX3" fmla="*/ 4805442 w 6096000"/>
              <a:gd name="connsiteY3" fmla="*/ 5064827 h 5694845"/>
              <a:gd name="connsiteX4" fmla="*/ 4824647 w 6096000"/>
              <a:gd name="connsiteY4" fmla="*/ 5044080 h 5694845"/>
              <a:gd name="connsiteX5" fmla="*/ 5257674 w 6096000"/>
              <a:gd name="connsiteY5" fmla="*/ 5043388 h 5694845"/>
              <a:gd name="connsiteX6" fmla="*/ 5277396 w 6096000"/>
              <a:gd name="connsiteY6" fmla="*/ 5064827 h 5694845"/>
              <a:gd name="connsiteX7" fmla="*/ 5257674 w 6096000"/>
              <a:gd name="connsiteY7" fmla="*/ 5086267 h 5694845"/>
              <a:gd name="connsiteX8" fmla="*/ 5237950 w 6096000"/>
              <a:gd name="connsiteY8" fmla="*/ 5064827 h 5694845"/>
              <a:gd name="connsiteX9" fmla="*/ 5257674 w 6096000"/>
              <a:gd name="connsiteY9" fmla="*/ 5043388 h 5694845"/>
              <a:gd name="connsiteX10" fmla="*/ 4553903 w 6096000"/>
              <a:gd name="connsiteY10" fmla="*/ 5043388 h 5694845"/>
              <a:gd name="connsiteX11" fmla="*/ 4573626 w 6096000"/>
              <a:gd name="connsiteY11" fmla="*/ 5064827 h 5694845"/>
              <a:gd name="connsiteX12" fmla="*/ 4553903 w 6096000"/>
              <a:gd name="connsiteY12" fmla="*/ 5086267 h 5694845"/>
              <a:gd name="connsiteX13" fmla="*/ 4534179 w 6096000"/>
              <a:gd name="connsiteY13" fmla="*/ 5064827 h 5694845"/>
              <a:gd name="connsiteX14" fmla="*/ 4553903 w 6096000"/>
              <a:gd name="connsiteY14" fmla="*/ 5043388 h 5694845"/>
              <a:gd name="connsiteX15" fmla="*/ 5156814 w 6096000"/>
              <a:gd name="connsiteY15" fmla="*/ 5040967 h 5694845"/>
              <a:gd name="connsiteX16" fmla="*/ 5174634 w 6096000"/>
              <a:gd name="connsiteY16" fmla="*/ 5053935 h 5694845"/>
              <a:gd name="connsiteX17" fmla="*/ 5137955 w 6096000"/>
              <a:gd name="connsiteY17" fmla="*/ 5053935 h 5694845"/>
              <a:gd name="connsiteX18" fmla="*/ 5156814 w 6096000"/>
              <a:gd name="connsiteY18" fmla="*/ 5040967 h 5694845"/>
              <a:gd name="connsiteX19" fmla="*/ 4453043 w 6096000"/>
              <a:gd name="connsiteY19" fmla="*/ 5040967 h 5694845"/>
              <a:gd name="connsiteX20" fmla="*/ 4470863 w 6096000"/>
              <a:gd name="connsiteY20" fmla="*/ 5053935 h 5694845"/>
              <a:gd name="connsiteX21" fmla="*/ 4434184 w 6096000"/>
              <a:gd name="connsiteY21" fmla="*/ 5053935 h 5694845"/>
              <a:gd name="connsiteX22" fmla="*/ 4453043 w 6096000"/>
              <a:gd name="connsiteY22" fmla="*/ 5040967 h 5694845"/>
              <a:gd name="connsiteX23" fmla="*/ 4619119 w 6096000"/>
              <a:gd name="connsiteY23" fmla="*/ 5021603 h 5694845"/>
              <a:gd name="connsiteX24" fmla="*/ 4619119 w 6096000"/>
              <a:gd name="connsiteY24" fmla="*/ 5108052 h 5694845"/>
              <a:gd name="connsiteX25" fmla="*/ 4645246 w 6096000"/>
              <a:gd name="connsiteY25" fmla="*/ 5108052 h 5694845"/>
              <a:gd name="connsiteX26" fmla="*/ 4645246 w 6096000"/>
              <a:gd name="connsiteY26" fmla="*/ 5044253 h 5694845"/>
              <a:gd name="connsiteX27" fmla="*/ 4674312 w 6096000"/>
              <a:gd name="connsiteY27" fmla="*/ 5044253 h 5694845"/>
              <a:gd name="connsiteX28" fmla="*/ 4674312 w 6096000"/>
              <a:gd name="connsiteY28" fmla="*/ 5021603 h 5694845"/>
              <a:gd name="connsiteX29" fmla="*/ 5251790 w 6096000"/>
              <a:gd name="connsiteY29" fmla="*/ 5019701 h 5694845"/>
              <a:gd name="connsiteX30" fmla="*/ 5211651 w 6096000"/>
              <a:gd name="connsiteY30" fmla="*/ 5064827 h 5694845"/>
              <a:gd name="connsiteX31" fmla="*/ 5251790 w 6096000"/>
              <a:gd name="connsiteY31" fmla="*/ 5109952 h 5694845"/>
              <a:gd name="connsiteX32" fmla="*/ 5275322 w 6096000"/>
              <a:gd name="connsiteY32" fmla="*/ 5099407 h 5694845"/>
              <a:gd name="connsiteX33" fmla="*/ 5275322 w 6096000"/>
              <a:gd name="connsiteY33" fmla="*/ 5108052 h 5694845"/>
              <a:gd name="connsiteX34" fmla="*/ 5301447 w 6096000"/>
              <a:gd name="connsiteY34" fmla="*/ 5108052 h 5694845"/>
              <a:gd name="connsiteX35" fmla="*/ 5301447 w 6096000"/>
              <a:gd name="connsiteY35" fmla="*/ 5021603 h 5694845"/>
              <a:gd name="connsiteX36" fmla="*/ 5275322 w 6096000"/>
              <a:gd name="connsiteY36" fmla="*/ 5021603 h 5694845"/>
              <a:gd name="connsiteX37" fmla="*/ 5275322 w 6096000"/>
              <a:gd name="connsiteY37" fmla="*/ 5030248 h 5694845"/>
              <a:gd name="connsiteX38" fmla="*/ 5251790 w 6096000"/>
              <a:gd name="connsiteY38" fmla="*/ 5019701 h 5694845"/>
              <a:gd name="connsiteX39" fmla="*/ 5157506 w 6096000"/>
              <a:gd name="connsiteY39" fmla="*/ 5019701 h 5694845"/>
              <a:gd name="connsiteX40" fmla="*/ 5112003 w 6096000"/>
              <a:gd name="connsiteY40" fmla="*/ 5064827 h 5694845"/>
              <a:gd name="connsiteX41" fmla="*/ 5158025 w 6096000"/>
              <a:gd name="connsiteY41" fmla="*/ 5109952 h 5694845"/>
              <a:gd name="connsiteX42" fmla="*/ 5198684 w 6096000"/>
              <a:gd name="connsiteY42" fmla="*/ 5090935 h 5694845"/>
              <a:gd name="connsiteX43" fmla="*/ 5179306 w 6096000"/>
              <a:gd name="connsiteY43" fmla="*/ 5076412 h 5694845"/>
              <a:gd name="connsiteX44" fmla="*/ 5158371 w 6096000"/>
              <a:gd name="connsiteY44" fmla="*/ 5086267 h 5694845"/>
              <a:gd name="connsiteX45" fmla="*/ 5137263 w 6096000"/>
              <a:gd name="connsiteY45" fmla="*/ 5071052 h 5694845"/>
              <a:gd name="connsiteX46" fmla="*/ 5200068 w 6096000"/>
              <a:gd name="connsiteY46" fmla="*/ 5071052 h 5694845"/>
              <a:gd name="connsiteX47" fmla="*/ 5200587 w 6096000"/>
              <a:gd name="connsiteY47" fmla="*/ 5061889 h 5694845"/>
              <a:gd name="connsiteX48" fmla="*/ 5157506 w 6096000"/>
              <a:gd name="connsiteY48" fmla="*/ 5019701 h 5694845"/>
              <a:gd name="connsiteX49" fmla="*/ 4824647 w 6096000"/>
              <a:gd name="connsiteY49" fmla="*/ 5019701 h 5694845"/>
              <a:gd name="connsiteX50" fmla="*/ 4779145 w 6096000"/>
              <a:gd name="connsiteY50" fmla="*/ 5064827 h 5694845"/>
              <a:gd name="connsiteX51" fmla="*/ 4824647 w 6096000"/>
              <a:gd name="connsiteY51" fmla="*/ 5109952 h 5694845"/>
              <a:gd name="connsiteX52" fmla="*/ 4870150 w 6096000"/>
              <a:gd name="connsiteY52" fmla="*/ 5064827 h 5694845"/>
              <a:gd name="connsiteX53" fmla="*/ 4824647 w 6096000"/>
              <a:gd name="connsiteY53" fmla="*/ 5019701 h 5694845"/>
              <a:gd name="connsiteX54" fmla="*/ 4548019 w 6096000"/>
              <a:gd name="connsiteY54" fmla="*/ 5019701 h 5694845"/>
              <a:gd name="connsiteX55" fmla="*/ 4507880 w 6096000"/>
              <a:gd name="connsiteY55" fmla="*/ 5064827 h 5694845"/>
              <a:gd name="connsiteX56" fmla="*/ 4548019 w 6096000"/>
              <a:gd name="connsiteY56" fmla="*/ 5109952 h 5694845"/>
              <a:gd name="connsiteX57" fmla="*/ 4571549 w 6096000"/>
              <a:gd name="connsiteY57" fmla="*/ 5099407 h 5694845"/>
              <a:gd name="connsiteX58" fmla="*/ 4571549 w 6096000"/>
              <a:gd name="connsiteY58" fmla="*/ 5108052 h 5694845"/>
              <a:gd name="connsiteX59" fmla="*/ 4597676 w 6096000"/>
              <a:gd name="connsiteY59" fmla="*/ 5108052 h 5694845"/>
              <a:gd name="connsiteX60" fmla="*/ 4597676 w 6096000"/>
              <a:gd name="connsiteY60" fmla="*/ 5021603 h 5694845"/>
              <a:gd name="connsiteX61" fmla="*/ 4571549 w 6096000"/>
              <a:gd name="connsiteY61" fmla="*/ 5021603 h 5694845"/>
              <a:gd name="connsiteX62" fmla="*/ 4571549 w 6096000"/>
              <a:gd name="connsiteY62" fmla="*/ 5030248 h 5694845"/>
              <a:gd name="connsiteX63" fmla="*/ 4548019 w 6096000"/>
              <a:gd name="connsiteY63" fmla="*/ 5019701 h 5694845"/>
              <a:gd name="connsiteX64" fmla="*/ 4453735 w 6096000"/>
              <a:gd name="connsiteY64" fmla="*/ 5019701 h 5694845"/>
              <a:gd name="connsiteX65" fmla="*/ 4408232 w 6096000"/>
              <a:gd name="connsiteY65" fmla="*/ 5064827 h 5694845"/>
              <a:gd name="connsiteX66" fmla="*/ 4454254 w 6096000"/>
              <a:gd name="connsiteY66" fmla="*/ 5109952 h 5694845"/>
              <a:gd name="connsiteX67" fmla="*/ 4494911 w 6096000"/>
              <a:gd name="connsiteY67" fmla="*/ 5090935 h 5694845"/>
              <a:gd name="connsiteX68" fmla="*/ 4475535 w 6096000"/>
              <a:gd name="connsiteY68" fmla="*/ 5076412 h 5694845"/>
              <a:gd name="connsiteX69" fmla="*/ 4454600 w 6096000"/>
              <a:gd name="connsiteY69" fmla="*/ 5086267 h 5694845"/>
              <a:gd name="connsiteX70" fmla="*/ 4433492 w 6096000"/>
              <a:gd name="connsiteY70" fmla="*/ 5071052 h 5694845"/>
              <a:gd name="connsiteX71" fmla="*/ 4496297 w 6096000"/>
              <a:gd name="connsiteY71" fmla="*/ 5071052 h 5694845"/>
              <a:gd name="connsiteX72" fmla="*/ 4496816 w 6096000"/>
              <a:gd name="connsiteY72" fmla="*/ 5061889 h 5694845"/>
              <a:gd name="connsiteX73" fmla="*/ 4453735 w 6096000"/>
              <a:gd name="connsiteY73" fmla="*/ 5019701 h 5694845"/>
              <a:gd name="connsiteX74" fmla="*/ 5396593 w 6096000"/>
              <a:gd name="connsiteY74" fmla="*/ 4994112 h 5694845"/>
              <a:gd name="connsiteX75" fmla="*/ 5370466 w 6096000"/>
              <a:gd name="connsiteY75" fmla="*/ 5021603 h 5694845"/>
              <a:gd name="connsiteX76" fmla="*/ 5370466 w 6096000"/>
              <a:gd name="connsiteY76" fmla="*/ 5108052 h 5694845"/>
              <a:gd name="connsiteX77" fmla="*/ 5396593 w 6096000"/>
              <a:gd name="connsiteY77" fmla="*/ 5108052 h 5694845"/>
              <a:gd name="connsiteX78" fmla="*/ 5396593 w 6096000"/>
              <a:gd name="connsiteY78" fmla="*/ 5044253 h 5694845"/>
              <a:gd name="connsiteX79" fmla="*/ 5420814 w 6096000"/>
              <a:gd name="connsiteY79" fmla="*/ 5044253 h 5694845"/>
              <a:gd name="connsiteX80" fmla="*/ 5420814 w 6096000"/>
              <a:gd name="connsiteY80" fmla="*/ 5021603 h 5694845"/>
              <a:gd name="connsiteX81" fmla="*/ 5396593 w 6096000"/>
              <a:gd name="connsiteY81" fmla="*/ 5021603 h 5694845"/>
              <a:gd name="connsiteX82" fmla="*/ 4714792 w 6096000"/>
              <a:gd name="connsiteY82" fmla="*/ 4994112 h 5694845"/>
              <a:gd name="connsiteX83" fmla="*/ 4688666 w 6096000"/>
              <a:gd name="connsiteY83" fmla="*/ 5021603 h 5694845"/>
              <a:gd name="connsiteX84" fmla="*/ 4688666 w 6096000"/>
              <a:gd name="connsiteY84" fmla="*/ 5108052 h 5694845"/>
              <a:gd name="connsiteX85" fmla="*/ 4714792 w 6096000"/>
              <a:gd name="connsiteY85" fmla="*/ 5108052 h 5694845"/>
              <a:gd name="connsiteX86" fmla="*/ 4714792 w 6096000"/>
              <a:gd name="connsiteY86" fmla="*/ 5044253 h 5694845"/>
              <a:gd name="connsiteX87" fmla="*/ 4739013 w 6096000"/>
              <a:gd name="connsiteY87" fmla="*/ 5044253 h 5694845"/>
              <a:gd name="connsiteX88" fmla="*/ 4739013 w 6096000"/>
              <a:gd name="connsiteY88" fmla="*/ 5021603 h 5694845"/>
              <a:gd name="connsiteX89" fmla="*/ 4714792 w 6096000"/>
              <a:gd name="connsiteY89" fmla="*/ 5021603 h 5694845"/>
              <a:gd name="connsiteX90" fmla="*/ 4992283 w 6096000"/>
              <a:gd name="connsiteY90" fmla="*/ 4985296 h 5694845"/>
              <a:gd name="connsiteX91" fmla="*/ 4992283 w 6096000"/>
              <a:gd name="connsiteY91" fmla="*/ 5108052 h 5694845"/>
              <a:gd name="connsiteX92" fmla="*/ 5019793 w 6096000"/>
              <a:gd name="connsiteY92" fmla="*/ 5108052 h 5694845"/>
              <a:gd name="connsiteX93" fmla="*/ 5019793 w 6096000"/>
              <a:gd name="connsiteY93" fmla="*/ 5059468 h 5694845"/>
              <a:gd name="connsiteX94" fmla="*/ 5069275 w 6096000"/>
              <a:gd name="connsiteY94" fmla="*/ 5059468 h 5694845"/>
              <a:gd name="connsiteX95" fmla="*/ 5069275 w 6096000"/>
              <a:gd name="connsiteY95" fmla="*/ 5108052 h 5694845"/>
              <a:gd name="connsiteX96" fmla="*/ 5096784 w 6096000"/>
              <a:gd name="connsiteY96" fmla="*/ 5108052 h 5694845"/>
              <a:gd name="connsiteX97" fmla="*/ 5096784 w 6096000"/>
              <a:gd name="connsiteY97" fmla="*/ 4985296 h 5694845"/>
              <a:gd name="connsiteX98" fmla="*/ 5069275 w 6096000"/>
              <a:gd name="connsiteY98" fmla="*/ 4985296 h 5694845"/>
              <a:gd name="connsiteX99" fmla="*/ 5069275 w 6096000"/>
              <a:gd name="connsiteY99" fmla="*/ 5033360 h 5694845"/>
              <a:gd name="connsiteX100" fmla="*/ 5019793 w 6096000"/>
              <a:gd name="connsiteY100" fmla="*/ 5033360 h 5694845"/>
              <a:gd name="connsiteX101" fmla="*/ 5019793 w 6096000"/>
              <a:gd name="connsiteY101" fmla="*/ 4985296 h 5694845"/>
              <a:gd name="connsiteX102" fmla="*/ 4288512 w 6096000"/>
              <a:gd name="connsiteY102" fmla="*/ 4985296 h 5694845"/>
              <a:gd name="connsiteX103" fmla="*/ 4288512 w 6096000"/>
              <a:gd name="connsiteY103" fmla="*/ 5069710 h 5694845"/>
              <a:gd name="connsiteX104" fmla="*/ 4316020 w 6096000"/>
              <a:gd name="connsiteY104" fmla="*/ 5097200 h 5694845"/>
              <a:gd name="connsiteX105" fmla="*/ 4316020 w 6096000"/>
              <a:gd name="connsiteY105" fmla="*/ 5059468 h 5694845"/>
              <a:gd name="connsiteX106" fmla="*/ 4365504 w 6096000"/>
              <a:gd name="connsiteY106" fmla="*/ 5059468 h 5694845"/>
              <a:gd name="connsiteX107" fmla="*/ 4365504 w 6096000"/>
              <a:gd name="connsiteY107" fmla="*/ 5108052 h 5694845"/>
              <a:gd name="connsiteX108" fmla="*/ 4393013 w 6096000"/>
              <a:gd name="connsiteY108" fmla="*/ 5108052 h 5694845"/>
              <a:gd name="connsiteX109" fmla="*/ 4393013 w 6096000"/>
              <a:gd name="connsiteY109" fmla="*/ 4985296 h 5694845"/>
              <a:gd name="connsiteX110" fmla="*/ 4365504 w 6096000"/>
              <a:gd name="connsiteY110" fmla="*/ 4985296 h 5694845"/>
              <a:gd name="connsiteX111" fmla="*/ 4365504 w 6096000"/>
              <a:gd name="connsiteY111" fmla="*/ 5033360 h 5694845"/>
              <a:gd name="connsiteX112" fmla="*/ 4316020 w 6096000"/>
              <a:gd name="connsiteY112" fmla="*/ 5033360 h 5694845"/>
              <a:gd name="connsiteX113" fmla="*/ 4316020 w 6096000"/>
              <a:gd name="connsiteY113" fmla="*/ 4985296 h 5694845"/>
              <a:gd name="connsiteX114" fmla="*/ 5434130 w 6096000"/>
              <a:gd name="connsiteY114" fmla="*/ 4978379 h 5694845"/>
              <a:gd name="connsiteX115" fmla="*/ 5434130 w 6096000"/>
              <a:gd name="connsiteY115" fmla="*/ 5108052 h 5694845"/>
              <a:gd name="connsiteX116" fmla="*/ 5460257 w 6096000"/>
              <a:gd name="connsiteY116" fmla="*/ 5108052 h 5694845"/>
              <a:gd name="connsiteX117" fmla="*/ 5460257 w 6096000"/>
              <a:gd name="connsiteY117" fmla="*/ 5066037 h 5694845"/>
              <a:gd name="connsiteX118" fmla="*/ 5477731 w 6096000"/>
              <a:gd name="connsiteY118" fmla="*/ 5043388 h 5694845"/>
              <a:gd name="connsiteX119" fmla="*/ 5491744 w 6096000"/>
              <a:gd name="connsiteY119" fmla="*/ 5062579 h 5694845"/>
              <a:gd name="connsiteX120" fmla="*/ 5491744 w 6096000"/>
              <a:gd name="connsiteY120" fmla="*/ 5108052 h 5694845"/>
              <a:gd name="connsiteX121" fmla="*/ 5517870 w 6096000"/>
              <a:gd name="connsiteY121" fmla="*/ 5108052 h 5694845"/>
              <a:gd name="connsiteX122" fmla="*/ 5517870 w 6096000"/>
              <a:gd name="connsiteY122" fmla="*/ 5058085 h 5694845"/>
              <a:gd name="connsiteX123" fmla="*/ 5484305 w 6096000"/>
              <a:gd name="connsiteY123" fmla="*/ 5019701 h 5694845"/>
              <a:gd name="connsiteX124" fmla="*/ 5460257 w 6096000"/>
              <a:gd name="connsiteY124" fmla="*/ 5030422 h 5694845"/>
              <a:gd name="connsiteX125" fmla="*/ 5460257 w 6096000"/>
              <a:gd name="connsiteY125" fmla="*/ 4978379 h 5694845"/>
              <a:gd name="connsiteX126" fmla="*/ 5322892 w 6096000"/>
              <a:gd name="connsiteY126" fmla="*/ 4978379 h 5694845"/>
              <a:gd name="connsiteX127" fmla="*/ 5322892 w 6096000"/>
              <a:gd name="connsiteY127" fmla="*/ 5108052 h 5694845"/>
              <a:gd name="connsiteX128" fmla="*/ 5349018 w 6096000"/>
              <a:gd name="connsiteY128" fmla="*/ 5108052 h 5694845"/>
              <a:gd name="connsiteX129" fmla="*/ 5349018 w 6096000"/>
              <a:gd name="connsiteY129" fmla="*/ 4978379 h 5694845"/>
              <a:gd name="connsiteX130" fmla="*/ 4929143 w 6096000"/>
              <a:gd name="connsiteY130" fmla="*/ 4977342 h 5694845"/>
              <a:gd name="connsiteX131" fmla="*/ 4894366 w 6096000"/>
              <a:gd name="connsiteY131" fmla="*/ 5012095 h 5694845"/>
              <a:gd name="connsiteX132" fmla="*/ 4894366 w 6096000"/>
              <a:gd name="connsiteY132" fmla="*/ 5021603 h 5694845"/>
              <a:gd name="connsiteX133" fmla="*/ 4877066 w 6096000"/>
              <a:gd name="connsiteY133" fmla="*/ 5021603 h 5694845"/>
              <a:gd name="connsiteX134" fmla="*/ 4877066 w 6096000"/>
              <a:gd name="connsiteY134" fmla="*/ 5044253 h 5694845"/>
              <a:gd name="connsiteX135" fmla="*/ 4894366 w 6096000"/>
              <a:gd name="connsiteY135" fmla="*/ 5044253 h 5694845"/>
              <a:gd name="connsiteX136" fmla="*/ 4894366 w 6096000"/>
              <a:gd name="connsiteY136" fmla="*/ 5108052 h 5694845"/>
              <a:gd name="connsiteX137" fmla="*/ 4920492 w 6096000"/>
              <a:gd name="connsiteY137" fmla="*/ 5108052 h 5694845"/>
              <a:gd name="connsiteX138" fmla="*/ 4920492 w 6096000"/>
              <a:gd name="connsiteY138" fmla="*/ 5044253 h 5694845"/>
              <a:gd name="connsiteX139" fmla="*/ 4944715 w 6096000"/>
              <a:gd name="connsiteY139" fmla="*/ 5044253 h 5694845"/>
              <a:gd name="connsiteX140" fmla="*/ 4944715 w 6096000"/>
              <a:gd name="connsiteY140" fmla="*/ 5021603 h 5694845"/>
              <a:gd name="connsiteX141" fmla="*/ 4920492 w 6096000"/>
              <a:gd name="connsiteY141" fmla="*/ 5021603 h 5694845"/>
              <a:gd name="connsiteX142" fmla="*/ 4920492 w 6096000"/>
              <a:gd name="connsiteY142" fmla="*/ 5015379 h 5694845"/>
              <a:gd name="connsiteX143" fmla="*/ 4935372 w 6096000"/>
              <a:gd name="connsiteY143" fmla="*/ 5000683 h 5694845"/>
              <a:gd name="connsiteX144" fmla="*/ 4944715 w 6096000"/>
              <a:gd name="connsiteY144" fmla="*/ 5002238 h 5694845"/>
              <a:gd name="connsiteX145" fmla="*/ 4944715 w 6096000"/>
              <a:gd name="connsiteY145" fmla="*/ 4979243 h 5694845"/>
              <a:gd name="connsiteX146" fmla="*/ 4929143 w 6096000"/>
              <a:gd name="connsiteY146" fmla="*/ 4977342 h 5694845"/>
              <a:gd name="connsiteX147" fmla="*/ 4462900 w 6096000"/>
              <a:gd name="connsiteY147" fmla="*/ 4785693 h 5694845"/>
              <a:gd name="connsiteX148" fmla="*/ 4501880 w 6096000"/>
              <a:gd name="connsiteY148" fmla="*/ 4812182 h 5694845"/>
              <a:gd name="connsiteX149" fmla="*/ 4422342 w 6096000"/>
              <a:gd name="connsiteY149" fmla="*/ 4812182 h 5694845"/>
              <a:gd name="connsiteX150" fmla="*/ 4462900 w 6096000"/>
              <a:gd name="connsiteY150" fmla="*/ 4785693 h 5694845"/>
              <a:gd name="connsiteX151" fmla="*/ 4462576 w 6096000"/>
              <a:gd name="connsiteY151" fmla="*/ 4732866 h 5694845"/>
              <a:gd name="connsiteX152" fmla="*/ 4362359 w 6096000"/>
              <a:gd name="connsiteY152" fmla="*/ 4834776 h 5694845"/>
              <a:gd name="connsiteX153" fmla="*/ 4462900 w 6096000"/>
              <a:gd name="connsiteY153" fmla="*/ 4935416 h 5694845"/>
              <a:gd name="connsiteX154" fmla="*/ 4539313 w 6096000"/>
              <a:gd name="connsiteY154" fmla="*/ 4906069 h 5694845"/>
              <a:gd name="connsiteX155" fmla="*/ 4502388 w 6096000"/>
              <a:gd name="connsiteY155" fmla="*/ 4869239 h 5694845"/>
              <a:gd name="connsiteX156" fmla="*/ 4465139 w 6096000"/>
              <a:gd name="connsiteY156" fmla="*/ 4882518 h 5694845"/>
              <a:gd name="connsiteX157" fmla="*/ 4430371 w 6096000"/>
              <a:gd name="connsiteY157" fmla="*/ 4867802 h 5694845"/>
              <a:gd name="connsiteX158" fmla="*/ 4425413 w 6096000"/>
              <a:gd name="connsiteY158" fmla="*/ 4861843 h 5694845"/>
              <a:gd name="connsiteX159" fmla="*/ 4424348 w 6096000"/>
              <a:gd name="connsiteY159" fmla="*/ 4860249 h 5694845"/>
              <a:gd name="connsiteX160" fmla="*/ 4424327 w 6096000"/>
              <a:gd name="connsiteY160" fmla="*/ 4860249 h 5694845"/>
              <a:gd name="connsiteX161" fmla="*/ 4420185 w 6096000"/>
              <a:gd name="connsiteY161" fmla="*/ 4852637 h 5694845"/>
              <a:gd name="connsiteX162" fmla="*/ 4558927 w 6096000"/>
              <a:gd name="connsiteY162" fmla="*/ 4852637 h 5694845"/>
              <a:gd name="connsiteX163" fmla="*/ 4561214 w 6096000"/>
              <a:gd name="connsiteY163" fmla="*/ 4831907 h 5694845"/>
              <a:gd name="connsiteX164" fmla="*/ 4462576 w 6096000"/>
              <a:gd name="connsiteY164" fmla="*/ 4732866 h 5694845"/>
              <a:gd name="connsiteX165" fmla="*/ 4259514 w 6096000"/>
              <a:gd name="connsiteY165" fmla="*/ 4732855 h 5694845"/>
              <a:gd name="connsiteX166" fmla="*/ 4259514 w 6096000"/>
              <a:gd name="connsiteY166" fmla="*/ 4933746 h 5694845"/>
              <a:gd name="connsiteX167" fmla="*/ 4315977 w 6096000"/>
              <a:gd name="connsiteY167" fmla="*/ 4933746 h 5694845"/>
              <a:gd name="connsiteX168" fmla="*/ 4315977 w 6096000"/>
              <a:gd name="connsiteY168" fmla="*/ 4784407 h 5694845"/>
              <a:gd name="connsiteX169" fmla="*/ 4361369 w 6096000"/>
              <a:gd name="connsiteY169" fmla="*/ 4784407 h 5694845"/>
              <a:gd name="connsiteX170" fmla="*/ 4361369 w 6096000"/>
              <a:gd name="connsiteY170" fmla="*/ 4732855 h 5694845"/>
              <a:gd name="connsiteX171" fmla="*/ 4677980 w 6096000"/>
              <a:gd name="connsiteY171" fmla="*/ 4732833 h 5694845"/>
              <a:gd name="connsiteX172" fmla="*/ 4677028 w 6096000"/>
              <a:gd name="connsiteY172" fmla="*/ 4732898 h 5694845"/>
              <a:gd name="connsiteX173" fmla="*/ 4576930 w 6096000"/>
              <a:gd name="connsiteY173" fmla="*/ 4833538 h 5694845"/>
              <a:gd name="connsiteX174" fmla="*/ 4678369 w 6096000"/>
              <a:gd name="connsiteY174" fmla="*/ 4935448 h 5694845"/>
              <a:gd name="connsiteX175" fmla="*/ 4758107 w 6096000"/>
              <a:gd name="connsiteY175" fmla="*/ 4898251 h 5694845"/>
              <a:gd name="connsiteX176" fmla="*/ 4762291 w 6096000"/>
              <a:gd name="connsiteY176" fmla="*/ 4893345 h 5694845"/>
              <a:gd name="connsiteX177" fmla="*/ 4726280 w 6096000"/>
              <a:gd name="connsiteY177" fmla="*/ 4857304 h 5694845"/>
              <a:gd name="connsiteX178" fmla="*/ 4721182 w 6096000"/>
              <a:gd name="connsiteY178" fmla="*/ 4862442 h 5694845"/>
              <a:gd name="connsiteX179" fmla="*/ 4679299 w 6096000"/>
              <a:gd name="connsiteY179" fmla="*/ 4882610 h 5694845"/>
              <a:gd name="connsiteX180" fmla="*/ 4633404 w 6096000"/>
              <a:gd name="connsiteY180" fmla="*/ 4834181 h 5694845"/>
              <a:gd name="connsiteX181" fmla="*/ 4678169 w 6096000"/>
              <a:gd name="connsiteY181" fmla="*/ 4785703 h 5694845"/>
              <a:gd name="connsiteX182" fmla="*/ 4679131 w 6096000"/>
              <a:gd name="connsiteY182" fmla="*/ 4785638 h 5694845"/>
              <a:gd name="connsiteX183" fmla="*/ 4721160 w 6096000"/>
              <a:gd name="connsiteY183" fmla="*/ 4805796 h 5694845"/>
              <a:gd name="connsiteX184" fmla="*/ 4726258 w 6096000"/>
              <a:gd name="connsiteY184" fmla="*/ 4810912 h 5694845"/>
              <a:gd name="connsiteX185" fmla="*/ 4762291 w 6096000"/>
              <a:gd name="connsiteY185" fmla="*/ 4774909 h 5694845"/>
              <a:gd name="connsiteX186" fmla="*/ 4758096 w 6096000"/>
              <a:gd name="connsiteY186" fmla="*/ 4769993 h 5694845"/>
              <a:gd name="connsiteX187" fmla="*/ 4677980 w 6096000"/>
              <a:gd name="connsiteY187" fmla="*/ 4732833 h 5694845"/>
              <a:gd name="connsiteX188" fmla="*/ 4061389 w 6096000"/>
              <a:gd name="connsiteY188" fmla="*/ 4699876 h 5694845"/>
              <a:gd name="connsiteX189" fmla="*/ 4061389 w 6096000"/>
              <a:gd name="connsiteY189" fmla="*/ 4826909 h 5694845"/>
              <a:gd name="connsiteX190" fmla="*/ 4060416 w 6096000"/>
              <a:gd name="connsiteY190" fmla="*/ 4841770 h 5694845"/>
              <a:gd name="connsiteX191" fmla="*/ 4060416 w 6096000"/>
              <a:gd name="connsiteY191" fmla="*/ 4841770 h 5694845"/>
              <a:gd name="connsiteX192" fmla="*/ 4060416 w 6096000"/>
              <a:gd name="connsiteY192" fmla="*/ 4841771 h 5694845"/>
              <a:gd name="connsiteX193" fmla="*/ 3918482 w 6096000"/>
              <a:gd name="connsiteY193" fmla="*/ 4699935 h 5694845"/>
              <a:gd name="connsiteX194" fmla="*/ 3918482 w 6096000"/>
              <a:gd name="connsiteY194" fmla="*/ 4826908 h 5694845"/>
              <a:gd name="connsiteX195" fmla="*/ 3936047 w 6096000"/>
              <a:gd name="connsiteY195" fmla="*/ 4894861 h 5694845"/>
              <a:gd name="connsiteX196" fmla="*/ 4020094 w 6096000"/>
              <a:gd name="connsiteY196" fmla="*/ 4935349 h 5694845"/>
              <a:gd name="connsiteX197" fmla="*/ 4104141 w 6096000"/>
              <a:gd name="connsiteY197" fmla="*/ 4894861 h 5694845"/>
              <a:gd name="connsiteX198" fmla="*/ 4107893 w 6096000"/>
              <a:gd name="connsiteY198" fmla="*/ 4889215 h 5694845"/>
              <a:gd name="connsiteX199" fmla="*/ 4107892 w 6096000"/>
              <a:gd name="connsiteY199" fmla="*/ 4889213 h 5694845"/>
              <a:gd name="connsiteX200" fmla="*/ 4107894 w 6096000"/>
              <a:gd name="connsiteY200" fmla="*/ 4889215 h 5694845"/>
              <a:gd name="connsiteX201" fmla="*/ 4121706 w 6096000"/>
              <a:gd name="connsiteY201" fmla="*/ 4826908 h 5694845"/>
              <a:gd name="connsiteX202" fmla="*/ 4121706 w 6096000"/>
              <a:gd name="connsiteY202" fmla="*/ 4699876 h 5694845"/>
              <a:gd name="connsiteX203" fmla="*/ 4205101 w 6096000"/>
              <a:gd name="connsiteY203" fmla="*/ 4676225 h 5694845"/>
              <a:gd name="connsiteX204" fmla="*/ 4148626 w 6096000"/>
              <a:gd name="connsiteY204" fmla="*/ 4732866 h 5694845"/>
              <a:gd name="connsiteX205" fmla="*/ 4148626 w 6096000"/>
              <a:gd name="connsiteY205" fmla="*/ 4933747 h 5694845"/>
              <a:gd name="connsiteX206" fmla="*/ 4205101 w 6096000"/>
              <a:gd name="connsiteY206" fmla="*/ 4933747 h 5694845"/>
              <a:gd name="connsiteX207" fmla="*/ 4205101 w 6096000"/>
              <a:gd name="connsiteY207" fmla="*/ 4784407 h 5694845"/>
              <a:gd name="connsiteX208" fmla="*/ 4241766 w 6096000"/>
              <a:gd name="connsiteY208" fmla="*/ 4784407 h 5694845"/>
              <a:gd name="connsiteX209" fmla="*/ 4241766 w 6096000"/>
              <a:gd name="connsiteY209" fmla="*/ 4732856 h 5694845"/>
              <a:gd name="connsiteX210" fmla="*/ 4205101 w 6096000"/>
              <a:gd name="connsiteY210" fmla="*/ 4732856 h 5694845"/>
              <a:gd name="connsiteX211" fmla="*/ 4838996 w 6096000"/>
              <a:gd name="connsiteY211" fmla="*/ 4676144 h 5694845"/>
              <a:gd name="connsiteX212" fmla="*/ 4782532 w 6096000"/>
              <a:gd name="connsiteY212" fmla="*/ 4732867 h 5694845"/>
              <a:gd name="connsiteX213" fmla="*/ 4782532 w 6096000"/>
              <a:gd name="connsiteY213" fmla="*/ 4933746 h 5694845"/>
              <a:gd name="connsiteX214" fmla="*/ 4838996 w 6096000"/>
              <a:gd name="connsiteY214" fmla="*/ 4933746 h 5694845"/>
              <a:gd name="connsiteX215" fmla="*/ 4838996 w 6096000"/>
              <a:gd name="connsiteY215" fmla="*/ 4833015 h 5694845"/>
              <a:gd name="connsiteX216" fmla="*/ 4867752 w 6096000"/>
              <a:gd name="connsiteY216" fmla="*/ 4785844 h 5694845"/>
              <a:gd name="connsiteX217" fmla="*/ 4897152 w 6096000"/>
              <a:gd name="connsiteY217" fmla="*/ 4832377 h 5694845"/>
              <a:gd name="connsiteX218" fmla="*/ 4897152 w 6096000"/>
              <a:gd name="connsiteY218" fmla="*/ 4933746 h 5694845"/>
              <a:gd name="connsiteX219" fmla="*/ 4953615 w 6096000"/>
              <a:gd name="connsiteY219" fmla="*/ 4933746 h 5694845"/>
              <a:gd name="connsiteX220" fmla="*/ 4953615 w 6096000"/>
              <a:gd name="connsiteY220" fmla="*/ 4823144 h 5694845"/>
              <a:gd name="connsiteX221" fmla="*/ 4938072 w 6096000"/>
              <a:gd name="connsiteY221" fmla="*/ 4762765 h 5694845"/>
              <a:gd name="connsiteX222" fmla="*/ 4877965 w 6096000"/>
              <a:gd name="connsiteY222" fmla="*/ 4733012 h 5694845"/>
              <a:gd name="connsiteX223" fmla="*/ 4838996 w 6096000"/>
              <a:gd name="connsiteY223" fmla="*/ 4743990 h 5694845"/>
              <a:gd name="connsiteX224" fmla="*/ 5037771 w 6096000"/>
              <a:gd name="connsiteY224" fmla="*/ 4676143 h 5694845"/>
              <a:gd name="connsiteX225" fmla="*/ 4981307 w 6096000"/>
              <a:gd name="connsiteY225" fmla="*/ 4732866 h 5694845"/>
              <a:gd name="connsiteX226" fmla="*/ 4981307 w 6096000"/>
              <a:gd name="connsiteY226" fmla="*/ 4933745 h 5694845"/>
              <a:gd name="connsiteX227" fmla="*/ 5037771 w 6096000"/>
              <a:gd name="connsiteY227" fmla="*/ 4933745 h 5694845"/>
              <a:gd name="connsiteX228" fmla="*/ 5037771 w 6096000"/>
              <a:gd name="connsiteY228" fmla="*/ 4784331 h 5694845"/>
              <a:gd name="connsiteX229" fmla="*/ 5074447 w 6096000"/>
              <a:gd name="connsiteY229" fmla="*/ 4784331 h 5694845"/>
              <a:gd name="connsiteX230" fmla="*/ 5074447 w 6096000"/>
              <a:gd name="connsiteY230" fmla="*/ 4732779 h 5694845"/>
              <a:gd name="connsiteX231" fmla="*/ 5037771 w 6096000"/>
              <a:gd name="connsiteY231" fmla="*/ 4732779 h 5694845"/>
              <a:gd name="connsiteX232" fmla="*/ 4656824 w 6096000"/>
              <a:gd name="connsiteY232" fmla="*/ 0 h 5694845"/>
              <a:gd name="connsiteX233" fmla="*/ 6096000 w 6096000"/>
              <a:gd name="connsiteY233" fmla="*/ 0 h 5694845"/>
              <a:gd name="connsiteX234" fmla="*/ 6096000 w 6096000"/>
              <a:gd name="connsiteY234" fmla="*/ 3891478 h 5694845"/>
              <a:gd name="connsiteX235" fmla="*/ 6096000 w 6096000"/>
              <a:gd name="connsiteY235" fmla="*/ 4014054 h 5694845"/>
              <a:gd name="connsiteX236" fmla="*/ 6096000 w 6096000"/>
              <a:gd name="connsiteY236" fmla="*/ 5694845 h 5694845"/>
              <a:gd name="connsiteX237" fmla="*/ 4415318 w 6096000"/>
              <a:gd name="connsiteY237" fmla="*/ 5694845 h 5694845"/>
              <a:gd name="connsiteX238" fmla="*/ 4276814 w 6096000"/>
              <a:gd name="connsiteY238" fmla="*/ 5694845 h 5694845"/>
              <a:gd name="connsiteX239" fmla="*/ 194959 w 6096000"/>
              <a:gd name="connsiteY239" fmla="*/ 5694845 h 5694845"/>
              <a:gd name="connsiteX240" fmla="*/ 153490 w 6096000"/>
              <a:gd name="connsiteY240" fmla="*/ 5555204 h 5694845"/>
              <a:gd name="connsiteX241" fmla="*/ 0 w 6096000"/>
              <a:gd name="connsiteY241" fmla="*/ 4360902 h 5694845"/>
              <a:gd name="connsiteX242" fmla="*/ 1738674 w 6096000"/>
              <a:gd name="connsiteY242" fmla="*/ 754023 h 5694845"/>
              <a:gd name="connsiteX243" fmla="*/ 4656824 w 6096000"/>
              <a:gd name="connsiteY243" fmla="*/ 0 h 569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6096000" h="5694845">
                <a:moveTo>
                  <a:pt x="4824647" y="5044080"/>
                </a:moveTo>
                <a:cubicBezTo>
                  <a:pt x="4835548" y="5044080"/>
                  <a:pt x="4843853" y="5052552"/>
                  <a:pt x="4843853" y="5064827"/>
                </a:cubicBezTo>
                <a:cubicBezTo>
                  <a:pt x="4843853" y="5077103"/>
                  <a:pt x="4835548" y="5085574"/>
                  <a:pt x="4824647" y="5085574"/>
                </a:cubicBezTo>
                <a:cubicBezTo>
                  <a:pt x="4813748" y="5085574"/>
                  <a:pt x="4805442" y="5077103"/>
                  <a:pt x="4805442" y="5064827"/>
                </a:cubicBezTo>
                <a:cubicBezTo>
                  <a:pt x="4805442" y="5052552"/>
                  <a:pt x="4813748" y="5044080"/>
                  <a:pt x="4824647" y="5044080"/>
                </a:cubicBezTo>
                <a:close/>
                <a:moveTo>
                  <a:pt x="5257674" y="5043388"/>
                </a:moveTo>
                <a:cubicBezTo>
                  <a:pt x="5269439" y="5043388"/>
                  <a:pt x="5277396" y="5052379"/>
                  <a:pt x="5277396" y="5064827"/>
                </a:cubicBezTo>
                <a:cubicBezTo>
                  <a:pt x="5277396" y="5077276"/>
                  <a:pt x="5269439" y="5086267"/>
                  <a:pt x="5257674" y="5086267"/>
                </a:cubicBezTo>
                <a:cubicBezTo>
                  <a:pt x="5245908" y="5086267"/>
                  <a:pt x="5237950" y="5077276"/>
                  <a:pt x="5237950" y="5064827"/>
                </a:cubicBezTo>
                <a:cubicBezTo>
                  <a:pt x="5237950" y="5052379"/>
                  <a:pt x="5245908" y="5043388"/>
                  <a:pt x="5257674" y="5043388"/>
                </a:cubicBezTo>
                <a:close/>
                <a:moveTo>
                  <a:pt x="4553903" y="5043388"/>
                </a:moveTo>
                <a:cubicBezTo>
                  <a:pt x="4565668" y="5043388"/>
                  <a:pt x="4573626" y="5052379"/>
                  <a:pt x="4573626" y="5064827"/>
                </a:cubicBezTo>
                <a:cubicBezTo>
                  <a:pt x="4573626" y="5077276"/>
                  <a:pt x="4565668" y="5086267"/>
                  <a:pt x="4553903" y="5086267"/>
                </a:cubicBezTo>
                <a:cubicBezTo>
                  <a:pt x="4542137" y="5086267"/>
                  <a:pt x="4534179" y="5077276"/>
                  <a:pt x="4534179" y="5064827"/>
                </a:cubicBezTo>
                <a:cubicBezTo>
                  <a:pt x="4534179" y="5052379"/>
                  <a:pt x="4542137" y="5043388"/>
                  <a:pt x="4553903" y="5043388"/>
                </a:cubicBezTo>
                <a:close/>
                <a:moveTo>
                  <a:pt x="5156814" y="5040967"/>
                </a:moveTo>
                <a:cubicBezTo>
                  <a:pt x="5164426" y="5040967"/>
                  <a:pt x="5172386" y="5044771"/>
                  <a:pt x="5174634" y="5053935"/>
                </a:cubicBezTo>
                <a:lnTo>
                  <a:pt x="5137955" y="5053935"/>
                </a:lnTo>
                <a:cubicBezTo>
                  <a:pt x="5140204" y="5044425"/>
                  <a:pt x="5149201" y="5040967"/>
                  <a:pt x="5156814" y="5040967"/>
                </a:cubicBezTo>
                <a:close/>
                <a:moveTo>
                  <a:pt x="4453043" y="5040967"/>
                </a:moveTo>
                <a:cubicBezTo>
                  <a:pt x="4460655" y="5040967"/>
                  <a:pt x="4468615" y="5044771"/>
                  <a:pt x="4470863" y="5053935"/>
                </a:cubicBezTo>
                <a:lnTo>
                  <a:pt x="4434184" y="5053935"/>
                </a:lnTo>
                <a:cubicBezTo>
                  <a:pt x="4436433" y="5044425"/>
                  <a:pt x="4445430" y="5040967"/>
                  <a:pt x="4453043" y="5040967"/>
                </a:cubicBezTo>
                <a:close/>
                <a:moveTo>
                  <a:pt x="4619119" y="5021603"/>
                </a:moveTo>
                <a:lnTo>
                  <a:pt x="4619119" y="5108052"/>
                </a:lnTo>
                <a:lnTo>
                  <a:pt x="4645246" y="5108052"/>
                </a:lnTo>
                <a:lnTo>
                  <a:pt x="4645246" y="5044253"/>
                </a:lnTo>
                <a:lnTo>
                  <a:pt x="4674312" y="5044253"/>
                </a:lnTo>
                <a:lnTo>
                  <a:pt x="4674312" y="5021603"/>
                </a:lnTo>
                <a:close/>
                <a:moveTo>
                  <a:pt x="5251790" y="5019701"/>
                </a:moveTo>
                <a:cubicBezTo>
                  <a:pt x="5229126" y="5019701"/>
                  <a:pt x="5211651" y="5040277"/>
                  <a:pt x="5211651" y="5064827"/>
                </a:cubicBezTo>
                <a:cubicBezTo>
                  <a:pt x="5211651" y="5089379"/>
                  <a:pt x="5229126" y="5109952"/>
                  <a:pt x="5251790" y="5109952"/>
                </a:cubicBezTo>
                <a:cubicBezTo>
                  <a:pt x="5263382" y="5109952"/>
                  <a:pt x="5271860" y="5104076"/>
                  <a:pt x="5275322" y="5099407"/>
                </a:cubicBezTo>
                <a:lnTo>
                  <a:pt x="5275322" y="5108052"/>
                </a:lnTo>
                <a:lnTo>
                  <a:pt x="5301447" y="5108052"/>
                </a:lnTo>
                <a:lnTo>
                  <a:pt x="5301447" y="5021603"/>
                </a:lnTo>
                <a:lnTo>
                  <a:pt x="5275322" y="5021603"/>
                </a:lnTo>
                <a:lnTo>
                  <a:pt x="5275322" y="5030248"/>
                </a:lnTo>
                <a:cubicBezTo>
                  <a:pt x="5271860" y="5025580"/>
                  <a:pt x="5263382" y="5019701"/>
                  <a:pt x="5251790" y="5019701"/>
                </a:cubicBezTo>
                <a:close/>
                <a:moveTo>
                  <a:pt x="5157506" y="5019701"/>
                </a:moveTo>
                <a:cubicBezTo>
                  <a:pt x="5131207" y="5019701"/>
                  <a:pt x="5112003" y="5039066"/>
                  <a:pt x="5112003" y="5064827"/>
                </a:cubicBezTo>
                <a:cubicBezTo>
                  <a:pt x="5112003" y="5092664"/>
                  <a:pt x="5132591" y="5109952"/>
                  <a:pt x="5158025" y="5109952"/>
                </a:cubicBezTo>
                <a:cubicBezTo>
                  <a:pt x="5176192" y="5109952"/>
                  <a:pt x="5190551" y="5102346"/>
                  <a:pt x="5198684" y="5090935"/>
                </a:cubicBezTo>
                <a:lnTo>
                  <a:pt x="5179306" y="5076412"/>
                </a:lnTo>
                <a:cubicBezTo>
                  <a:pt x="5176018" y="5081425"/>
                  <a:pt x="5168405" y="5086267"/>
                  <a:pt x="5158371" y="5086267"/>
                </a:cubicBezTo>
                <a:cubicBezTo>
                  <a:pt x="5148509" y="5086267"/>
                  <a:pt x="5138820" y="5081425"/>
                  <a:pt x="5137263" y="5071052"/>
                </a:cubicBezTo>
                <a:lnTo>
                  <a:pt x="5200068" y="5071052"/>
                </a:lnTo>
                <a:cubicBezTo>
                  <a:pt x="5200587" y="5066901"/>
                  <a:pt x="5200587" y="5064136"/>
                  <a:pt x="5200587" y="5061889"/>
                </a:cubicBezTo>
                <a:cubicBezTo>
                  <a:pt x="5200587" y="5033879"/>
                  <a:pt x="5180343" y="5019701"/>
                  <a:pt x="5157506" y="5019701"/>
                </a:cubicBezTo>
                <a:close/>
                <a:moveTo>
                  <a:pt x="4824647" y="5019701"/>
                </a:moveTo>
                <a:cubicBezTo>
                  <a:pt x="4799734" y="5019701"/>
                  <a:pt x="4779145" y="5039412"/>
                  <a:pt x="4779145" y="5064827"/>
                </a:cubicBezTo>
                <a:cubicBezTo>
                  <a:pt x="4779145" y="5090243"/>
                  <a:pt x="4799734" y="5109952"/>
                  <a:pt x="4824647" y="5109952"/>
                </a:cubicBezTo>
                <a:cubicBezTo>
                  <a:pt x="4849562" y="5109952"/>
                  <a:pt x="4870150" y="5090243"/>
                  <a:pt x="4870150" y="5064827"/>
                </a:cubicBezTo>
                <a:cubicBezTo>
                  <a:pt x="4870150" y="5039412"/>
                  <a:pt x="4849562" y="5019701"/>
                  <a:pt x="4824647" y="5019701"/>
                </a:cubicBezTo>
                <a:close/>
                <a:moveTo>
                  <a:pt x="4548019" y="5019701"/>
                </a:moveTo>
                <a:cubicBezTo>
                  <a:pt x="4525355" y="5019701"/>
                  <a:pt x="4507880" y="5040277"/>
                  <a:pt x="4507880" y="5064827"/>
                </a:cubicBezTo>
                <a:cubicBezTo>
                  <a:pt x="4507880" y="5089379"/>
                  <a:pt x="4525355" y="5109952"/>
                  <a:pt x="4548019" y="5109952"/>
                </a:cubicBezTo>
                <a:cubicBezTo>
                  <a:pt x="4559611" y="5109952"/>
                  <a:pt x="4568089" y="5104076"/>
                  <a:pt x="4571549" y="5099407"/>
                </a:cubicBezTo>
                <a:lnTo>
                  <a:pt x="4571549" y="5108052"/>
                </a:lnTo>
                <a:lnTo>
                  <a:pt x="4597676" y="5108052"/>
                </a:lnTo>
                <a:lnTo>
                  <a:pt x="4597676" y="5021603"/>
                </a:lnTo>
                <a:lnTo>
                  <a:pt x="4571549" y="5021603"/>
                </a:lnTo>
                <a:lnTo>
                  <a:pt x="4571549" y="5030248"/>
                </a:lnTo>
                <a:cubicBezTo>
                  <a:pt x="4568089" y="5025580"/>
                  <a:pt x="4559611" y="5019701"/>
                  <a:pt x="4548019" y="5019701"/>
                </a:cubicBezTo>
                <a:close/>
                <a:moveTo>
                  <a:pt x="4453735" y="5019701"/>
                </a:moveTo>
                <a:cubicBezTo>
                  <a:pt x="4427437" y="5019701"/>
                  <a:pt x="4408232" y="5039066"/>
                  <a:pt x="4408232" y="5064827"/>
                </a:cubicBezTo>
                <a:cubicBezTo>
                  <a:pt x="4408232" y="5092664"/>
                  <a:pt x="4428820" y="5109952"/>
                  <a:pt x="4454254" y="5109952"/>
                </a:cubicBezTo>
                <a:cubicBezTo>
                  <a:pt x="4472419" y="5109952"/>
                  <a:pt x="4486780" y="5102346"/>
                  <a:pt x="4494911" y="5090935"/>
                </a:cubicBezTo>
                <a:lnTo>
                  <a:pt x="4475535" y="5076412"/>
                </a:lnTo>
                <a:cubicBezTo>
                  <a:pt x="4472247" y="5081425"/>
                  <a:pt x="4464634" y="5086267"/>
                  <a:pt x="4454600" y="5086267"/>
                </a:cubicBezTo>
                <a:cubicBezTo>
                  <a:pt x="4444737" y="5086267"/>
                  <a:pt x="4435049" y="5081425"/>
                  <a:pt x="4433492" y="5071052"/>
                </a:cubicBezTo>
                <a:lnTo>
                  <a:pt x="4496297" y="5071052"/>
                </a:lnTo>
                <a:cubicBezTo>
                  <a:pt x="4496816" y="5066901"/>
                  <a:pt x="4496816" y="5064136"/>
                  <a:pt x="4496816" y="5061889"/>
                </a:cubicBezTo>
                <a:cubicBezTo>
                  <a:pt x="4496816" y="5033879"/>
                  <a:pt x="4476572" y="5019701"/>
                  <a:pt x="4453735" y="5019701"/>
                </a:cubicBezTo>
                <a:close/>
                <a:moveTo>
                  <a:pt x="5396593" y="4994112"/>
                </a:moveTo>
                <a:lnTo>
                  <a:pt x="5370466" y="5021603"/>
                </a:lnTo>
                <a:lnTo>
                  <a:pt x="5370466" y="5108052"/>
                </a:lnTo>
                <a:lnTo>
                  <a:pt x="5396593" y="5108052"/>
                </a:lnTo>
                <a:lnTo>
                  <a:pt x="5396593" y="5044253"/>
                </a:lnTo>
                <a:lnTo>
                  <a:pt x="5420814" y="5044253"/>
                </a:lnTo>
                <a:lnTo>
                  <a:pt x="5420814" y="5021603"/>
                </a:lnTo>
                <a:lnTo>
                  <a:pt x="5396593" y="5021603"/>
                </a:lnTo>
                <a:close/>
                <a:moveTo>
                  <a:pt x="4714792" y="4994112"/>
                </a:moveTo>
                <a:lnTo>
                  <a:pt x="4688666" y="5021603"/>
                </a:lnTo>
                <a:lnTo>
                  <a:pt x="4688666" y="5108052"/>
                </a:lnTo>
                <a:lnTo>
                  <a:pt x="4714792" y="5108052"/>
                </a:lnTo>
                <a:lnTo>
                  <a:pt x="4714792" y="5044253"/>
                </a:lnTo>
                <a:lnTo>
                  <a:pt x="4739013" y="5044253"/>
                </a:lnTo>
                <a:lnTo>
                  <a:pt x="4739013" y="5021603"/>
                </a:lnTo>
                <a:lnTo>
                  <a:pt x="4714792" y="5021603"/>
                </a:lnTo>
                <a:close/>
                <a:moveTo>
                  <a:pt x="4992283" y="4985296"/>
                </a:moveTo>
                <a:lnTo>
                  <a:pt x="4992283" y="5108052"/>
                </a:lnTo>
                <a:lnTo>
                  <a:pt x="5019793" y="5108052"/>
                </a:lnTo>
                <a:lnTo>
                  <a:pt x="5019793" y="5059468"/>
                </a:lnTo>
                <a:lnTo>
                  <a:pt x="5069275" y="5059468"/>
                </a:lnTo>
                <a:lnTo>
                  <a:pt x="5069275" y="5108052"/>
                </a:lnTo>
                <a:lnTo>
                  <a:pt x="5096784" y="5108052"/>
                </a:lnTo>
                <a:lnTo>
                  <a:pt x="5096784" y="4985296"/>
                </a:lnTo>
                <a:lnTo>
                  <a:pt x="5069275" y="4985296"/>
                </a:lnTo>
                <a:lnTo>
                  <a:pt x="5069275" y="5033360"/>
                </a:lnTo>
                <a:lnTo>
                  <a:pt x="5019793" y="5033360"/>
                </a:lnTo>
                <a:lnTo>
                  <a:pt x="5019793" y="4985296"/>
                </a:lnTo>
                <a:close/>
                <a:moveTo>
                  <a:pt x="4288512" y="4985296"/>
                </a:moveTo>
                <a:lnTo>
                  <a:pt x="4288512" y="5069710"/>
                </a:lnTo>
                <a:lnTo>
                  <a:pt x="4316020" y="5097200"/>
                </a:lnTo>
                <a:lnTo>
                  <a:pt x="4316020" y="5059468"/>
                </a:lnTo>
                <a:lnTo>
                  <a:pt x="4365504" y="5059468"/>
                </a:lnTo>
                <a:lnTo>
                  <a:pt x="4365504" y="5108052"/>
                </a:lnTo>
                <a:lnTo>
                  <a:pt x="4393013" y="5108052"/>
                </a:lnTo>
                <a:lnTo>
                  <a:pt x="4393013" y="4985296"/>
                </a:lnTo>
                <a:lnTo>
                  <a:pt x="4365504" y="4985296"/>
                </a:lnTo>
                <a:lnTo>
                  <a:pt x="4365504" y="5033360"/>
                </a:lnTo>
                <a:lnTo>
                  <a:pt x="4316020" y="5033360"/>
                </a:lnTo>
                <a:lnTo>
                  <a:pt x="4316020" y="4985296"/>
                </a:lnTo>
                <a:close/>
                <a:moveTo>
                  <a:pt x="5434130" y="4978379"/>
                </a:moveTo>
                <a:lnTo>
                  <a:pt x="5434130" y="5108052"/>
                </a:lnTo>
                <a:lnTo>
                  <a:pt x="5460257" y="5108052"/>
                </a:lnTo>
                <a:lnTo>
                  <a:pt x="5460257" y="5066037"/>
                </a:lnTo>
                <a:cubicBezTo>
                  <a:pt x="5460257" y="5050478"/>
                  <a:pt x="5467868" y="5043388"/>
                  <a:pt x="5477731" y="5043388"/>
                </a:cubicBezTo>
                <a:cubicBezTo>
                  <a:pt x="5487074" y="5043388"/>
                  <a:pt x="5491744" y="5050650"/>
                  <a:pt x="5491744" y="5062579"/>
                </a:cubicBezTo>
                <a:lnTo>
                  <a:pt x="5491744" y="5108052"/>
                </a:lnTo>
                <a:lnTo>
                  <a:pt x="5517870" y="5108052"/>
                </a:lnTo>
                <a:lnTo>
                  <a:pt x="5517870" y="5058085"/>
                </a:lnTo>
                <a:cubicBezTo>
                  <a:pt x="5517870" y="5035434"/>
                  <a:pt x="5505586" y="5019701"/>
                  <a:pt x="5484305" y="5019701"/>
                </a:cubicBezTo>
                <a:cubicBezTo>
                  <a:pt x="5473060" y="5019701"/>
                  <a:pt x="5464408" y="5024543"/>
                  <a:pt x="5460257" y="5030422"/>
                </a:cubicBezTo>
                <a:lnTo>
                  <a:pt x="5460257" y="4978379"/>
                </a:lnTo>
                <a:close/>
                <a:moveTo>
                  <a:pt x="5322892" y="4978379"/>
                </a:moveTo>
                <a:lnTo>
                  <a:pt x="5322892" y="5108052"/>
                </a:lnTo>
                <a:lnTo>
                  <a:pt x="5349018" y="5108052"/>
                </a:lnTo>
                <a:lnTo>
                  <a:pt x="5349018" y="4978379"/>
                </a:lnTo>
                <a:close/>
                <a:moveTo>
                  <a:pt x="4929143" y="4977342"/>
                </a:moveTo>
                <a:cubicBezTo>
                  <a:pt x="4909938" y="4977342"/>
                  <a:pt x="4894366" y="4990136"/>
                  <a:pt x="4894366" y="5012095"/>
                </a:cubicBezTo>
                <a:lnTo>
                  <a:pt x="4894366" y="5021603"/>
                </a:lnTo>
                <a:lnTo>
                  <a:pt x="4877066" y="5021603"/>
                </a:lnTo>
                <a:lnTo>
                  <a:pt x="4877066" y="5044253"/>
                </a:lnTo>
                <a:lnTo>
                  <a:pt x="4894366" y="5044253"/>
                </a:lnTo>
                <a:lnTo>
                  <a:pt x="4894366" y="5108052"/>
                </a:lnTo>
                <a:lnTo>
                  <a:pt x="4920492" y="5108052"/>
                </a:lnTo>
                <a:lnTo>
                  <a:pt x="4920492" y="5044253"/>
                </a:lnTo>
                <a:lnTo>
                  <a:pt x="4944715" y="5044253"/>
                </a:lnTo>
                <a:lnTo>
                  <a:pt x="4944715" y="5021603"/>
                </a:lnTo>
                <a:lnTo>
                  <a:pt x="4920492" y="5021603"/>
                </a:lnTo>
                <a:lnTo>
                  <a:pt x="4920492" y="5015379"/>
                </a:lnTo>
                <a:cubicBezTo>
                  <a:pt x="4920492" y="5005005"/>
                  <a:pt x="4924818" y="5000683"/>
                  <a:pt x="4935372" y="5000683"/>
                </a:cubicBezTo>
                <a:cubicBezTo>
                  <a:pt x="4939178" y="5000683"/>
                  <a:pt x="4941946" y="5001202"/>
                  <a:pt x="4944715" y="5002238"/>
                </a:cubicBezTo>
                <a:lnTo>
                  <a:pt x="4944715" y="4979243"/>
                </a:lnTo>
                <a:cubicBezTo>
                  <a:pt x="4940908" y="4978033"/>
                  <a:pt x="4936063" y="4977342"/>
                  <a:pt x="4929143" y="4977342"/>
                </a:cubicBezTo>
                <a:close/>
                <a:moveTo>
                  <a:pt x="4462900" y="4785693"/>
                </a:moveTo>
                <a:cubicBezTo>
                  <a:pt x="4482547" y="4785693"/>
                  <a:pt x="4496187" y="4795045"/>
                  <a:pt x="4501880" y="4812182"/>
                </a:cubicBezTo>
                <a:lnTo>
                  <a:pt x="4422342" y="4812182"/>
                </a:lnTo>
                <a:cubicBezTo>
                  <a:pt x="4431657" y="4789313"/>
                  <a:pt x="4451390" y="4785693"/>
                  <a:pt x="4462900" y="4785693"/>
                </a:cubicBezTo>
                <a:close/>
                <a:moveTo>
                  <a:pt x="4462576" y="4732866"/>
                </a:moveTo>
                <a:cubicBezTo>
                  <a:pt x="4399846" y="4732866"/>
                  <a:pt x="4362359" y="4784688"/>
                  <a:pt x="4362359" y="4834776"/>
                </a:cubicBezTo>
                <a:cubicBezTo>
                  <a:pt x="4362359" y="4891211"/>
                  <a:pt x="4406523" y="4935416"/>
                  <a:pt x="4462900" y="4935416"/>
                </a:cubicBezTo>
                <a:cubicBezTo>
                  <a:pt x="4492154" y="4935416"/>
                  <a:pt x="4519418" y="4924832"/>
                  <a:pt x="4539313" y="4906069"/>
                </a:cubicBezTo>
                <a:lnTo>
                  <a:pt x="4502388" y="4869239"/>
                </a:lnTo>
                <a:cubicBezTo>
                  <a:pt x="4490991" y="4878769"/>
                  <a:pt x="4480844" y="4882227"/>
                  <a:pt x="4465139" y="4882518"/>
                </a:cubicBezTo>
                <a:cubicBezTo>
                  <a:pt x="4451498" y="4882389"/>
                  <a:pt x="4439215" y="4876776"/>
                  <a:pt x="4430371" y="4867802"/>
                </a:cubicBezTo>
                <a:cubicBezTo>
                  <a:pt x="4428554" y="4865949"/>
                  <a:pt x="4426916" y="4863955"/>
                  <a:pt x="4425413" y="4861843"/>
                </a:cubicBezTo>
                <a:cubicBezTo>
                  <a:pt x="4425067" y="4861308"/>
                  <a:pt x="4424661" y="4860773"/>
                  <a:pt x="4424348" y="4860249"/>
                </a:cubicBezTo>
                <a:lnTo>
                  <a:pt x="4424327" y="4860249"/>
                </a:lnTo>
                <a:cubicBezTo>
                  <a:pt x="4422742" y="4857834"/>
                  <a:pt x="4421315" y="4855311"/>
                  <a:pt x="4420185" y="4852637"/>
                </a:cubicBezTo>
                <a:lnTo>
                  <a:pt x="4558927" y="4852637"/>
                </a:lnTo>
                <a:cubicBezTo>
                  <a:pt x="4560014" y="4847429"/>
                  <a:pt x="4561214" y="4840286"/>
                  <a:pt x="4561214" y="4831907"/>
                </a:cubicBezTo>
                <a:cubicBezTo>
                  <a:pt x="4561214" y="4783224"/>
                  <a:pt x="4524327" y="4732866"/>
                  <a:pt x="4462576" y="4732866"/>
                </a:cubicBezTo>
                <a:close/>
                <a:moveTo>
                  <a:pt x="4259514" y="4732855"/>
                </a:moveTo>
                <a:lnTo>
                  <a:pt x="4259514" y="4933746"/>
                </a:lnTo>
                <a:lnTo>
                  <a:pt x="4315977" y="4933746"/>
                </a:lnTo>
                <a:lnTo>
                  <a:pt x="4315977" y="4784407"/>
                </a:lnTo>
                <a:lnTo>
                  <a:pt x="4361369" y="4784407"/>
                </a:lnTo>
                <a:lnTo>
                  <a:pt x="4361369" y="4732855"/>
                </a:lnTo>
                <a:close/>
                <a:moveTo>
                  <a:pt x="4677980" y="4732833"/>
                </a:moveTo>
                <a:lnTo>
                  <a:pt x="4677028" y="4732898"/>
                </a:lnTo>
                <a:cubicBezTo>
                  <a:pt x="4621759" y="4733319"/>
                  <a:pt x="4576930" y="4778296"/>
                  <a:pt x="4576930" y="4833538"/>
                </a:cubicBezTo>
                <a:cubicBezTo>
                  <a:pt x="4576930" y="4896484"/>
                  <a:pt x="4629463" y="4935448"/>
                  <a:pt x="4678369" y="4935448"/>
                </a:cubicBezTo>
                <a:cubicBezTo>
                  <a:pt x="4710169" y="4935448"/>
                  <a:pt x="4736990" y="4922935"/>
                  <a:pt x="4758107" y="4898251"/>
                </a:cubicBezTo>
                <a:lnTo>
                  <a:pt x="4762291" y="4893345"/>
                </a:lnTo>
                <a:lnTo>
                  <a:pt x="4726280" y="4857304"/>
                </a:lnTo>
                <a:lnTo>
                  <a:pt x="4721182" y="4862442"/>
                </a:lnTo>
                <a:cubicBezTo>
                  <a:pt x="4705384" y="4878207"/>
                  <a:pt x="4698383" y="4882486"/>
                  <a:pt x="4679299" y="4882610"/>
                </a:cubicBezTo>
                <a:cubicBezTo>
                  <a:pt x="4653132" y="4882388"/>
                  <a:pt x="4633404" y="4861567"/>
                  <a:pt x="4633404" y="4834181"/>
                </a:cubicBezTo>
                <a:cubicBezTo>
                  <a:pt x="4633404" y="4800901"/>
                  <a:pt x="4656614" y="4785725"/>
                  <a:pt x="4678169" y="4785703"/>
                </a:cubicBezTo>
                <a:lnTo>
                  <a:pt x="4679131" y="4785638"/>
                </a:lnTo>
                <a:cubicBezTo>
                  <a:pt x="4698329" y="4785747"/>
                  <a:pt x="4705476" y="4790133"/>
                  <a:pt x="4721160" y="4805796"/>
                </a:cubicBezTo>
                <a:lnTo>
                  <a:pt x="4726258" y="4810912"/>
                </a:lnTo>
                <a:lnTo>
                  <a:pt x="4762291" y="4774909"/>
                </a:lnTo>
                <a:lnTo>
                  <a:pt x="4758096" y="4769993"/>
                </a:lnTo>
                <a:cubicBezTo>
                  <a:pt x="4736892" y="4745195"/>
                  <a:pt x="4709872" y="4732655"/>
                  <a:pt x="4677980" y="4732833"/>
                </a:cubicBezTo>
                <a:close/>
                <a:moveTo>
                  <a:pt x="4061389" y="4699876"/>
                </a:moveTo>
                <a:lnTo>
                  <a:pt x="4061389" y="4826909"/>
                </a:lnTo>
                <a:cubicBezTo>
                  <a:pt x="4061389" y="4831643"/>
                  <a:pt x="4061084" y="4836718"/>
                  <a:pt x="4060416" y="4841770"/>
                </a:cubicBezTo>
                <a:lnTo>
                  <a:pt x="4060416" y="4841770"/>
                </a:lnTo>
                <a:lnTo>
                  <a:pt x="4060416" y="4841771"/>
                </a:lnTo>
                <a:lnTo>
                  <a:pt x="3918482" y="4699935"/>
                </a:lnTo>
                <a:lnTo>
                  <a:pt x="3918482" y="4826908"/>
                </a:lnTo>
                <a:cubicBezTo>
                  <a:pt x="3918482" y="4863581"/>
                  <a:pt x="3927964" y="4884116"/>
                  <a:pt x="3936047" y="4894861"/>
                </a:cubicBezTo>
                <a:cubicBezTo>
                  <a:pt x="3950649" y="4914435"/>
                  <a:pt x="3980395" y="4935349"/>
                  <a:pt x="4020094" y="4935349"/>
                </a:cubicBezTo>
                <a:cubicBezTo>
                  <a:pt x="4059793" y="4935349"/>
                  <a:pt x="4089538" y="4914435"/>
                  <a:pt x="4104141" y="4894861"/>
                </a:cubicBezTo>
                <a:cubicBezTo>
                  <a:pt x="4105372" y="4893224"/>
                  <a:pt x="4106635" y="4891329"/>
                  <a:pt x="4107893" y="4889215"/>
                </a:cubicBezTo>
                <a:lnTo>
                  <a:pt x="4107892" y="4889213"/>
                </a:lnTo>
                <a:lnTo>
                  <a:pt x="4107894" y="4889215"/>
                </a:lnTo>
                <a:cubicBezTo>
                  <a:pt x="4114892" y="4877453"/>
                  <a:pt x="4121706" y="4857993"/>
                  <a:pt x="4121706" y="4826908"/>
                </a:cubicBezTo>
                <a:lnTo>
                  <a:pt x="4121706" y="4699876"/>
                </a:lnTo>
                <a:close/>
                <a:moveTo>
                  <a:pt x="4205101" y="4676225"/>
                </a:moveTo>
                <a:lnTo>
                  <a:pt x="4148626" y="4732866"/>
                </a:lnTo>
                <a:lnTo>
                  <a:pt x="4148626" y="4933747"/>
                </a:lnTo>
                <a:lnTo>
                  <a:pt x="4205101" y="4933747"/>
                </a:lnTo>
                <a:lnTo>
                  <a:pt x="4205101" y="4784407"/>
                </a:lnTo>
                <a:lnTo>
                  <a:pt x="4241766" y="4784407"/>
                </a:lnTo>
                <a:lnTo>
                  <a:pt x="4241766" y="4732856"/>
                </a:lnTo>
                <a:lnTo>
                  <a:pt x="4205101" y="4732856"/>
                </a:lnTo>
                <a:close/>
                <a:moveTo>
                  <a:pt x="4838996" y="4676144"/>
                </a:moveTo>
                <a:lnTo>
                  <a:pt x="4782532" y="4732867"/>
                </a:lnTo>
                <a:cubicBezTo>
                  <a:pt x="4782532" y="4732867"/>
                  <a:pt x="4782057" y="4927377"/>
                  <a:pt x="4782532" y="4933746"/>
                </a:cubicBezTo>
                <a:lnTo>
                  <a:pt x="4838996" y="4933746"/>
                </a:lnTo>
                <a:lnTo>
                  <a:pt x="4838996" y="4833015"/>
                </a:lnTo>
                <a:cubicBezTo>
                  <a:pt x="4838996" y="4799951"/>
                  <a:pt x="4847587" y="4785844"/>
                  <a:pt x="4867752" y="4785844"/>
                </a:cubicBezTo>
                <a:cubicBezTo>
                  <a:pt x="4888907" y="4785844"/>
                  <a:pt x="4897152" y="4798886"/>
                  <a:pt x="4897152" y="4832377"/>
                </a:cubicBezTo>
                <a:lnTo>
                  <a:pt x="4897152" y="4933746"/>
                </a:lnTo>
                <a:lnTo>
                  <a:pt x="4953615" y="4933746"/>
                </a:lnTo>
                <a:lnTo>
                  <a:pt x="4953615" y="4823144"/>
                </a:lnTo>
                <a:cubicBezTo>
                  <a:pt x="4953615" y="4808940"/>
                  <a:pt x="4953615" y="4782495"/>
                  <a:pt x="4938072" y="4762765"/>
                </a:cubicBezTo>
                <a:cubicBezTo>
                  <a:pt x="4924080" y="4744968"/>
                  <a:pt x="4899931" y="4733012"/>
                  <a:pt x="4877965" y="4733012"/>
                </a:cubicBezTo>
                <a:cubicBezTo>
                  <a:pt x="4863449" y="4733012"/>
                  <a:pt x="4850382" y="4736697"/>
                  <a:pt x="4838996" y="4743990"/>
                </a:cubicBezTo>
                <a:close/>
                <a:moveTo>
                  <a:pt x="5037771" y="4676143"/>
                </a:moveTo>
                <a:lnTo>
                  <a:pt x="4981307" y="4732866"/>
                </a:lnTo>
                <a:lnTo>
                  <a:pt x="4981307" y="4933745"/>
                </a:lnTo>
                <a:lnTo>
                  <a:pt x="5037771" y="4933745"/>
                </a:lnTo>
                <a:lnTo>
                  <a:pt x="5037771" y="4784331"/>
                </a:lnTo>
                <a:lnTo>
                  <a:pt x="5074447" y="4784331"/>
                </a:lnTo>
                <a:lnTo>
                  <a:pt x="5074447" y="4732779"/>
                </a:lnTo>
                <a:lnTo>
                  <a:pt x="5037771" y="4732779"/>
                </a:lnTo>
                <a:close/>
                <a:moveTo>
                  <a:pt x="4656824" y="0"/>
                </a:moveTo>
                <a:lnTo>
                  <a:pt x="6096000" y="0"/>
                </a:lnTo>
                <a:lnTo>
                  <a:pt x="6096000" y="3891478"/>
                </a:lnTo>
                <a:lnTo>
                  <a:pt x="6096000" y="4014054"/>
                </a:lnTo>
                <a:lnTo>
                  <a:pt x="6096000" y="5694845"/>
                </a:lnTo>
                <a:lnTo>
                  <a:pt x="4415318" y="5694845"/>
                </a:lnTo>
                <a:lnTo>
                  <a:pt x="4276814" y="5694845"/>
                </a:lnTo>
                <a:lnTo>
                  <a:pt x="194959" y="5694845"/>
                </a:lnTo>
                <a:lnTo>
                  <a:pt x="153490" y="5555204"/>
                </a:lnTo>
                <a:cubicBezTo>
                  <a:pt x="56144" y="5186140"/>
                  <a:pt x="0" y="4786883"/>
                  <a:pt x="0" y="4360902"/>
                </a:cubicBezTo>
                <a:cubicBezTo>
                  <a:pt x="0" y="2656980"/>
                  <a:pt x="898297" y="1380619"/>
                  <a:pt x="1738674" y="754023"/>
                </a:cubicBezTo>
                <a:cubicBezTo>
                  <a:pt x="2199933" y="407026"/>
                  <a:pt x="3081907" y="0"/>
                  <a:pt x="4656824" y="0"/>
                </a:cubicBezTo>
                <a:close/>
              </a:path>
            </a:pathLst>
          </a:custGeom>
          <a:solidFill>
            <a:schemeClr val="bg1">
              <a:lumMod val="95000"/>
            </a:schemeClr>
          </a:solidFill>
        </p:spPr>
        <p:txBody>
          <a:bodyPr wrap="square" tIns="1097280" anchor="ctr" anchorCtr="0">
            <a:noAutofit/>
          </a:bodyPr>
          <a:lstStyle>
            <a:lvl1pPr algn="ctr">
              <a:defRPr sz="1200"/>
            </a:lvl1pPr>
          </a:lstStyle>
          <a:p>
            <a:r>
              <a:rPr lang="nl-NL"/>
              <a:t>Klik op het pictogram als u een afbeelding wilt toevoegen</a:t>
            </a:r>
            <a:endParaRPr lang="en-GB"/>
          </a:p>
        </p:txBody>
      </p:sp>
    </p:spTree>
    <p:extLst>
      <p:ext uri="{BB962C8B-B14F-4D97-AF65-F5344CB8AC3E}">
        <p14:creationId xmlns:p14="http://schemas.microsoft.com/office/powerpoint/2010/main" val="7663512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Grafiek I / 2 kolommen + kop">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14" name="Chart Placeholder 2">
            <a:extLst>
              <a:ext uri="{FF2B5EF4-FFF2-40B4-BE49-F238E27FC236}">
                <a16:creationId xmlns:a16="http://schemas.microsoft.com/office/drawing/2014/main" id="{449B2FBB-9F5F-9ADE-2491-164C9A70C11C}"/>
              </a:ext>
            </a:extLst>
          </p:cNvPr>
          <p:cNvSpPr>
            <a:spLocks noGrp="1"/>
          </p:cNvSpPr>
          <p:nvPr>
            <p:ph type="chart" sz="quarter" idx="18" hasCustomPrompt="1"/>
          </p:nvPr>
        </p:nvSpPr>
        <p:spPr>
          <a:xfrm>
            <a:off x="1137600" y="2559600"/>
            <a:ext cx="4545013" cy="3240000"/>
          </a:xfrm>
        </p:spPr>
        <p:txBody>
          <a:bodyPr tIns="914400"/>
          <a:lstStyle>
            <a:lvl1pPr algn="ctr">
              <a:defRPr sz="1800"/>
            </a:lvl1pPr>
          </a:lstStyle>
          <a:p>
            <a:r>
              <a:rPr lang="nl-NL" dirty="0"/>
              <a:t>Grafiek</a:t>
            </a:r>
            <a:endParaRPr lang="en-US" dirty="0"/>
          </a:p>
        </p:txBody>
      </p:sp>
      <p:sp>
        <p:nvSpPr>
          <p:cNvPr id="16" name="Chart Placeholder 2">
            <a:extLst>
              <a:ext uri="{FF2B5EF4-FFF2-40B4-BE49-F238E27FC236}">
                <a16:creationId xmlns:a16="http://schemas.microsoft.com/office/drawing/2014/main" id="{C06F400B-114A-344F-4B0F-C2B8FE165BA6}"/>
              </a:ext>
            </a:extLst>
          </p:cNvPr>
          <p:cNvSpPr>
            <a:spLocks noGrp="1"/>
          </p:cNvSpPr>
          <p:nvPr>
            <p:ph type="chart" sz="quarter" idx="19" hasCustomPrompt="1"/>
          </p:nvPr>
        </p:nvSpPr>
        <p:spPr>
          <a:xfrm>
            <a:off x="6517477" y="2559600"/>
            <a:ext cx="4545013" cy="3240000"/>
          </a:xfrm>
        </p:spPr>
        <p:txBody>
          <a:bodyPr tIns="914400"/>
          <a:lstStyle>
            <a:lvl1pPr algn="ctr">
              <a:defRPr sz="1800"/>
            </a:lvl1pPr>
          </a:lstStyle>
          <a:p>
            <a:r>
              <a:rPr lang="nl-NL" dirty="0"/>
              <a:t>Grafiek</a:t>
            </a:r>
            <a:endParaRPr lang="en-US" dirty="0"/>
          </a:p>
        </p:txBody>
      </p:sp>
      <p:sp>
        <p:nvSpPr>
          <p:cNvPr id="24" name="Text Placeholder 3">
            <a:extLst>
              <a:ext uri="{FF2B5EF4-FFF2-40B4-BE49-F238E27FC236}">
                <a16:creationId xmlns:a16="http://schemas.microsoft.com/office/drawing/2014/main" id="{D0E36D55-2B5D-9460-ABD2-C26548661260}"/>
              </a:ext>
            </a:extLst>
          </p:cNvPr>
          <p:cNvSpPr>
            <a:spLocks noGrp="1"/>
          </p:cNvSpPr>
          <p:nvPr>
            <p:ph type="body" sz="half" idx="14" hasCustomPrompt="1"/>
          </p:nvPr>
        </p:nvSpPr>
        <p:spPr>
          <a:xfrm>
            <a:off x="1139126"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sp>
        <p:nvSpPr>
          <p:cNvPr id="25" name="Text Placeholder 3">
            <a:extLst>
              <a:ext uri="{FF2B5EF4-FFF2-40B4-BE49-F238E27FC236}">
                <a16:creationId xmlns:a16="http://schemas.microsoft.com/office/drawing/2014/main" id="{FAF0E0CE-9D75-49A1-C314-92D1CCB47921}"/>
              </a:ext>
            </a:extLst>
          </p:cNvPr>
          <p:cNvSpPr>
            <a:spLocks noGrp="1"/>
          </p:cNvSpPr>
          <p:nvPr>
            <p:ph type="body" sz="half" idx="15" hasCustomPrompt="1"/>
          </p:nvPr>
        </p:nvSpPr>
        <p:spPr>
          <a:xfrm>
            <a:off x="6503577"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grpSp>
        <p:nvGrpSpPr>
          <p:cNvPr id="2" name="Groep 1">
            <a:extLst>
              <a:ext uri="{FF2B5EF4-FFF2-40B4-BE49-F238E27FC236}">
                <a16:creationId xmlns:a16="http://schemas.microsoft.com/office/drawing/2014/main" id="{87828BF9-ACE5-1758-AF22-4AD73C60F006}"/>
              </a:ext>
            </a:extLst>
          </p:cNvPr>
          <p:cNvGrpSpPr/>
          <p:nvPr userDrawn="1"/>
        </p:nvGrpSpPr>
        <p:grpSpPr>
          <a:xfrm>
            <a:off x="10014482" y="5839298"/>
            <a:ext cx="1599388" cy="433809"/>
            <a:chOff x="3101010" y="1249096"/>
            <a:chExt cx="3978412" cy="1079079"/>
          </a:xfrm>
          <a:solidFill>
            <a:schemeClr val="tx2"/>
          </a:solidFill>
        </p:grpSpPr>
        <p:sp>
          <p:nvSpPr>
            <p:cNvPr id="10" name="Vrije vorm 9">
              <a:extLst>
                <a:ext uri="{FF2B5EF4-FFF2-40B4-BE49-F238E27FC236}">
                  <a16:creationId xmlns:a16="http://schemas.microsoft.com/office/drawing/2014/main" id="{5FB51F46-A8B6-9D72-8041-1611A14AB157}"/>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8204482F-C248-250A-B8A6-5F799D7FE001}"/>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C95017F0-49F6-9BF5-5D06-618DCD77DB4A}"/>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12C6C92F-32B7-AD56-C66D-E7032F3BE191}"/>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2CC7FD93-2D94-178B-AD65-3CB8FDC41C35}"/>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2D578CA8-C847-D67B-12F3-8A428274C529}"/>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B3E3E832-9F5F-53FD-E11F-A1A890234549}"/>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053F6E5A-6F07-1478-2F34-B4B9982421A2}"/>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1039012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ussenslide III">
    <p:bg>
      <p:bgPr>
        <a:solidFill>
          <a:schemeClr val="accent4"/>
        </a:solidFill>
        <a:effectLst/>
      </p:bgPr>
    </p:bg>
    <p:spTree>
      <p:nvGrpSpPr>
        <p:cNvPr id="1" name=""/>
        <p:cNvGrpSpPr/>
        <p:nvPr/>
      </p:nvGrpSpPr>
      <p:grpSpPr>
        <a:xfrm>
          <a:off x="0" y="0"/>
          <a:ext cx="0" cy="0"/>
          <a:chOff x="0" y="0"/>
          <a:chExt cx="0" cy="0"/>
        </a:xfrm>
      </p:grpSpPr>
      <p:sp>
        <p:nvSpPr>
          <p:cNvPr id="42" name="Freeform: Shape 41">
            <a:extLst>
              <a:ext uri="{FF2B5EF4-FFF2-40B4-BE49-F238E27FC236}">
                <a16:creationId xmlns:a16="http://schemas.microsoft.com/office/drawing/2014/main" id="{C3A33F2F-6697-E0E3-DAC0-E8C76F4FB609}"/>
              </a:ext>
            </a:extLst>
          </p:cNvPr>
          <p:cNvSpPr/>
          <p:nvPr userDrawn="1"/>
        </p:nvSpPr>
        <p:spPr>
          <a:xfrm>
            <a:off x="4109538" y="2071607"/>
            <a:ext cx="8082463" cy="4786393"/>
          </a:xfrm>
          <a:custGeom>
            <a:avLst/>
            <a:gdLst>
              <a:gd name="connsiteX0" fmla="*/ 4752340 w 8082463"/>
              <a:gd name="connsiteY0" fmla="*/ 0 h 4776119"/>
              <a:gd name="connsiteX1" fmla="*/ 4808220 w 8082463"/>
              <a:gd name="connsiteY1" fmla="*/ 49784 h 4776119"/>
              <a:gd name="connsiteX2" fmla="*/ 4812030 w 8082463"/>
              <a:gd name="connsiteY2" fmla="*/ 52976 h 4776119"/>
              <a:gd name="connsiteX3" fmla="*/ 4864734 w 8082463"/>
              <a:gd name="connsiteY3" fmla="*/ 100845 h 4776119"/>
              <a:gd name="connsiteX4" fmla="*/ 4872990 w 8082463"/>
              <a:gd name="connsiteY4" fmla="*/ 108505 h 4776119"/>
              <a:gd name="connsiteX5" fmla="*/ 4922520 w 8082463"/>
              <a:gd name="connsiteY5" fmla="*/ 153821 h 4776119"/>
              <a:gd name="connsiteX6" fmla="*/ 4935855 w 8082463"/>
              <a:gd name="connsiteY6" fmla="*/ 165948 h 4776119"/>
              <a:gd name="connsiteX7" fmla="*/ 4980940 w 8082463"/>
              <a:gd name="connsiteY7" fmla="*/ 208712 h 4776119"/>
              <a:gd name="connsiteX8" fmla="*/ 4999356 w 8082463"/>
              <a:gd name="connsiteY8" fmla="*/ 225945 h 4776119"/>
              <a:gd name="connsiteX9" fmla="*/ 5039995 w 8082463"/>
              <a:gd name="connsiteY9" fmla="*/ 264879 h 4776119"/>
              <a:gd name="connsiteX10" fmla="*/ 5065395 w 8082463"/>
              <a:gd name="connsiteY10" fmla="*/ 289134 h 4776119"/>
              <a:gd name="connsiteX11" fmla="*/ 5100956 w 8082463"/>
              <a:gd name="connsiteY11" fmla="*/ 322960 h 4776119"/>
              <a:gd name="connsiteX12" fmla="*/ 5135880 w 8082463"/>
              <a:gd name="connsiteY12" fmla="*/ 356789 h 4776119"/>
              <a:gd name="connsiteX13" fmla="*/ 5162550 w 8082463"/>
              <a:gd name="connsiteY13" fmla="*/ 382958 h 4776119"/>
              <a:gd name="connsiteX14" fmla="*/ 5224780 w 8082463"/>
              <a:gd name="connsiteY14" fmla="*/ 444869 h 4776119"/>
              <a:gd name="connsiteX15" fmla="*/ 8082463 w 8082463"/>
              <a:gd name="connsiteY15" fmla="*/ 3317235 h 4776119"/>
              <a:gd name="connsiteX16" fmla="*/ 8082463 w 8082463"/>
              <a:gd name="connsiteY16" fmla="*/ 4776119 h 4776119"/>
              <a:gd name="connsiteX17" fmla="*/ 0 w 8082463"/>
              <a:gd name="connsiteY17" fmla="*/ 4776119 h 477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82463" h="4776119">
                <a:moveTo>
                  <a:pt x="4752340" y="0"/>
                </a:moveTo>
                <a:cubicBezTo>
                  <a:pt x="4770756" y="16595"/>
                  <a:pt x="4789805" y="33190"/>
                  <a:pt x="4808220" y="49784"/>
                </a:cubicBezTo>
                <a:cubicBezTo>
                  <a:pt x="4809490" y="51061"/>
                  <a:pt x="4810760" y="51700"/>
                  <a:pt x="4812030" y="52976"/>
                </a:cubicBezTo>
                <a:cubicBezTo>
                  <a:pt x="4829175" y="68933"/>
                  <a:pt x="4846956" y="84889"/>
                  <a:pt x="4864734" y="100845"/>
                </a:cubicBezTo>
                <a:cubicBezTo>
                  <a:pt x="4867910" y="103398"/>
                  <a:pt x="4870450" y="105951"/>
                  <a:pt x="4872990" y="108505"/>
                </a:cubicBezTo>
                <a:cubicBezTo>
                  <a:pt x="4889500" y="123185"/>
                  <a:pt x="4906010" y="138503"/>
                  <a:pt x="4922520" y="153821"/>
                </a:cubicBezTo>
                <a:cubicBezTo>
                  <a:pt x="4926965" y="157651"/>
                  <a:pt x="4931410" y="162119"/>
                  <a:pt x="4935855" y="165948"/>
                </a:cubicBezTo>
                <a:cubicBezTo>
                  <a:pt x="4950460" y="179990"/>
                  <a:pt x="4965700" y="194670"/>
                  <a:pt x="4980940" y="208712"/>
                </a:cubicBezTo>
                <a:cubicBezTo>
                  <a:pt x="4987290" y="214457"/>
                  <a:pt x="4993006" y="220201"/>
                  <a:pt x="4999356" y="225945"/>
                </a:cubicBezTo>
                <a:cubicBezTo>
                  <a:pt x="5012690" y="238710"/>
                  <a:pt x="5026025" y="251476"/>
                  <a:pt x="5039995" y="264879"/>
                </a:cubicBezTo>
                <a:cubicBezTo>
                  <a:pt x="5048886" y="273176"/>
                  <a:pt x="5057140" y="280836"/>
                  <a:pt x="5065395" y="289134"/>
                </a:cubicBezTo>
                <a:cubicBezTo>
                  <a:pt x="5077460" y="299984"/>
                  <a:pt x="5088890" y="311473"/>
                  <a:pt x="5100956" y="322960"/>
                </a:cubicBezTo>
                <a:cubicBezTo>
                  <a:pt x="5113020" y="333812"/>
                  <a:pt x="5124450" y="345301"/>
                  <a:pt x="5135880" y="356789"/>
                </a:cubicBezTo>
                <a:cubicBezTo>
                  <a:pt x="5144770" y="365724"/>
                  <a:pt x="5153660" y="374022"/>
                  <a:pt x="5162550" y="382958"/>
                </a:cubicBezTo>
                <a:cubicBezTo>
                  <a:pt x="5182871" y="403382"/>
                  <a:pt x="5203826" y="423807"/>
                  <a:pt x="5224780" y="444869"/>
                </a:cubicBezTo>
                <a:lnTo>
                  <a:pt x="8082463" y="3317235"/>
                </a:lnTo>
                <a:lnTo>
                  <a:pt x="8082463" y="4776119"/>
                </a:lnTo>
                <a:lnTo>
                  <a:pt x="0" y="4776119"/>
                </a:lnTo>
                <a:close/>
              </a:path>
            </a:pathLst>
          </a:custGeom>
          <a:solidFill>
            <a:srgbClr val="00501C"/>
          </a:solidFill>
          <a:ln w="12700" cap="flat">
            <a:solidFill>
              <a:srgbClr val="00501C"/>
            </a:solidFill>
            <a:prstDash val="solid"/>
            <a:miter/>
          </a:ln>
        </p:spPr>
        <p:txBody>
          <a:bodyPr wrap="square" rtlCol="0" anchor="ctr">
            <a:noAutofit/>
          </a:bodyPr>
          <a:lstStyle/>
          <a:p>
            <a:endParaRPr lang="en-GB"/>
          </a:p>
        </p:txBody>
      </p:sp>
      <p:sp>
        <p:nvSpPr>
          <p:cNvPr id="43" name="Freeform: Shape 42">
            <a:extLst>
              <a:ext uri="{FF2B5EF4-FFF2-40B4-BE49-F238E27FC236}">
                <a16:creationId xmlns:a16="http://schemas.microsoft.com/office/drawing/2014/main" id="{4150E429-33DE-3FDF-F37C-CE7064B9CAD8}"/>
              </a:ext>
            </a:extLst>
          </p:cNvPr>
          <p:cNvSpPr/>
          <p:nvPr userDrawn="1"/>
        </p:nvSpPr>
        <p:spPr>
          <a:xfrm>
            <a:off x="-1" y="0"/>
            <a:ext cx="10949305" cy="4342128"/>
          </a:xfrm>
          <a:custGeom>
            <a:avLst/>
            <a:gdLst>
              <a:gd name="connsiteX0" fmla="*/ 0 w 10949305"/>
              <a:gd name="connsiteY0" fmla="*/ 0 h 4342128"/>
              <a:gd name="connsiteX1" fmla="*/ 10949305 w 10949305"/>
              <a:gd name="connsiteY1" fmla="*/ 0 h 4342128"/>
              <a:gd name="connsiteX2" fmla="*/ 8844237 w 10949305"/>
              <a:gd name="connsiteY2" fmla="*/ 2105068 h 4342128"/>
              <a:gd name="connsiteX3" fmla="*/ 8840883 w 10949305"/>
              <a:gd name="connsiteY3" fmla="*/ 2101933 h 4342128"/>
              <a:gd name="connsiteX4" fmla="*/ 8865033 w 10949305"/>
              <a:gd name="connsiteY4" fmla="*/ 2077694 h 4342128"/>
              <a:gd name="connsiteX5" fmla="*/ 8826470 w 10949305"/>
              <a:gd name="connsiteY5" fmla="*/ 2041504 h 4342128"/>
              <a:gd name="connsiteX6" fmla="*/ 6079518 w 10949305"/>
              <a:gd name="connsiteY6" fmla="*/ 594988 h 4342128"/>
              <a:gd name="connsiteX7" fmla="*/ 5287752 w 10949305"/>
              <a:gd name="connsiteY7" fmla="*/ 547803 h 4342128"/>
              <a:gd name="connsiteX8" fmla="*/ 1335166 w 10949305"/>
              <a:gd name="connsiteY8" fmla="*/ 2259119 h 4342128"/>
              <a:gd name="connsiteX9" fmla="*/ 1 w 10949305"/>
              <a:gd name="connsiteY9" fmla="*/ 4326985 h 4342128"/>
              <a:gd name="connsiteX10" fmla="*/ 1 w 10949305"/>
              <a:gd name="connsiteY10" fmla="*/ 4342126 h 4342128"/>
              <a:gd name="connsiteX11" fmla="*/ 0 w 10949305"/>
              <a:gd name="connsiteY11" fmla="*/ 4342128 h 4342128"/>
              <a:gd name="connsiteX12" fmla="*/ 0 w 10949305"/>
              <a:gd name="connsiteY12" fmla="*/ 0 h 4342128"/>
              <a:gd name="connsiteX0" fmla="*/ 0 w 10949305"/>
              <a:gd name="connsiteY0" fmla="*/ 0 h 4342128"/>
              <a:gd name="connsiteX1" fmla="*/ 10949305 w 10949305"/>
              <a:gd name="connsiteY1" fmla="*/ 0 h 4342128"/>
              <a:gd name="connsiteX2" fmla="*/ 8844237 w 10949305"/>
              <a:gd name="connsiteY2" fmla="*/ 2105068 h 4342128"/>
              <a:gd name="connsiteX3" fmla="*/ 8865033 w 10949305"/>
              <a:gd name="connsiteY3" fmla="*/ 2077694 h 4342128"/>
              <a:gd name="connsiteX4" fmla="*/ 8826470 w 10949305"/>
              <a:gd name="connsiteY4" fmla="*/ 2041504 h 4342128"/>
              <a:gd name="connsiteX5" fmla="*/ 6079518 w 10949305"/>
              <a:gd name="connsiteY5" fmla="*/ 594988 h 4342128"/>
              <a:gd name="connsiteX6" fmla="*/ 5287752 w 10949305"/>
              <a:gd name="connsiteY6" fmla="*/ 547803 h 4342128"/>
              <a:gd name="connsiteX7" fmla="*/ 1335166 w 10949305"/>
              <a:gd name="connsiteY7" fmla="*/ 2259119 h 4342128"/>
              <a:gd name="connsiteX8" fmla="*/ 1 w 10949305"/>
              <a:gd name="connsiteY8" fmla="*/ 4326985 h 4342128"/>
              <a:gd name="connsiteX9" fmla="*/ 1 w 10949305"/>
              <a:gd name="connsiteY9" fmla="*/ 4342126 h 4342128"/>
              <a:gd name="connsiteX10" fmla="*/ 0 w 10949305"/>
              <a:gd name="connsiteY10" fmla="*/ 4342128 h 4342128"/>
              <a:gd name="connsiteX11" fmla="*/ 0 w 10949305"/>
              <a:gd name="connsiteY11" fmla="*/ 0 h 43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305" h="4342128">
                <a:moveTo>
                  <a:pt x="0" y="0"/>
                </a:moveTo>
                <a:lnTo>
                  <a:pt x="10949305" y="0"/>
                </a:lnTo>
                <a:lnTo>
                  <a:pt x="8844237" y="2105068"/>
                </a:lnTo>
                <a:lnTo>
                  <a:pt x="8865033" y="2077694"/>
                </a:lnTo>
                <a:lnTo>
                  <a:pt x="8826470" y="2041504"/>
                </a:lnTo>
                <a:cubicBezTo>
                  <a:pt x="7661107" y="1019246"/>
                  <a:pt x="6707087" y="683864"/>
                  <a:pt x="6079518" y="594988"/>
                </a:cubicBezTo>
                <a:cubicBezTo>
                  <a:pt x="5835380" y="559295"/>
                  <a:pt x="5569159" y="542128"/>
                  <a:pt x="5287752" y="547803"/>
                </a:cubicBezTo>
                <a:cubicBezTo>
                  <a:pt x="4068321" y="572393"/>
                  <a:pt x="2563733" y="1025874"/>
                  <a:pt x="1335166" y="2259119"/>
                </a:cubicBezTo>
                <a:cubicBezTo>
                  <a:pt x="696857" y="2899857"/>
                  <a:pt x="267925" y="3615338"/>
                  <a:pt x="1" y="4326985"/>
                </a:cubicBezTo>
                <a:lnTo>
                  <a:pt x="1" y="4342126"/>
                </a:lnTo>
                <a:cubicBezTo>
                  <a:pt x="1" y="4342127"/>
                  <a:pt x="0" y="4342127"/>
                  <a:pt x="0" y="4342128"/>
                </a:cubicBezTo>
                <a:lnTo>
                  <a:pt x="0" y="0"/>
                </a:lnTo>
                <a:close/>
              </a:path>
            </a:pathLst>
          </a:custGeom>
          <a:solidFill>
            <a:srgbClr val="00501C"/>
          </a:solidFill>
          <a:ln w="12700">
            <a:solidFill>
              <a:srgbClr val="0050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8" name="Freeform: Shape 27">
            <a:extLst>
              <a:ext uri="{FF2B5EF4-FFF2-40B4-BE49-F238E27FC236}">
                <a16:creationId xmlns:a16="http://schemas.microsoft.com/office/drawing/2014/main" id="{015A3F26-BAD4-66A4-3A64-FA3350BA5950}"/>
              </a:ext>
            </a:extLst>
          </p:cNvPr>
          <p:cNvSpPr/>
          <p:nvPr userDrawn="1"/>
        </p:nvSpPr>
        <p:spPr>
          <a:xfrm>
            <a:off x="8858788" y="2071834"/>
            <a:ext cx="6244" cy="13152"/>
          </a:xfrm>
          <a:custGeom>
            <a:avLst/>
            <a:gdLst>
              <a:gd name="connsiteX0" fmla="*/ 0 w 6244"/>
              <a:gd name="connsiteY0" fmla="*/ 0 h 13152"/>
              <a:gd name="connsiteX1" fmla="*/ 6244 w 6244"/>
              <a:gd name="connsiteY1" fmla="*/ 5860 h 13152"/>
              <a:gd name="connsiteX2" fmla="*/ 2980 w 6244"/>
              <a:gd name="connsiteY2" fmla="*/ 10157 h 13152"/>
              <a:gd name="connsiteX3" fmla="*/ 0 w 6244"/>
              <a:gd name="connsiteY3" fmla="*/ 13152 h 13152"/>
              <a:gd name="connsiteX4" fmla="*/ 0 w 6244"/>
              <a:gd name="connsiteY4" fmla="*/ 0 h 1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2">
                <a:moveTo>
                  <a:pt x="0" y="0"/>
                </a:moveTo>
                <a:lnTo>
                  <a:pt x="6244" y="5860"/>
                </a:lnTo>
                <a:lnTo>
                  <a:pt x="2980" y="10157"/>
                </a:lnTo>
                <a:lnTo>
                  <a:pt x="0" y="13152"/>
                </a:lnTo>
                <a:lnTo>
                  <a:pt x="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27" name="Freeform: Shape 26">
            <a:extLst>
              <a:ext uri="{FF2B5EF4-FFF2-40B4-BE49-F238E27FC236}">
                <a16:creationId xmlns:a16="http://schemas.microsoft.com/office/drawing/2014/main" id="{5D5BB820-8114-77F2-FE40-5AFDA8831F5F}"/>
              </a:ext>
            </a:extLst>
          </p:cNvPr>
          <p:cNvSpPr/>
          <p:nvPr userDrawn="1"/>
        </p:nvSpPr>
        <p:spPr>
          <a:xfrm>
            <a:off x="8858788" y="2081881"/>
            <a:ext cx="6022" cy="8635"/>
          </a:xfrm>
          <a:custGeom>
            <a:avLst/>
            <a:gdLst>
              <a:gd name="connsiteX0" fmla="*/ 3089 w 6022"/>
              <a:gd name="connsiteY0" fmla="*/ 0 h 8635"/>
              <a:gd name="connsiteX1" fmla="*/ 6022 w 6022"/>
              <a:gd name="connsiteY1" fmla="*/ 2613 h 8635"/>
              <a:gd name="connsiteX2" fmla="*/ 0 w 6022"/>
              <a:gd name="connsiteY2" fmla="*/ 8635 h 8635"/>
              <a:gd name="connsiteX3" fmla="*/ 0 w 6022"/>
              <a:gd name="connsiteY3" fmla="*/ 4032 h 8635"/>
              <a:gd name="connsiteX4" fmla="*/ 2980 w 6022"/>
              <a:gd name="connsiteY4" fmla="*/ 110 h 8635"/>
              <a:gd name="connsiteX5" fmla="*/ 3089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89" y="0"/>
                </a:moveTo>
                <a:lnTo>
                  <a:pt x="6022" y="2613"/>
                </a:lnTo>
                <a:lnTo>
                  <a:pt x="0" y="8635"/>
                </a:lnTo>
                <a:lnTo>
                  <a:pt x="0" y="4032"/>
                </a:lnTo>
                <a:lnTo>
                  <a:pt x="2980" y="110"/>
                </a:lnTo>
                <a:lnTo>
                  <a:pt x="3089"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24" name="Freeform: Shape 23">
            <a:extLst>
              <a:ext uri="{FF2B5EF4-FFF2-40B4-BE49-F238E27FC236}">
                <a16:creationId xmlns:a16="http://schemas.microsoft.com/office/drawing/2014/main" id="{13E5B732-4058-200D-AFBB-1867D3AD6301}"/>
              </a:ext>
            </a:extLst>
          </p:cNvPr>
          <p:cNvSpPr/>
          <p:nvPr userDrawn="1"/>
        </p:nvSpPr>
        <p:spPr>
          <a:xfrm>
            <a:off x="8858788" y="2081991"/>
            <a:ext cx="2980" cy="3922"/>
          </a:xfrm>
          <a:custGeom>
            <a:avLst/>
            <a:gdLst>
              <a:gd name="connsiteX0" fmla="*/ 2980 w 2980"/>
              <a:gd name="connsiteY0" fmla="*/ 0 h 3922"/>
              <a:gd name="connsiteX1" fmla="*/ 0 w 2980"/>
              <a:gd name="connsiteY1" fmla="*/ 3922 h 3922"/>
              <a:gd name="connsiteX2" fmla="*/ 0 w 2980"/>
              <a:gd name="connsiteY2" fmla="*/ 2995 h 3922"/>
              <a:gd name="connsiteX3" fmla="*/ 2980 w 2980"/>
              <a:gd name="connsiteY3" fmla="*/ 0 h 3922"/>
            </a:gdLst>
            <a:ahLst/>
            <a:cxnLst>
              <a:cxn ang="0">
                <a:pos x="connsiteX0" y="connsiteY0"/>
              </a:cxn>
              <a:cxn ang="0">
                <a:pos x="connsiteX1" y="connsiteY1"/>
              </a:cxn>
              <a:cxn ang="0">
                <a:pos x="connsiteX2" y="connsiteY2"/>
              </a:cxn>
              <a:cxn ang="0">
                <a:pos x="connsiteX3" y="connsiteY3"/>
              </a:cxn>
            </a:cxnLst>
            <a:rect l="l" t="t" r="r" b="b"/>
            <a:pathLst>
              <a:path w="2980" h="3922">
                <a:moveTo>
                  <a:pt x="2980" y="0"/>
                </a:moveTo>
                <a:lnTo>
                  <a:pt x="0" y="3922"/>
                </a:lnTo>
                <a:lnTo>
                  <a:pt x="0" y="2995"/>
                </a:lnTo>
                <a:lnTo>
                  <a:pt x="298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22" name="Freeform: Shape 21">
            <a:extLst>
              <a:ext uri="{FF2B5EF4-FFF2-40B4-BE49-F238E27FC236}">
                <a16:creationId xmlns:a16="http://schemas.microsoft.com/office/drawing/2014/main" id="{63D5E795-954F-3494-5AC5-C50B82689733}"/>
              </a:ext>
            </a:extLst>
          </p:cNvPr>
          <p:cNvSpPr/>
          <p:nvPr userDrawn="1"/>
        </p:nvSpPr>
        <p:spPr>
          <a:xfrm>
            <a:off x="8844236" y="2085913"/>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40" name="Freeform: Shape 39">
            <a:extLst>
              <a:ext uri="{FF2B5EF4-FFF2-40B4-BE49-F238E27FC236}">
                <a16:creationId xmlns:a16="http://schemas.microsoft.com/office/drawing/2014/main" id="{F6AFA9B8-D68F-8503-373C-8F2C5897E1DD}"/>
              </a:ext>
            </a:extLst>
          </p:cNvPr>
          <p:cNvSpPr/>
          <p:nvPr userDrawn="1"/>
        </p:nvSpPr>
        <p:spPr>
          <a:xfrm>
            <a:off x="8858788" y="2081995"/>
            <a:ext cx="2976" cy="3918"/>
          </a:xfrm>
          <a:custGeom>
            <a:avLst/>
            <a:gdLst>
              <a:gd name="connsiteX0" fmla="*/ 2976 w 2976"/>
              <a:gd name="connsiteY0" fmla="*/ 0 h 3918"/>
              <a:gd name="connsiteX1" fmla="*/ 0 w 2976"/>
              <a:gd name="connsiteY1" fmla="*/ 3918 h 3918"/>
              <a:gd name="connsiteX2" fmla="*/ 0 w 2976"/>
              <a:gd name="connsiteY2" fmla="*/ 2992 h 3918"/>
              <a:gd name="connsiteX3" fmla="*/ 2976 w 2976"/>
              <a:gd name="connsiteY3" fmla="*/ 0 h 3918"/>
            </a:gdLst>
            <a:ahLst/>
            <a:cxnLst>
              <a:cxn ang="0">
                <a:pos x="connsiteX0" y="connsiteY0"/>
              </a:cxn>
              <a:cxn ang="0">
                <a:pos x="connsiteX1" y="connsiteY1"/>
              </a:cxn>
              <a:cxn ang="0">
                <a:pos x="connsiteX2" y="connsiteY2"/>
              </a:cxn>
              <a:cxn ang="0">
                <a:pos x="connsiteX3" y="connsiteY3"/>
              </a:cxn>
            </a:cxnLst>
            <a:rect l="l" t="t" r="r" b="b"/>
            <a:pathLst>
              <a:path w="2976" h="3918">
                <a:moveTo>
                  <a:pt x="2976" y="0"/>
                </a:moveTo>
                <a:lnTo>
                  <a:pt x="0" y="3918"/>
                </a:lnTo>
                <a:lnTo>
                  <a:pt x="0" y="2992"/>
                </a:lnTo>
                <a:lnTo>
                  <a:pt x="2976"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39" name="Freeform: Shape 38">
            <a:extLst>
              <a:ext uri="{FF2B5EF4-FFF2-40B4-BE49-F238E27FC236}">
                <a16:creationId xmlns:a16="http://schemas.microsoft.com/office/drawing/2014/main" id="{D94B3383-3876-87AB-FB8E-CCC82E37C42C}"/>
              </a:ext>
            </a:extLst>
          </p:cNvPr>
          <p:cNvSpPr/>
          <p:nvPr userDrawn="1"/>
        </p:nvSpPr>
        <p:spPr>
          <a:xfrm>
            <a:off x="8844236" y="2085914"/>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36" name="Freeform: Shape 35">
            <a:extLst>
              <a:ext uri="{FF2B5EF4-FFF2-40B4-BE49-F238E27FC236}">
                <a16:creationId xmlns:a16="http://schemas.microsoft.com/office/drawing/2014/main" id="{DEB81C0A-AE66-5727-27AB-E151BEEA0C3A}"/>
              </a:ext>
            </a:extLst>
          </p:cNvPr>
          <p:cNvSpPr/>
          <p:nvPr userDrawn="1"/>
        </p:nvSpPr>
        <p:spPr>
          <a:xfrm>
            <a:off x="8858788" y="2071835"/>
            <a:ext cx="6244" cy="13153"/>
          </a:xfrm>
          <a:custGeom>
            <a:avLst/>
            <a:gdLst>
              <a:gd name="connsiteX0" fmla="*/ 0 w 6244"/>
              <a:gd name="connsiteY0" fmla="*/ 0 h 13153"/>
              <a:gd name="connsiteX1" fmla="*/ 6244 w 6244"/>
              <a:gd name="connsiteY1" fmla="*/ 5860 h 13153"/>
              <a:gd name="connsiteX2" fmla="*/ 2976 w 6244"/>
              <a:gd name="connsiteY2" fmla="*/ 10161 h 13153"/>
              <a:gd name="connsiteX3" fmla="*/ 0 w 6244"/>
              <a:gd name="connsiteY3" fmla="*/ 13153 h 13153"/>
              <a:gd name="connsiteX4" fmla="*/ 0 w 6244"/>
              <a:gd name="connsiteY4" fmla="*/ 0 h 1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3">
                <a:moveTo>
                  <a:pt x="0" y="0"/>
                </a:moveTo>
                <a:lnTo>
                  <a:pt x="6244" y="5860"/>
                </a:lnTo>
                <a:lnTo>
                  <a:pt x="2976" y="10161"/>
                </a:lnTo>
                <a:lnTo>
                  <a:pt x="0" y="13153"/>
                </a:lnTo>
                <a:lnTo>
                  <a:pt x="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35" name="Freeform: Shape 34">
            <a:extLst>
              <a:ext uri="{FF2B5EF4-FFF2-40B4-BE49-F238E27FC236}">
                <a16:creationId xmlns:a16="http://schemas.microsoft.com/office/drawing/2014/main" id="{7E4E0E3E-6ED8-E3E2-B545-41DEAE96ABD9}"/>
              </a:ext>
            </a:extLst>
          </p:cNvPr>
          <p:cNvSpPr/>
          <p:nvPr userDrawn="1"/>
        </p:nvSpPr>
        <p:spPr>
          <a:xfrm>
            <a:off x="8858788" y="2081882"/>
            <a:ext cx="6022" cy="8635"/>
          </a:xfrm>
          <a:custGeom>
            <a:avLst/>
            <a:gdLst>
              <a:gd name="connsiteX0" fmla="*/ 3090 w 6022"/>
              <a:gd name="connsiteY0" fmla="*/ 0 h 8635"/>
              <a:gd name="connsiteX1" fmla="*/ 6022 w 6022"/>
              <a:gd name="connsiteY1" fmla="*/ 2613 h 8635"/>
              <a:gd name="connsiteX2" fmla="*/ 0 w 6022"/>
              <a:gd name="connsiteY2" fmla="*/ 8635 h 8635"/>
              <a:gd name="connsiteX3" fmla="*/ 0 w 6022"/>
              <a:gd name="connsiteY3" fmla="*/ 4032 h 8635"/>
              <a:gd name="connsiteX4" fmla="*/ 2976 w 6022"/>
              <a:gd name="connsiteY4" fmla="*/ 114 h 8635"/>
              <a:gd name="connsiteX5" fmla="*/ 3090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90" y="0"/>
                </a:moveTo>
                <a:lnTo>
                  <a:pt x="6022" y="2613"/>
                </a:lnTo>
                <a:lnTo>
                  <a:pt x="0" y="8635"/>
                </a:lnTo>
                <a:lnTo>
                  <a:pt x="0" y="4032"/>
                </a:lnTo>
                <a:lnTo>
                  <a:pt x="2976" y="114"/>
                </a:lnTo>
                <a:lnTo>
                  <a:pt x="309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 name="Freeform: Shape 1">
            <a:extLst>
              <a:ext uri="{FF2B5EF4-FFF2-40B4-BE49-F238E27FC236}">
                <a16:creationId xmlns:a16="http://schemas.microsoft.com/office/drawing/2014/main" id="{F32C4171-E65C-2015-203E-B6CC3466F953}"/>
              </a:ext>
            </a:extLst>
          </p:cNvPr>
          <p:cNvSpPr/>
          <p:nvPr userDrawn="1"/>
        </p:nvSpPr>
        <p:spPr>
          <a:xfrm>
            <a:off x="0" y="546736"/>
            <a:ext cx="8858789" cy="6311263"/>
          </a:xfrm>
          <a:custGeom>
            <a:avLst/>
            <a:gdLst>
              <a:gd name="connsiteX0" fmla="*/ 0 w 8858789"/>
              <a:gd name="connsiteY0" fmla="*/ 0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8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13" fmla="*/ 0 w 8858789"/>
              <a:gd name="connsiteY13" fmla="*/ 0 h 6858000"/>
              <a:gd name="connsiteX0" fmla="*/ 0 w 8858789"/>
              <a:gd name="connsiteY0" fmla="*/ 4342128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8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98900 w 8957689"/>
              <a:gd name="connsiteY0" fmla="*/ 3795391 h 6311263"/>
              <a:gd name="connsiteX1" fmla="*/ 98901 w 8957689"/>
              <a:gd name="connsiteY1" fmla="*/ 3780248 h 6311263"/>
              <a:gd name="connsiteX2" fmla="*/ 1434066 w 8957689"/>
              <a:gd name="connsiteY2" fmla="*/ 1712382 h 6311263"/>
              <a:gd name="connsiteX3" fmla="*/ 5386652 w 8957689"/>
              <a:gd name="connsiteY3" fmla="*/ 1066 h 6311263"/>
              <a:gd name="connsiteX4" fmla="*/ 6178418 w 8957689"/>
              <a:gd name="connsiteY4" fmla="*/ 48251 h 6311263"/>
              <a:gd name="connsiteX5" fmla="*/ 8925370 w 8957689"/>
              <a:gd name="connsiteY5" fmla="*/ 1494767 h 6311263"/>
              <a:gd name="connsiteX6" fmla="*/ 8957689 w 8957689"/>
              <a:gd name="connsiteY6" fmla="*/ 1525097 h 6311263"/>
              <a:gd name="connsiteX7" fmla="*/ 8957689 w 8957689"/>
              <a:gd name="connsiteY7" fmla="*/ 1538249 h 6311263"/>
              <a:gd name="connsiteX8" fmla="*/ 4208438 w 8957689"/>
              <a:gd name="connsiteY8" fmla="*/ 6311263 h 6311263"/>
              <a:gd name="connsiteX9" fmla="*/ 98901 w 8957689"/>
              <a:gd name="connsiteY9" fmla="*/ 6311263 h 6311263"/>
              <a:gd name="connsiteX10" fmla="*/ 98901 w 8957689"/>
              <a:gd name="connsiteY10" fmla="*/ 3795389 h 6311263"/>
              <a:gd name="connsiteX11" fmla="*/ 98900 w 8957689"/>
              <a:gd name="connsiteY11" fmla="*/ 3795391 h 6311263"/>
              <a:gd name="connsiteX0" fmla="*/ 0 w 8858789"/>
              <a:gd name="connsiteY0" fmla="*/ 3795391 h 6311263"/>
              <a:gd name="connsiteX1" fmla="*/ 1 w 8858789"/>
              <a:gd name="connsiteY1" fmla="*/ 3780248 h 6311263"/>
              <a:gd name="connsiteX2" fmla="*/ 1335166 w 8858789"/>
              <a:gd name="connsiteY2" fmla="*/ 1712382 h 6311263"/>
              <a:gd name="connsiteX3" fmla="*/ 5287752 w 8858789"/>
              <a:gd name="connsiteY3" fmla="*/ 1066 h 6311263"/>
              <a:gd name="connsiteX4" fmla="*/ 6079518 w 8858789"/>
              <a:gd name="connsiteY4" fmla="*/ 48251 h 6311263"/>
              <a:gd name="connsiteX5" fmla="*/ 8826470 w 8858789"/>
              <a:gd name="connsiteY5" fmla="*/ 1494767 h 6311263"/>
              <a:gd name="connsiteX6" fmla="*/ 8858789 w 8858789"/>
              <a:gd name="connsiteY6" fmla="*/ 1525097 h 6311263"/>
              <a:gd name="connsiteX7" fmla="*/ 8858789 w 8858789"/>
              <a:gd name="connsiteY7" fmla="*/ 1538249 h 6311263"/>
              <a:gd name="connsiteX8" fmla="*/ 4109538 w 8858789"/>
              <a:gd name="connsiteY8" fmla="*/ 6311263 h 6311263"/>
              <a:gd name="connsiteX9" fmla="*/ 1 w 8858789"/>
              <a:gd name="connsiteY9" fmla="*/ 6311263 h 6311263"/>
              <a:gd name="connsiteX10" fmla="*/ 1 w 8858789"/>
              <a:gd name="connsiteY10" fmla="*/ 3795389 h 6311263"/>
              <a:gd name="connsiteX11" fmla="*/ 0 w 8858789"/>
              <a:gd name="connsiteY11" fmla="*/ 3795391 h 63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789" h="6311263">
                <a:moveTo>
                  <a:pt x="0" y="3795391"/>
                </a:moveTo>
                <a:cubicBezTo>
                  <a:pt x="0" y="3790343"/>
                  <a:pt x="1" y="3785296"/>
                  <a:pt x="1" y="3780248"/>
                </a:cubicBezTo>
                <a:cubicBezTo>
                  <a:pt x="267925" y="3068601"/>
                  <a:pt x="696857" y="2353120"/>
                  <a:pt x="1335166" y="1712382"/>
                </a:cubicBezTo>
                <a:cubicBezTo>
                  <a:pt x="2563733" y="479137"/>
                  <a:pt x="4068321" y="25656"/>
                  <a:pt x="5287752" y="1066"/>
                </a:cubicBezTo>
                <a:cubicBezTo>
                  <a:pt x="5569159" y="-4609"/>
                  <a:pt x="5835380" y="12558"/>
                  <a:pt x="6079518" y="48251"/>
                </a:cubicBezTo>
                <a:cubicBezTo>
                  <a:pt x="6707087" y="137127"/>
                  <a:pt x="7661107" y="472509"/>
                  <a:pt x="8826470" y="1494767"/>
                </a:cubicBezTo>
                <a:lnTo>
                  <a:pt x="8858789" y="1525097"/>
                </a:lnTo>
                <a:lnTo>
                  <a:pt x="8858789" y="1538249"/>
                </a:lnTo>
                <a:lnTo>
                  <a:pt x="4109538" y="6311263"/>
                </a:lnTo>
                <a:lnTo>
                  <a:pt x="1" y="6311263"/>
                </a:lnTo>
                <a:lnTo>
                  <a:pt x="1" y="3795389"/>
                </a:lnTo>
                <a:cubicBezTo>
                  <a:pt x="1" y="3795390"/>
                  <a:pt x="0" y="3795390"/>
                  <a:pt x="0" y="3795391"/>
                </a:cubicBezTo>
                <a:close/>
              </a:path>
            </a:pathLst>
          </a:custGeom>
          <a:solidFill>
            <a:schemeClr val="accent5"/>
          </a:solidFill>
          <a:ln w="12700" cap="flat">
            <a:solidFill>
              <a:schemeClr val="accent5"/>
            </a:solidFill>
            <a:prstDash val="solid"/>
            <a:miter/>
          </a:ln>
        </p:spPr>
        <p:txBody>
          <a:bodyPr wrap="square" rtlCol="0" anchor="ctr">
            <a:noAutofit/>
          </a:bodyPr>
          <a:lstStyle/>
          <a:p>
            <a:endParaRPr lang="en-GB" dirty="0"/>
          </a:p>
        </p:txBody>
      </p:sp>
      <p:sp>
        <p:nvSpPr>
          <p:cNvPr id="20" name="Title 1">
            <a:extLst>
              <a:ext uri="{FF2B5EF4-FFF2-40B4-BE49-F238E27FC236}">
                <a16:creationId xmlns:a16="http://schemas.microsoft.com/office/drawing/2014/main" id="{8B9E5142-63A2-4423-A9DE-D70AAB78BAE2}"/>
              </a:ext>
            </a:extLst>
          </p:cNvPr>
          <p:cNvSpPr>
            <a:spLocks noGrp="1"/>
          </p:cNvSpPr>
          <p:nvPr>
            <p:ph type="ctrTitle" hasCustomPrompt="1"/>
          </p:nvPr>
        </p:nvSpPr>
        <p:spPr>
          <a:xfrm>
            <a:off x="1137600" y="4218920"/>
            <a:ext cx="6812280" cy="874022"/>
          </a:xfrm>
          <a:noFill/>
        </p:spPr>
        <p:txBody>
          <a:bodyPr wrap="square" anchor="b">
            <a:spAutoFit/>
          </a:bodyPr>
          <a:lstStyle>
            <a:lvl1pPr algn="l">
              <a:lnSpc>
                <a:spcPct val="80000"/>
              </a:lnSpc>
              <a:defRPr sz="7000" b="1">
                <a:solidFill>
                  <a:schemeClr val="bg1"/>
                </a:solidFill>
                <a:latin typeface="+mj-lt"/>
              </a:defRPr>
            </a:lvl1pPr>
          </a:lstStyle>
          <a:p>
            <a:r>
              <a:rPr lang="nl-NL" noProof="0" dirty="0"/>
              <a:t>Tekst</a:t>
            </a:r>
          </a:p>
        </p:txBody>
      </p:sp>
      <p:grpSp>
        <p:nvGrpSpPr>
          <p:cNvPr id="3" name="Group 2">
            <a:extLst>
              <a:ext uri="{FF2B5EF4-FFF2-40B4-BE49-F238E27FC236}">
                <a16:creationId xmlns:a16="http://schemas.microsoft.com/office/drawing/2014/main" id="{C771CFF4-2A23-3B2D-BB12-1F79B3DCA041}"/>
              </a:ext>
            </a:extLst>
          </p:cNvPr>
          <p:cNvGrpSpPr/>
          <p:nvPr userDrawn="1"/>
        </p:nvGrpSpPr>
        <p:grpSpPr>
          <a:xfrm>
            <a:off x="2335919" y="-761999"/>
            <a:ext cx="7122406" cy="608276"/>
            <a:chOff x="2335919" y="-761999"/>
            <a:chExt cx="7122406" cy="608276"/>
          </a:xfrm>
        </p:grpSpPr>
        <p:sp>
          <p:nvSpPr>
            <p:cNvPr id="4" name="Rectangle 3">
              <a:extLst>
                <a:ext uri="{FF2B5EF4-FFF2-40B4-BE49-F238E27FC236}">
                  <a16:creationId xmlns:a16="http://schemas.microsoft.com/office/drawing/2014/main" id="{11A1CE0D-79E1-78F7-218E-C0266A85F134}"/>
                </a:ext>
              </a:extLst>
            </p:cNvPr>
            <p:cNvSpPr/>
            <p:nvPr userDrawn="1"/>
          </p:nvSpPr>
          <p:spPr>
            <a:xfrm>
              <a:off x="2733675" y="-761999"/>
              <a:ext cx="6724650" cy="608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5" name="TextBox 4">
              <a:extLst>
                <a:ext uri="{FF2B5EF4-FFF2-40B4-BE49-F238E27FC236}">
                  <a16:creationId xmlns:a16="http://schemas.microsoft.com/office/drawing/2014/main" id="{0ADEA785-3F04-F457-74D3-23CDE0FC8B9D}"/>
                </a:ext>
              </a:extLst>
            </p:cNvPr>
            <p:cNvSpPr txBox="1"/>
            <p:nvPr userDrawn="1"/>
          </p:nvSpPr>
          <p:spPr>
            <a:xfrm>
              <a:off x="2335919" y="-581676"/>
              <a:ext cx="6337430" cy="261610"/>
            </a:xfrm>
            <a:prstGeom prst="rect">
              <a:avLst/>
            </a:prstGeom>
            <a:noFill/>
          </p:spPr>
          <p:txBody>
            <a:bodyPr wrap="square" rtlCol="0">
              <a:spAutoFit/>
            </a:bodyPr>
            <a:lstStyle/>
            <a:p>
              <a:pPr algn="ctr"/>
              <a:r>
                <a:rPr lang="nl-NL" sz="1100" noProof="1">
                  <a:solidFill>
                    <a:schemeClr val="tx1"/>
                  </a:solidFill>
                </a:rPr>
                <a:t>1 var. kleurvlak (accentkleur) via wijzigen achtergrond / kies alleen deze accentkleuren</a:t>
              </a:r>
            </a:p>
          </p:txBody>
        </p:sp>
        <p:grpSp>
          <p:nvGrpSpPr>
            <p:cNvPr id="14" name="Group 13">
              <a:extLst>
                <a:ext uri="{FF2B5EF4-FFF2-40B4-BE49-F238E27FC236}">
                  <a16:creationId xmlns:a16="http://schemas.microsoft.com/office/drawing/2014/main" id="{03A3D499-A01B-D97D-0AA3-C478E1D7BC3D}"/>
                </a:ext>
              </a:extLst>
            </p:cNvPr>
            <p:cNvGrpSpPr/>
            <p:nvPr userDrawn="1"/>
          </p:nvGrpSpPr>
          <p:grpSpPr>
            <a:xfrm>
              <a:off x="8550833" y="-543417"/>
              <a:ext cx="743864" cy="176763"/>
              <a:chOff x="4205004" y="-519709"/>
              <a:chExt cx="1108072" cy="263308"/>
            </a:xfrm>
          </p:grpSpPr>
          <p:sp>
            <p:nvSpPr>
              <p:cNvPr id="16" name="Rectangle 15">
                <a:extLst>
                  <a:ext uri="{FF2B5EF4-FFF2-40B4-BE49-F238E27FC236}">
                    <a16:creationId xmlns:a16="http://schemas.microsoft.com/office/drawing/2014/main" id="{973C7454-DD4E-AC69-D893-33F2425256AD}"/>
                  </a:ext>
                </a:extLst>
              </p:cNvPr>
              <p:cNvSpPr/>
              <p:nvPr userDrawn="1"/>
            </p:nvSpPr>
            <p:spPr>
              <a:xfrm>
                <a:off x="4205004" y="-519709"/>
                <a:ext cx="276225" cy="26330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7" name="Rectangle 16">
                <a:extLst>
                  <a:ext uri="{FF2B5EF4-FFF2-40B4-BE49-F238E27FC236}">
                    <a16:creationId xmlns:a16="http://schemas.microsoft.com/office/drawing/2014/main" id="{15B77128-BA39-329B-EB66-304F3047782C}"/>
                  </a:ext>
                </a:extLst>
              </p:cNvPr>
              <p:cNvSpPr/>
              <p:nvPr userDrawn="1"/>
            </p:nvSpPr>
            <p:spPr>
              <a:xfrm>
                <a:off x="5036851" y="-519709"/>
                <a:ext cx="276225" cy="263308"/>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8" name="Rectangle 17">
                <a:extLst>
                  <a:ext uri="{FF2B5EF4-FFF2-40B4-BE49-F238E27FC236}">
                    <a16:creationId xmlns:a16="http://schemas.microsoft.com/office/drawing/2014/main" id="{D5262C1C-2257-7479-232A-ECD0B1434C9C}"/>
                  </a:ext>
                </a:extLst>
              </p:cNvPr>
              <p:cNvSpPr/>
              <p:nvPr userDrawn="1"/>
            </p:nvSpPr>
            <p:spPr>
              <a:xfrm>
                <a:off x="4631249" y="-519709"/>
                <a:ext cx="276225" cy="263308"/>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cxnSp>
          <p:nvCxnSpPr>
            <p:cNvPr id="15" name="Straight Connector 14">
              <a:extLst>
                <a:ext uri="{FF2B5EF4-FFF2-40B4-BE49-F238E27FC236}">
                  <a16:creationId xmlns:a16="http://schemas.microsoft.com/office/drawing/2014/main" id="{682FA1A7-5FA4-094F-6C20-A35E7AC178BB}"/>
                </a:ext>
              </a:extLst>
            </p:cNvPr>
            <p:cNvCxnSpPr>
              <a:cxnSpLocks/>
            </p:cNvCxnSpPr>
            <p:nvPr userDrawn="1"/>
          </p:nvCxnSpPr>
          <p:spPr>
            <a:xfrm>
              <a:off x="2657475" y="-255323"/>
              <a:ext cx="67625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ep 5">
            <a:extLst>
              <a:ext uri="{FF2B5EF4-FFF2-40B4-BE49-F238E27FC236}">
                <a16:creationId xmlns:a16="http://schemas.microsoft.com/office/drawing/2014/main" id="{9AAB8133-D9DE-FA49-4CC2-2D43B6A62A89}"/>
              </a:ext>
            </a:extLst>
          </p:cNvPr>
          <p:cNvGrpSpPr/>
          <p:nvPr userDrawn="1"/>
        </p:nvGrpSpPr>
        <p:grpSpPr>
          <a:xfrm>
            <a:off x="10014482" y="5839298"/>
            <a:ext cx="1599388" cy="433809"/>
            <a:chOff x="3101010" y="1249096"/>
            <a:chExt cx="3978412" cy="1079079"/>
          </a:xfrm>
          <a:solidFill>
            <a:schemeClr val="bg1"/>
          </a:solidFill>
        </p:grpSpPr>
        <p:sp>
          <p:nvSpPr>
            <p:cNvPr id="8" name="Vrije vorm 7">
              <a:extLst>
                <a:ext uri="{FF2B5EF4-FFF2-40B4-BE49-F238E27FC236}">
                  <a16:creationId xmlns:a16="http://schemas.microsoft.com/office/drawing/2014/main" id="{A2EBBB9D-678E-E61C-A9C3-DE938600D87B}"/>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2CAD7138-1B37-E54A-F507-6618727C1261}"/>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65FDE0ED-0D22-0227-A1F3-4BD07E5F5B4D}"/>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4F4A1DFA-CAED-101B-F921-DE2E2230607F}"/>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A39A7344-7030-A43A-5B6F-514915393A77}"/>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BFA1B9E9-691A-94D7-CBCE-F3ECBD6926C0}"/>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6406AFA1-F8CB-7373-4FAA-C183747C3FFD}"/>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78D7CB40-2118-B002-FFE8-98695ECE6A25}"/>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4797214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Grafiek II / 2 kolommen">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20" name="Text Placeholder 13">
            <a:extLst>
              <a:ext uri="{FF2B5EF4-FFF2-40B4-BE49-F238E27FC236}">
                <a16:creationId xmlns:a16="http://schemas.microsoft.com/office/drawing/2014/main" id="{03AB347D-8882-2FD0-E079-612958D2016B}"/>
              </a:ext>
            </a:extLst>
          </p:cNvPr>
          <p:cNvSpPr>
            <a:spLocks noGrp="1"/>
          </p:cNvSpPr>
          <p:nvPr>
            <p:ph type="body" sz="quarter" idx="16"/>
          </p:nvPr>
        </p:nvSpPr>
        <p:spPr>
          <a:xfrm>
            <a:off x="1139125" y="2005200"/>
            <a:ext cx="4545423" cy="3848185"/>
          </a:xfrm>
        </p:spPr>
        <p:txBody>
          <a:bodyPr/>
          <a:lstStyle>
            <a:lvl1pPr>
              <a:defRPr sz="2400"/>
            </a:lvl1pPr>
            <a:lvl2pPr>
              <a:defRPr sz="2400"/>
            </a:lvl2pPr>
            <a:lvl3pPr>
              <a:defRPr sz="20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1" name="Chart Placeholder 2">
            <a:extLst>
              <a:ext uri="{FF2B5EF4-FFF2-40B4-BE49-F238E27FC236}">
                <a16:creationId xmlns:a16="http://schemas.microsoft.com/office/drawing/2014/main" id="{F56E271C-9600-82DF-0D31-989B97DD9B31}"/>
              </a:ext>
            </a:extLst>
          </p:cNvPr>
          <p:cNvSpPr>
            <a:spLocks noGrp="1"/>
          </p:cNvSpPr>
          <p:nvPr>
            <p:ph type="chart" sz="quarter" idx="19" hasCustomPrompt="1"/>
          </p:nvPr>
        </p:nvSpPr>
        <p:spPr>
          <a:xfrm>
            <a:off x="6517477" y="2557464"/>
            <a:ext cx="4545013" cy="3240000"/>
          </a:xfrm>
        </p:spPr>
        <p:txBody>
          <a:bodyPr tIns="914400"/>
          <a:lstStyle>
            <a:lvl1pPr algn="ctr">
              <a:defRPr sz="1800"/>
            </a:lvl1pPr>
          </a:lstStyle>
          <a:p>
            <a:r>
              <a:rPr lang="nl-NL" dirty="0"/>
              <a:t>Grafiek</a:t>
            </a:r>
            <a:endParaRPr lang="en-US" dirty="0"/>
          </a:p>
        </p:txBody>
      </p:sp>
      <p:sp>
        <p:nvSpPr>
          <p:cNvPr id="22" name="Text Placeholder 3">
            <a:extLst>
              <a:ext uri="{FF2B5EF4-FFF2-40B4-BE49-F238E27FC236}">
                <a16:creationId xmlns:a16="http://schemas.microsoft.com/office/drawing/2014/main" id="{5E8C067A-D518-F570-029F-B1C5ABC77397}"/>
              </a:ext>
            </a:extLst>
          </p:cNvPr>
          <p:cNvSpPr>
            <a:spLocks noGrp="1"/>
          </p:cNvSpPr>
          <p:nvPr>
            <p:ph type="body" sz="half" idx="15" hasCustomPrompt="1"/>
          </p:nvPr>
        </p:nvSpPr>
        <p:spPr>
          <a:xfrm>
            <a:off x="6503577"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grpSp>
        <p:nvGrpSpPr>
          <p:cNvPr id="2" name="Groep 1">
            <a:extLst>
              <a:ext uri="{FF2B5EF4-FFF2-40B4-BE49-F238E27FC236}">
                <a16:creationId xmlns:a16="http://schemas.microsoft.com/office/drawing/2014/main" id="{2C6C5860-6860-97DE-A845-0145ECD5181C}"/>
              </a:ext>
            </a:extLst>
          </p:cNvPr>
          <p:cNvGrpSpPr/>
          <p:nvPr userDrawn="1"/>
        </p:nvGrpSpPr>
        <p:grpSpPr>
          <a:xfrm>
            <a:off x="10014482" y="5839298"/>
            <a:ext cx="1599388" cy="433809"/>
            <a:chOff x="3101010" y="1249096"/>
            <a:chExt cx="3978412" cy="1079079"/>
          </a:xfrm>
          <a:solidFill>
            <a:schemeClr val="tx2"/>
          </a:solidFill>
        </p:grpSpPr>
        <p:sp>
          <p:nvSpPr>
            <p:cNvPr id="10" name="Vrije vorm 9">
              <a:extLst>
                <a:ext uri="{FF2B5EF4-FFF2-40B4-BE49-F238E27FC236}">
                  <a16:creationId xmlns:a16="http://schemas.microsoft.com/office/drawing/2014/main" id="{057CBD5F-1B83-722B-4664-9B19874A40EE}"/>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06B4CE77-6D08-55C4-67F9-A9EFC9DE9DE5}"/>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0EAFBE9A-8298-11EC-C7CF-0C9A1C79771D}"/>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5A8F342F-8F73-639E-C5D4-6DADD79E33D2}"/>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923C9F98-1294-2AAC-A7D3-C7563397A018}"/>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25DC6592-E1B6-EF33-0F99-40EA66DC84F0}"/>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AF7E8616-B8A3-E54B-6F4A-B04A689C6831}"/>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4DBDCC78-7047-0A1C-5088-5A73202723CB}"/>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40959610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ilm ">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27" name="Media Placeholder 25">
            <a:extLst>
              <a:ext uri="{FF2B5EF4-FFF2-40B4-BE49-F238E27FC236}">
                <a16:creationId xmlns:a16="http://schemas.microsoft.com/office/drawing/2014/main" id="{7A64372C-BA04-29DD-614E-7D229BE32CA8}"/>
              </a:ext>
            </a:extLst>
          </p:cNvPr>
          <p:cNvSpPr>
            <a:spLocks noGrp="1"/>
          </p:cNvSpPr>
          <p:nvPr>
            <p:ph type="media" sz="quarter" idx="15" hasCustomPrompt="1"/>
          </p:nvPr>
        </p:nvSpPr>
        <p:spPr>
          <a:xfrm>
            <a:off x="2682875" y="2058988"/>
            <a:ext cx="6826250" cy="3856037"/>
          </a:xfrm>
          <a:noFill/>
        </p:spPr>
        <p:txBody>
          <a:bodyPr tIns="914400"/>
          <a:lstStyle>
            <a:lvl1pPr algn="ctr">
              <a:defRPr sz="1800"/>
            </a:lvl1pPr>
          </a:lstStyle>
          <a:p>
            <a:r>
              <a:rPr lang="nl-NL" dirty="0"/>
              <a:t>Media</a:t>
            </a:r>
            <a:endParaRPr lang="en-US" dirty="0"/>
          </a:p>
        </p:txBody>
      </p:sp>
      <p:grpSp>
        <p:nvGrpSpPr>
          <p:cNvPr id="2" name="Groep 1">
            <a:extLst>
              <a:ext uri="{FF2B5EF4-FFF2-40B4-BE49-F238E27FC236}">
                <a16:creationId xmlns:a16="http://schemas.microsoft.com/office/drawing/2014/main" id="{E43B9C96-A80C-E3F8-0800-9B39142529FF}"/>
              </a:ext>
            </a:extLst>
          </p:cNvPr>
          <p:cNvGrpSpPr/>
          <p:nvPr userDrawn="1"/>
        </p:nvGrpSpPr>
        <p:grpSpPr>
          <a:xfrm>
            <a:off x="10014482" y="5839298"/>
            <a:ext cx="1599388" cy="433809"/>
            <a:chOff x="3101010" y="1249096"/>
            <a:chExt cx="3978412" cy="1079079"/>
          </a:xfrm>
          <a:solidFill>
            <a:schemeClr val="tx2"/>
          </a:solidFill>
        </p:grpSpPr>
        <p:sp>
          <p:nvSpPr>
            <p:cNvPr id="10" name="Vrije vorm 9">
              <a:extLst>
                <a:ext uri="{FF2B5EF4-FFF2-40B4-BE49-F238E27FC236}">
                  <a16:creationId xmlns:a16="http://schemas.microsoft.com/office/drawing/2014/main" id="{1AED1BFD-C69F-7631-9B7D-421818A9AFCF}"/>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72FC6FC8-621A-84E8-68E1-CE07C2240D2D}"/>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C1DFC649-1904-DC13-7CE9-3B5B6CEB5BE0}"/>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7E6F67E8-173B-79FF-2D99-ACFC8C925DF7}"/>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D1BFDD35-C236-BC52-5AA1-4ECA4C76F800}"/>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8E1B1B65-2A9E-86BF-F589-9377A16DA3EA}"/>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E328645A-D84D-8000-F5C4-428A9E95E665}"/>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E196AA5C-997E-DCB5-7464-B5085B9BEA63}"/>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2944504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eeld  / full screen / tekst wit">
    <p:bg>
      <p:bgPr>
        <a:solidFill>
          <a:schemeClr val="bg1"/>
        </a:solidFill>
        <a:effectLst/>
      </p:bgPr>
    </p:bg>
    <p:spTree>
      <p:nvGrpSpPr>
        <p:cNvPr id="1" name=""/>
        <p:cNvGrpSpPr/>
        <p:nvPr/>
      </p:nvGrpSpPr>
      <p:grpSpPr>
        <a:xfrm>
          <a:off x="0" y="0"/>
          <a:ext cx="0" cy="0"/>
          <a:chOff x="0" y="0"/>
          <a:chExt cx="0" cy="0"/>
        </a:xfrm>
      </p:grpSpPr>
      <p:sp>
        <p:nvSpPr>
          <p:cNvPr id="21" name="Tijdelijke aanduiding voor afbeelding 20">
            <a:extLst>
              <a:ext uri="{FF2B5EF4-FFF2-40B4-BE49-F238E27FC236}">
                <a16:creationId xmlns:a16="http://schemas.microsoft.com/office/drawing/2014/main" id="{EB3B2FC6-0F2E-79B7-83AC-ED951D7C3CD7}"/>
              </a:ext>
            </a:extLst>
          </p:cNvPr>
          <p:cNvSpPr>
            <a:spLocks noGrp="1"/>
          </p:cNvSpPr>
          <p:nvPr>
            <p:ph type="pic" sz="quarter" idx="19"/>
          </p:nvPr>
        </p:nvSpPr>
        <p:spPr>
          <a:xfrm>
            <a:off x="0" y="-6038"/>
            <a:ext cx="12192000" cy="6864039"/>
          </a:xfrm>
          <a:custGeom>
            <a:avLst/>
            <a:gdLst>
              <a:gd name="connsiteX0" fmla="*/ 10920647 w 12192000"/>
              <a:gd name="connsiteY0" fmla="*/ 6213274 h 6864039"/>
              <a:gd name="connsiteX1" fmla="*/ 10939853 w 12192000"/>
              <a:gd name="connsiteY1" fmla="*/ 6234021 h 6864039"/>
              <a:gd name="connsiteX2" fmla="*/ 10920647 w 12192000"/>
              <a:gd name="connsiteY2" fmla="*/ 6254768 h 6864039"/>
              <a:gd name="connsiteX3" fmla="*/ 10901442 w 12192000"/>
              <a:gd name="connsiteY3" fmla="*/ 6234021 h 6864039"/>
              <a:gd name="connsiteX4" fmla="*/ 10920647 w 12192000"/>
              <a:gd name="connsiteY4" fmla="*/ 6213274 h 6864039"/>
              <a:gd name="connsiteX5" fmla="*/ 11353674 w 12192000"/>
              <a:gd name="connsiteY5" fmla="*/ 6212582 h 6864039"/>
              <a:gd name="connsiteX6" fmla="*/ 11373396 w 12192000"/>
              <a:gd name="connsiteY6" fmla="*/ 6234021 h 6864039"/>
              <a:gd name="connsiteX7" fmla="*/ 11353674 w 12192000"/>
              <a:gd name="connsiteY7" fmla="*/ 6255461 h 6864039"/>
              <a:gd name="connsiteX8" fmla="*/ 11333950 w 12192000"/>
              <a:gd name="connsiteY8" fmla="*/ 6234021 h 6864039"/>
              <a:gd name="connsiteX9" fmla="*/ 11353674 w 12192000"/>
              <a:gd name="connsiteY9" fmla="*/ 6212582 h 6864039"/>
              <a:gd name="connsiteX10" fmla="*/ 10649903 w 12192000"/>
              <a:gd name="connsiteY10" fmla="*/ 6212582 h 6864039"/>
              <a:gd name="connsiteX11" fmla="*/ 10669626 w 12192000"/>
              <a:gd name="connsiteY11" fmla="*/ 6234021 h 6864039"/>
              <a:gd name="connsiteX12" fmla="*/ 10649903 w 12192000"/>
              <a:gd name="connsiteY12" fmla="*/ 6255461 h 6864039"/>
              <a:gd name="connsiteX13" fmla="*/ 10630179 w 12192000"/>
              <a:gd name="connsiteY13" fmla="*/ 6234021 h 6864039"/>
              <a:gd name="connsiteX14" fmla="*/ 10649903 w 12192000"/>
              <a:gd name="connsiteY14" fmla="*/ 6212582 h 6864039"/>
              <a:gd name="connsiteX15" fmla="*/ 11252814 w 12192000"/>
              <a:gd name="connsiteY15" fmla="*/ 6210161 h 6864039"/>
              <a:gd name="connsiteX16" fmla="*/ 11270634 w 12192000"/>
              <a:gd name="connsiteY16" fmla="*/ 6223129 h 6864039"/>
              <a:gd name="connsiteX17" fmla="*/ 11233955 w 12192000"/>
              <a:gd name="connsiteY17" fmla="*/ 6223129 h 6864039"/>
              <a:gd name="connsiteX18" fmla="*/ 11252814 w 12192000"/>
              <a:gd name="connsiteY18" fmla="*/ 6210161 h 6864039"/>
              <a:gd name="connsiteX19" fmla="*/ 10549043 w 12192000"/>
              <a:gd name="connsiteY19" fmla="*/ 6210161 h 6864039"/>
              <a:gd name="connsiteX20" fmla="*/ 10566863 w 12192000"/>
              <a:gd name="connsiteY20" fmla="*/ 6223129 h 6864039"/>
              <a:gd name="connsiteX21" fmla="*/ 10530184 w 12192000"/>
              <a:gd name="connsiteY21" fmla="*/ 6223129 h 6864039"/>
              <a:gd name="connsiteX22" fmla="*/ 10549043 w 12192000"/>
              <a:gd name="connsiteY22" fmla="*/ 6210161 h 6864039"/>
              <a:gd name="connsiteX23" fmla="*/ 10715119 w 12192000"/>
              <a:gd name="connsiteY23" fmla="*/ 6190797 h 6864039"/>
              <a:gd name="connsiteX24" fmla="*/ 10715119 w 12192000"/>
              <a:gd name="connsiteY24" fmla="*/ 6277246 h 6864039"/>
              <a:gd name="connsiteX25" fmla="*/ 10741246 w 12192000"/>
              <a:gd name="connsiteY25" fmla="*/ 6277246 h 6864039"/>
              <a:gd name="connsiteX26" fmla="*/ 10741246 w 12192000"/>
              <a:gd name="connsiteY26" fmla="*/ 6213447 h 6864039"/>
              <a:gd name="connsiteX27" fmla="*/ 10770312 w 12192000"/>
              <a:gd name="connsiteY27" fmla="*/ 6213447 h 6864039"/>
              <a:gd name="connsiteX28" fmla="*/ 10770312 w 12192000"/>
              <a:gd name="connsiteY28" fmla="*/ 6190797 h 6864039"/>
              <a:gd name="connsiteX29" fmla="*/ 11347790 w 12192000"/>
              <a:gd name="connsiteY29" fmla="*/ 6188895 h 6864039"/>
              <a:gd name="connsiteX30" fmla="*/ 11307651 w 12192000"/>
              <a:gd name="connsiteY30" fmla="*/ 6234021 h 6864039"/>
              <a:gd name="connsiteX31" fmla="*/ 11347790 w 12192000"/>
              <a:gd name="connsiteY31" fmla="*/ 6279146 h 6864039"/>
              <a:gd name="connsiteX32" fmla="*/ 11371322 w 12192000"/>
              <a:gd name="connsiteY32" fmla="*/ 6268601 h 6864039"/>
              <a:gd name="connsiteX33" fmla="*/ 11371322 w 12192000"/>
              <a:gd name="connsiteY33" fmla="*/ 6277246 h 6864039"/>
              <a:gd name="connsiteX34" fmla="*/ 11397447 w 12192000"/>
              <a:gd name="connsiteY34" fmla="*/ 6277246 h 6864039"/>
              <a:gd name="connsiteX35" fmla="*/ 11397447 w 12192000"/>
              <a:gd name="connsiteY35" fmla="*/ 6190797 h 6864039"/>
              <a:gd name="connsiteX36" fmla="*/ 11371322 w 12192000"/>
              <a:gd name="connsiteY36" fmla="*/ 6190797 h 6864039"/>
              <a:gd name="connsiteX37" fmla="*/ 11371322 w 12192000"/>
              <a:gd name="connsiteY37" fmla="*/ 6199442 h 6864039"/>
              <a:gd name="connsiteX38" fmla="*/ 11347790 w 12192000"/>
              <a:gd name="connsiteY38" fmla="*/ 6188895 h 6864039"/>
              <a:gd name="connsiteX39" fmla="*/ 11253506 w 12192000"/>
              <a:gd name="connsiteY39" fmla="*/ 6188895 h 6864039"/>
              <a:gd name="connsiteX40" fmla="*/ 11208003 w 12192000"/>
              <a:gd name="connsiteY40" fmla="*/ 6234021 h 6864039"/>
              <a:gd name="connsiteX41" fmla="*/ 11254025 w 12192000"/>
              <a:gd name="connsiteY41" fmla="*/ 6279146 h 6864039"/>
              <a:gd name="connsiteX42" fmla="*/ 11294684 w 12192000"/>
              <a:gd name="connsiteY42" fmla="*/ 6260129 h 6864039"/>
              <a:gd name="connsiteX43" fmla="*/ 11275306 w 12192000"/>
              <a:gd name="connsiteY43" fmla="*/ 6245606 h 6864039"/>
              <a:gd name="connsiteX44" fmla="*/ 11254371 w 12192000"/>
              <a:gd name="connsiteY44" fmla="*/ 6255461 h 6864039"/>
              <a:gd name="connsiteX45" fmla="*/ 11233263 w 12192000"/>
              <a:gd name="connsiteY45" fmla="*/ 6240246 h 6864039"/>
              <a:gd name="connsiteX46" fmla="*/ 11296068 w 12192000"/>
              <a:gd name="connsiteY46" fmla="*/ 6240246 h 6864039"/>
              <a:gd name="connsiteX47" fmla="*/ 11296587 w 12192000"/>
              <a:gd name="connsiteY47" fmla="*/ 6231083 h 6864039"/>
              <a:gd name="connsiteX48" fmla="*/ 11253506 w 12192000"/>
              <a:gd name="connsiteY48" fmla="*/ 6188895 h 6864039"/>
              <a:gd name="connsiteX49" fmla="*/ 10920647 w 12192000"/>
              <a:gd name="connsiteY49" fmla="*/ 6188895 h 6864039"/>
              <a:gd name="connsiteX50" fmla="*/ 10875145 w 12192000"/>
              <a:gd name="connsiteY50" fmla="*/ 6234021 h 6864039"/>
              <a:gd name="connsiteX51" fmla="*/ 10920647 w 12192000"/>
              <a:gd name="connsiteY51" fmla="*/ 6279146 h 6864039"/>
              <a:gd name="connsiteX52" fmla="*/ 10966150 w 12192000"/>
              <a:gd name="connsiteY52" fmla="*/ 6234021 h 6864039"/>
              <a:gd name="connsiteX53" fmla="*/ 10920647 w 12192000"/>
              <a:gd name="connsiteY53" fmla="*/ 6188895 h 6864039"/>
              <a:gd name="connsiteX54" fmla="*/ 10644019 w 12192000"/>
              <a:gd name="connsiteY54" fmla="*/ 6188895 h 6864039"/>
              <a:gd name="connsiteX55" fmla="*/ 10603880 w 12192000"/>
              <a:gd name="connsiteY55" fmla="*/ 6234021 h 6864039"/>
              <a:gd name="connsiteX56" fmla="*/ 10644019 w 12192000"/>
              <a:gd name="connsiteY56" fmla="*/ 6279146 h 6864039"/>
              <a:gd name="connsiteX57" fmla="*/ 10667549 w 12192000"/>
              <a:gd name="connsiteY57" fmla="*/ 6268601 h 6864039"/>
              <a:gd name="connsiteX58" fmla="*/ 10667549 w 12192000"/>
              <a:gd name="connsiteY58" fmla="*/ 6277246 h 6864039"/>
              <a:gd name="connsiteX59" fmla="*/ 10693676 w 12192000"/>
              <a:gd name="connsiteY59" fmla="*/ 6277246 h 6864039"/>
              <a:gd name="connsiteX60" fmla="*/ 10693676 w 12192000"/>
              <a:gd name="connsiteY60" fmla="*/ 6190797 h 6864039"/>
              <a:gd name="connsiteX61" fmla="*/ 10667549 w 12192000"/>
              <a:gd name="connsiteY61" fmla="*/ 6190797 h 6864039"/>
              <a:gd name="connsiteX62" fmla="*/ 10667549 w 12192000"/>
              <a:gd name="connsiteY62" fmla="*/ 6199442 h 6864039"/>
              <a:gd name="connsiteX63" fmla="*/ 10644019 w 12192000"/>
              <a:gd name="connsiteY63" fmla="*/ 6188895 h 6864039"/>
              <a:gd name="connsiteX64" fmla="*/ 10549735 w 12192000"/>
              <a:gd name="connsiteY64" fmla="*/ 6188895 h 6864039"/>
              <a:gd name="connsiteX65" fmla="*/ 10504232 w 12192000"/>
              <a:gd name="connsiteY65" fmla="*/ 6234021 h 6864039"/>
              <a:gd name="connsiteX66" fmla="*/ 10550254 w 12192000"/>
              <a:gd name="connsiteY66" fmla="*/ 6279146 h 6864039"/>
              <a:gd name="connsiteX67" fmla="*/ 10590911 w 12192000"/>
              <a:gd name="connsiteY67" fmla="*/ 6260129 h 6864039"/>
              <a:gd name="connsiteX68" fmla="*/ 10571535 w 12192000"/>
              <a:gd name="connsiteY68" fmla="*/ 6245606 h 6864039"/>
              <a:gd name="connsiteX69" fmla="*/ 10550600 w 12192000"/>
              <a:gd name="connsiteY69" fmla="*/ 6255461 h 6864039"/>
              <a:gd name="connsiteX70" fmla="*/ 10529492 w 12192000"/>
              <a:gd name="connsiteY70" fmla="*/ 6240246 h 6864039"/>
              <a:gd name="connsiteX71" fmla="*/ 10592297 w 12192000"/>
              <a:gd name="connsiteY71" fmla="*/ 6240246 h 6864039"/>
              <a:gd name="connsiteX72" fmla="*/ 10592816 w 12192000"/>
              <a:gd name="connsiteY72" fmla="*/ 6231083 h 6864039"/>
              <a:gd name="connsiteX73" fmla="*/ 10549735 w 12192000"/>
              <a:gd name="connsiteY73" fmla="*/ 6188895 h 6864039"/>
              <a:gd name="connsiteX74" fmla="*/ 11492593 w 12192000"/>
              <a:gd name="connsiteY74" fmla="*/ 6163306 h 6864039"/>
              <a:gd name="connsiteX75" fmla="*/ 11466466 w 12192000"/>
              <a:gd name="connsiteY75" fmla="*/ 6190797 h 6864039"/>
              <a:gd name="connsiteX76" fmla="*/ 11466466 w 12192000"/>
              <a:gd name="connsiteY76" fmla="*/ 6277246 h 6864039"/>
              <a:gd name="connsiteX77" fmla="*/ 11492593 w 12192000"/>
              <a:gd name="connsiteY77" fmla="*/ 6277246 h 6864039"/>
              <a:gd name="connsiteX78" fmla="*/ 11492593 w 12192000"/>
              <a:gd name="connsiteY78" fmla="*/ 6213447 h 6864039"/>
              <a:gd name="connsiteX79" fmla="*/ 11516814 w 12192000"/>
              <a:gd name="connsiteY79" fmla="*/ 6213447 h 6864039"/>
              <a:gd name="connsiteX80" fmla="*/ 11516814 w 12192000"/>
              <a:gd name="connsiteY80" fmla="*/ 6190797 h 6864039"/>
              <a:gd name="connsiteX81" fmla="*/ 11492593 w 12192000"/>
              <a:gd name="connsiteY81" fmla="*/ 6190797 h 6864039"/>
              <a:gd name="connsiteX82" fmla="*/ 10810792 w 12192000"/>
              <a:gd name="connsiteY82" fmla="*/ 6163306 h 6864039"/>
              <a:gd name="connsiteX83" fmla="*/ 10784666 w 12192000"/>
              <a:gd name="connsiteY83" fmla="*/ 6190797 h 6864039"/>
              <a:gd name="connsiteX84" fmla="*/ 10784666 w 12192000"/>
              <a:gd name="connsiteY84" fmla="*/ 6277246 h 6864039"/>
              <a:gd name="connsiteX85" fmla="*/ 10810792 w 12192000"/>
              <a:gd name="connsiteY85" fmla="*/ 6277246 h 6864039"/>
              <a:gd name="connsiteX86" fmla="*/ 10810792 w 12192000"/>
              <a:gd name="connsiteY86" fmla="*/ 6213447 h 6864039"/>
              <a:gd name="connsiteX87" fmla="*/ 10835013 w 12192000"/>
              <a:gd name="connsiteY87" fmla="*/ 6213447 h 6864039"/>
              <a:gd name="connsiteX88" fmla="*/ 10835013 w 12192000"/>
              <a:gd name="connsiteY88" fmla="*/ 6190797 h 6864039"/>
              <a:gd name="connsiteX89" fmla="*/ 10810792 w 12192000"/>
              <a:gd name="connsiteY89" fmla="*/ 6190797 h 6864039"/>
              <a:gd name="connsiteX90" fmla="*/ 11088283 w 12192000"/>
              <a:gd name="connsiteY90" fmla="*/ 6154490 h 6864039"/>
              <a:gd name="connsiteX91" fmla="*/ 11088283 w 12192000"/>
              <a:gd name="connsiteY91" fmla="*/ 6277246 h 6864039"/>
              <a:gd name="connsiteX92" fmla="*/ 11115793 w 12192000"/>
              <a:gd name="connsiteY92" fmla="*/ 6277246 h 6864039"/>
              <a:gd name="connsiteX93" fmla="*/ 11115793 w 12192000"/>
              <a:gd name="connsiteY93" fmla="*/ 6228662 h 6864039"/>
              <a:gd name="connsiteX94" fmla="*/ 11165275 w 12192000"/>
              <a:gd name="connsiteY94" fmla="*/ 6228662 h 6864039"/>
              <a:gd name="connsiteX95" fmla="*/ 11165275 w 12192000"/>
              <a:gd name="connsiteY95" fmla="*/ 6277246 h 6864039"/>
              <a:gd name="connsiteX96" fmla="*/ 11192784 w 12192000"/>
              <a:gd name="connsiteY96" fmla="*/ 6277246 h 6864039"/>
              <a:gd name="connsiteX97" fmla="*/ 11192784 w 12192000"/>
              <a:gd name="connsiteY97" fmla="*/ 6154490 h 6864039"/>
              <a:gd name="connsiteX98" fmla="*/ 11165275 w 12192000"/>
              <a:gd name="connsiteY98" fmla="*/ 6154490 h 6864039"/>
              <a:gd name="connsiteX99" fmla="*/ 11165275 w 12192000"/>
              <a:gd name="connsiteY99" fmla="*/ 6202554 h 6864039"/>
              <a:gd name="connsiteX100" fmla="*/ 11115793 w 12192000"/>
              <a:gd name="connsiteY100" fmla="*/ 6202554 h 6864039"/>
              <a:gd name="connsiteX101" fmla="*/ 11115793 w 12192000"/>
              <a:gd name="connsiteY101" fmla="*/ 6154490 h 6864039"/>
              <a:gd name="connsiteX102" fmla="*/ 10384512 w 12192000"/>
              <a:gd name="connsiteY102" fmla="*/ 6154490 h 6864039"/>
              <a:gd name="connsiteX103" fmla="*/ 10384512 w 12192000"/>
              <a:gd name="connsiteY103" fmla="*/ 6238904 h 6864039"/>
              <a:gd name="connsiteX104" fmla="*/ 10412020 w 12192000"/>
              <a:gd name="connsiteY104" fmla="*/ 6266394 h 6864039"/>
              <a:gd name="connsiteX105" fmla="*/ 10412020 w 12192000"/>
              <a:gd name="connsiteY105" fmla="*/ 6228662 h 6864039"/>
              <a:gd name="connsiteX106" fmla="*/ 10461504 w 12192000"/>
              <a:gd name="connsiteY106" fmla="*/ 6228662 h 6864039"/>
              <a:gd name="connsiteX107" fmla="*/ 10461504 w 12192000"/>
              <a:gd name="connsiteY107" fmla="*/ 6277246 h 6864039"/>
              <a:gd name="connsiteX108" fmla="*/ 10489013 w 12192000"/>
              <a:gd name="connsiteY108" fmla="*/ 6277246 h 6864039"/>
              <a:gd name="connsiteX109" fmla="*/ 10489013 w 12192000"/>
              <a:gd name="connsiteY109" fmla="*/ 6154490 h 6864039"/>
              <a:gd name="connsiteX110" fmla="*/ 10461504 w 12192000"/>
              <a:gd name="connsiteY110" fmla="*/ 6154490 h 6864039"/>
              <a:gd name="connsiteX111" fmla="*/ 10461504 w 12192000"/>
              <a:gd name="connsiteY111" fmla="*/ 6202554 h 6864039"/>
              <a:gd name="connsiteX112" fmla="*/ 10412020 w 12192000"/>
              <a:gd name="connsiteY112" fmla="*/ 6202554 h 6864039"/>
              <a:gd name="connsiteX113" fmla="*/ 10412020 w 12192000"/>
              <a:gd name="connsiteY113" fmla="*/ 6154490 h 6864039"/>
              <a:gd name="connsiteX114" fmla="*/ 11530130 w 12192000"/>
              <a:gd name="connsiteY114" fmla="*/ 6147573 h 6864039"/>
              <a:gd name="connsiteX115" fmla="*/ 11530130 w 12192000"/>
              <a:gd name="connsiteY115" fmla="*/ 6277246 h 6864039"/>
              <a:gd name="connsiteX116" fmla="*/ 11556257 w 12192000"/>
              <a:gd name="connsiteY116" fmla="*/ 6277246 h 6864039"/>
              <a:gd name="connsiteX117" fmla="*/ 11556257 w 12192000"/>
              <a:gd name="connsiteY117" fmla="*/ 6235231 h 6864039"/>
              <a:gd name="connsiteX118" fmla="*/ 11573731 w 12192000"/>
              <a:gd name="connsiteY118" fmla="*/ 6212582 h 6864039"/>
              <a:gd name="connsiteX119" fmla="*/ 11587744 w 12192000"/>
              <a:gd name="connsiteY119" fmla="*/ 6231773 h 6864039"/>
              <a:gd name="connsiteX120" fmla="*/ 11587744 w 12192000"/>
              <a:gd name="connsiteY120" fmla="*/ 6277246 h 6864039"/>
              <a:gd name="connsiteX121" fmla="*/ 11613870 w 12192000"/>
              <a:gd name="connsiteY121" fmla="*/ 6277246 h 6864039"/>
              <a:gd name="connsiteX122" fmla="*/ 11613870 w 12192000"/>
              <a:gd name="connsiteY122" fmla="*/ 6227279 h 6864039"/>
              <a:gd name="connsiteX123" fmla="*/ 11580305 w 12192000"/>
              <a:gd name="connsiteY123" fmla="*/ 6188895 h 6864039"/>
              <a:gd name="connsiteX124" fmla="*/ 11556257 w 12192000"/>
              <a:gd name="connsiteY124" fmla="*/ 6199616 h 6864039"/>
              <a:gd name="connsiteX125" fmla="*/ 11556257 w 12192000"/>
              <a:gd name="connsiteY125" fmla="*/ 6147573 h 6864039"/>
              <a:gd name="connsiteX126" fmla="*/ 11418892 w 12192000"/>
              <a:gd name="connsiteY126" fmla="*/ 6147573 h 6864039"/>
              <a:gd name="connsiteX127" fmla="*/ 11418892 w 12192000"/>
              <a:gd name="connsiteY127" fmla="*/ 6277246 h 6864039"/>
              <a:gd name="connsiteX128" fmla="*/ 11445018 w 12192000"/>
              <a:gd name="connsiteY128" fmla="*/ 6277246 h 6864039"/>
              <a:gd name="connsiteX129" fmla="*/ 11445018 w 12192000"/>
              <a:gd name="connsiteY129" fmla="*/ 6147573 h 6864039"/>
              <a:gd name="connsiteX130" fmla="*/ 11025143 w 12192000"/>
              <a:gd name="connsiteY130" fmla="*/ 6146536 h 6864039"/>
              <a:gd name="connsiteX131" fmla="*/ 10990366 w 12192000"/>
              <a:gd name="connsiteY131" fmla="*/ 6181289 h 6864039"/>
              <a:gd name="connsiteX132" fmla="*/ 10990366 w 12192000"/>
              <a:gd name="connsiteY132" fmla="*/ 6190797 h 6864039"/>
              <a:gd name="connsiteX133" fmla="*/ 10973066 w 12192000"/>
              <a:gd name="connsiteY133" fmla="*/ 6190797 h 6864039"/>
              <a:gd name="connsiteX134" fmla="*/ 10973066 w 12192000"/>
              <a:gd name="connsiteY134" fmla="*/ 6213447 h 6864039"/>
              <a:gd name="connsiteX135" fmla="*/ 10990366 w 12192000"/>
              <a:gd name="connsiteY135" fmla="*/ 6213447 h 6864039"/>
              <a:gd name="connsiteX136" fmla="*/ 10990366 w 12192000"/>
              <a:gd name="connsiteY136" fmla="*/ 6277246 h 6864039"/>
              <a:gd name="connsiteX137" fmla="*/ 11016492 w 12192000"/>
              <a:gd name="connsiteY137" fmla="*/ 6277246 h 6864039"/>
              <a:gd name="connsiteX138" fmla="*/ 11016492 w 12192000"/>
              <a:gd name="connsiteY138" fmla="*/ 6213447 h 6864039"/>
              <a:gd name="connsiteX139" fmla="*/ 11040715 w 12192000"/>
              <a:gd name="connsiteY139" fmla="*/ 6213447 h 6864039"/>
              <a:gd name="connsiteX140" fmla="*/ 11040715 w 12192000"/>
              <a:gd name="connsiteY140" fmla="*/ 6190797 h 6864039"/>
              <a:gd name="connsiteX141" fmla="*/ 11016492 w 12192000"/>
              <a:gd name="connsiteY141" fmla="*/ 6190797 h 6864039"/>
              <a:gd name="connsiteX142" fmla="*/ 11016492 w 12192000"/>
              <a:gd name="connsiteY142" fmla="*/ 6184573 h 6864039"/>
              <a:gd name="connsiteX143" fmla="*/ 11031372 w 12192000"/>
              <a:gd name="connsiteY143" fmla="*/ 6169877 h 6864039"/>
              <a:gd name="connsiteX144" fmla="*/ 11040715 w 12192000"/>
              <a:gd name="connsiteY144" fmla="*/ 6171432 h 6864039"/>
              <a:gd name="connsiteX145" fmla="*/ 11040715 w 12192000"/>
              <a:gd name="connsiteY145" fmla="*/ 6148437 h 6864039"/>
              <a:gd name="connsiteX146" fmla="*/ 11025143 w 12192000"/>
              <a:gd name="connsiteY146" fmla="*/ 6146536 h 6864039"/>
              <a:gd name="connsiteX147" fmla="*/ 10558900 w 12192000"/>
              <a:gd name="connsiteY147" fmla="*/ 5954887 h 6864039"/>
              <a:gd name="connsiteX148" fmla="*/ 10597880 w 12192000"/>
              <a:gd name="connsiteY148" fmla="*/ 5981376 h 6864039"/>
              <a:gd name="connsiteX149" fmla="*/ 10518342 w 12192000"/>
              <a:gd name="connsiteY149" fmla="*/ 5981376 h 6864039"/>
              <a:gd name="connsiteX150" fmla="*/ 10558900 w 12192000"/>
              <a:gd name="connsiteY150" fmla="*/ 5954887 h 6864039"/>
              <a:gd name="connsiteX151" fmla="*/ 10558576 w 12192000"/>
              <a:gd name="connsiteY151" fmla="*/ 5902060 h 6864039"/>
              <a:gd name="connsiteX152" fmla="*/ 10458359 w 12192000"/>
              <a:gd name="connsiteY152" fmla="*/ 6003970 h 6864039"/>
              <a:gd name="connsiteX153" fmla="*/ 10558900 w 12192000"/>
              <a:gd name="connsiteY153" fmla="*/ 6104610 h 6864039"/>
              <a:gd name="connsiteX154" fmla="*/ 10635313 w 12192000"/>
              <a:gd name="connsiteY154" fmla="*/ 6075263 h 6864039"/>
              <a:gd name="connsiteX155" fmla="*/ 10598388 w 12192000"/>
              <a:gd name="connsiteY155" fmla="*/ 6038433 h 6864039"/>
              <a:gd name="connsiteX156" fmla="*/ 10561139 w 12192000"/>
              <a:gd name="connsiteY156" fmla="*/ 6051712 h 6864039"/>
              <a:gd name="connsiteX157" fmla="*/ 10526371 w 12192000"/>
              <a:gd name="connsiteY157" fmla="*/ 6036996 h 6864039"/>
              <a:gd name="connsiteX158" fmla="*/ 10521413 w 12192000"/>
              <a:gd name="connsiteY158" fmla="*/ 6031037 h 6864039"/>
              <a:gd name="connsiteX159" fmla="*/ 10520348 w 12192000"/>
              <a:gd name="connsiteY159" fmla="*/ 6029443 h 6864039"/>
              <a:gd name="connsiteX160" fmla="*/ 10520327 w 12192000"/>
              <a:gd name="connsiteY160" fmla="*/ 6029443 h 6864039"/>
              <a:gd name="connsiteX161" fmla="*/ 10516185 w 12192000"/>
              <a:gd name="connsiteY161" fmla="*/ 6021831 h 6864039"/>
              <a:gd name="connsiteX162" fmla="*/ 10654927 w 12192000"/>
              <a:gd name="connsiteY162" fmla="*/ 6021831 h 6864039"/>
              <a:gd name="connsiteX163" fmla="*/ 10657214 w 12192000"/>
              <a:gd name="connsiteY163" fmla="*/ 6001101 h 6864039"/>
              <a:gd name="connsiteX164" fmla="*/ 10558576 w 12192000"/>
              <a:gd name="connsiteY164" fmla="*/ 5902060 h 6864039"/>
              <a:gd name="connsiteX165" fmla="*/ 10355514 w 12192000"/>
              <a:gd name="connsiteY165" fmla="*/ 5902049 h 6864039"/>
              <a:gd name="connsiteX166" fmla="*/ 10355514 w 12192000"/>
              <a:gd name="connsiteY166" fmla="*/ 6102940 h 6864039"/>
              <a:gd name="connsiteX167" fmla="*/ 10411977 w 12192000"/>
              <a:gd name="connsiteY167" fmla="*/ 6102940 h 6864039"/>
              <a:gd name="connsiteX168" fmla="*/ 10411977 w 12192000"/>
              <a:gd name="connsiteY168" fmla="*/ 5953601 h 6864039"/>
              <a:gd name="connsiteX169" fmla="*/ 10457369 w 12192000"/>
              <a:gd name="connsiteY169" fmla="*/ 5953601 h 6864039"/>
              <a:gd name="connsiteX170" fmla="*/ 10457369 w 12192000"/>
              <a:gd name="connsiteY170" fmla="*/ 5902049 h 6864039"/>
              <a:gd name="connsiteX171" fmla="*/ 10773980 w 12192000"/>
              <a:gd name="connsiteY171" fmla="*/ 5902027 h 6864039"/>
              <a:gd name="connsiteX172" fmla="*/ 10773028 w 12192000"/>
              <a:gd name="connsiteY172" fmla="*/ 5902092 h 6864039"/>
              <a:gd name="connsiteX173" fmla="*/ 10672930 w 12192000"/>
              <a:gd name="connsiteY173" fmla="*/ 6002732 h 6864039"/>
              <a:gd name="connsiteX174" fmla="*/ 10774369 w 12192000"/>
              <a:gd name="connsiteY174" fmla="*/ 6104642 h 6864039"/>
              <a:gd name="connsiteX175" fmla="*/ 10854107 w 12192000"/>
              <a:gd name="connsiteY175" fmla="*/ 6067445 h 6864039"/>
              <a:gd name="connsiteX176" fmla="*/ 10858291 w 12192000"/>
              <a:gd name="connsiteY176" fmla="*/ 6062539 h 6864039"/>
              <a:gd name="connsiteX177" fmla="*/ 10822280 w 12192000"/>
              <a:gd name="connsiteY177" fmla="*/ 6026498 h 6864039"/>
              <a:gd name="connsiteX178" fmla="*/ 10817182 w 12192000"/>
              <a:gd name="connsiteY178" fmla="*/ 6031636 h 6864039"/>
              <a:gd name="connsiteX179" fmla="*/ 10775299 w 12192000"/>
              <a:gd name="connsiteY179" fmla="*/ 6051804 h 6864039"/>
              <a:gd name="connsiteX180" fmla="*/ 10729404 w 12192000"/>
              <a:gd name="connsiteY180" fmla="*/ 6003375 h 6864039"/>
              <a:gd name="connsiteX181" fmla="*/ 10774169 w 12192000"/>
              <a:gd name="connsiteY181" fmla="*/ 5954897 h 6864039"/>
              <a:gd name="connsiteX182" fmla="*/ 10775131 w 12192000"/>
              <a:gd name="connsiteY182" fmla="*/ 5954832 h 6864039"/>
              <a:gd name="connsiteX183" fmla="*/ 10817160 w 12192000"/>
              <a:gd name="connsiteY183" fmla="*/ 5974990 h 6864039"/>
              <a:gd name="connsiteX184" fmla="*/ 10822258 w 12192000"/>
              <a:gd name="connsiteY184" fmla="*/ 5980106 h 6864039"/>
              <a:gd name="connsiteX185" fmla="*/ 10858291 w 12192000"/>
              <a:gd name="connsiteY185" fmla="*/ 5944103 h 6864039"/>
              <a:gd name="connsiteX186" fmla="*/ 10854096 w 12192000"/>
              <a:gd name="connsiteY186" fmla="*/ 5939187 h 6864039"/>
              <a:gd name="connsiteX187" fmla="*/ 10773980 w 12192000"/>
              <a:gd name="connsiteY187" fmla="*/ 5902027 h 6864039"/>
              <a:gd name="connsiteX188" fmla="*/ 10157389 w 12192000"/>
              <a:gd name="connsiteY188" fmla="*/ 5869070 h 6864039"/>
              <a:gd name="connsiteX189" fmla="*/ 10157389 w 12192000"/>
              <a:gd name="connsiteY189" fmla="*/ 5996103 h 6864039"/>
              <a:gd name="connsiteX190" fmla="*/ 10156416 w 12192000"/>
              <a:gd name="connsiteY190" fmla="*/ 6010964 h 6864039"/>
              <a:gd name="connsiteX191" fmla="*/ 10156416 w 12192000"/>
              <a:gd name="connsiteY191" fmla="*/ 6010964 h 6864039"/>
              <a:gd name="connsiteX192" fmla="*/ 10156416 w 12192000"/>
              <a:gd name="connsiteY192" fmla="*/ 6010965 h 6864039"/>
              <a:gd name="connsiteX193" fmla="*/ 10014482 w 12192000"/>
              <a:gd name="connsiteY193" fmla="*/ 5869129 h 6864039"/>
              <a:gd name="connsiteX194" fmla="*/ 10014482 w 12192000"/>
              <a:gd name="connsiteY194" fmla="*/ 5996102 h 6864039"/>
              <a:gd name="connsiteX195" fmla="*/ 10032047 w 12192000"/>
              <a:gd name="connsiteY195" fmla="*/ 6064055 h 6864039"/>
              <a:gd name="connsiteX196" fmla="*/ 10116094 w 12192000"/>
              <a:gd name="connsiteY196" fmla="*/ 6104543 h 6864039"/>
              <a:gd name="connsiteX197" fmla="*/ 10200141 w 12192000"/>
              <a:gd name="connsiteY197" fmla="*/ 6064055 h 6864039"/>
              <a:gd name="connsiteX198" fmla="*/ 10203893 w 12192000"/>
              <a:gd name="connsiteY198" fmla="*/ 6058409 h 6864039"/>
              <a:gd name="connsiteX199" fmla="*/ 10203892 w 12192000"/>
              <a:gd name="connsiteY199" fmla="*/ 6058407 h 6864039"/>
              <a:gd name="connsiteX200" fmla="*/ 10203894 w 12192000"/>
              <a:gd name="connsiteY200" fmla="*/ 6058409 h 6864039"/>
              <a:gd name="connsiteX201" fmla="*/ 10217706 w 12192000"/>
              <a:gd name="connsiteY201" fmla="*/ 5996102 h 6864039"/>
              <a:gd name="connsiteX202" fmla="*/ 10217706 w 12192000"/>
              <a:gd name="connsiteY202" fmla="*/ 5869070 h 6864039"/>
              <a:gd name="connsiteX203" fmla="*/ 10301101 w 12192000"/>
              <a:gd name="connsiteY203" fmla="*/ 5845419 h 6864039"/>
              <a:gd name="connsiteX204" fmla="*/ 10244626 w 12192000"/>
              <a:gd name="connsiteY204" fmla="*/ 5902060 h 6864039"/>
              <a:gd name="connsiteX205" fmla="*/ 10244626 w 12192000"/>
              <a:gd name="connsiteY205" fmla="*/ 6102941 h 6864039"/>
              <a:gd name="connsiteX206" fmla="*/ 10301101 w 12192000"/>
              <a:gd name="connsiteY206" fmla="*/ 6102941 h 6864039"/>
              <a:gd name="connsiteX207" fmla="*/ 10301101 w 12192000"/>
              <a:gd name="connsiteY207" fmla="*/ 5953601 h 6864039"/>
              <a:gd name="connsiteX208" fmla="*/ 10337766 w 12192000"/>
              <a:gd name="connsiteY208" fmla="*/ 5953601 h 6864039"/>
              <a:gd name="connsiteX209" fmla="*/ 10337766 w 12192000"/>
              <a:gd name="connsiteY209" fmla="*/ 5902050 h 6864039"/>
              <a:gd name="connsiteX210" fmla="*/ 10301101 w 12192000"/>
              <a:gd name="connsiteY210" fmla="*/ 5902050 h 6864039"/>
              <a:gd name="connsiteX211" fmla="*/ 10934996 w 12192000"/>
              <a:gd name="connsiteY211" fmla="*/ 5845338 h 6864039"/>
              <a:gd name="connsiteX212" fmla="*/ 10878532 w 12192000"/>
              <a:gd name="connsiteY212" fmla="*/ 5902061 h 6864039"/>
              <a:gd name="connsiteX213" fmla="*/ 10878532 w 12192000"/>
              <a:gd name="connsiteY213" fmla="*/ 6102940 h 6864039"/>
              <a:gd name="connsiteX214" fmla="*/ 10934996 w 12192000"/>
              <a:gd name="connsiteY214" fmla="*/ 6102940 h 6864039"/>
              <a:gd name="connsiteX215" fmla="*/ 10934996 w 12192000"/>
              <a:gd name="connsiteY215" fmla="*/ 6002209 h 6864039"/>
              <a:gd name="connsiteX216" fmla="*/ 10963752 w 12192000"/>
              <a:gd name="connsiteY216" fmla="*/ 5955038 h 6864039"/>
              <a:gd name="connsiteX217" fmla="*/ 10993152 w 12192000"/>
              <a:gd name="connsiteY217" fmla="*/ 6001571 h 6864039"/>
              <a:gd name="connsiteX218" fmla="*/ 10993152 w 12192000"/>
              <a:gd name="connsiteY218" fmla="*/ 6102940 h 6864039"/>
              <a:gd name="connsiteX219" fmla="*/ 11049615 w 12192000"/>
              <a:gd name="connsiteY219" fmla="*/ 6102940 h 6864039"/>
              <a:gd name="connsiteX220" fmla="*/ 11049615 w 12192000"/>
              <a:gd name="connsiteY220" fmla="*/ 5992338 h 6864039"/>
              <a:gd name="connsiteX221" fmla="*/ 11034072 w 12192000"/>
              <a:gd name="connsiteY221" fmla="*/ 5931959 h 6864039"/>
              <a:gd name="connsiteX222" fmla="*/ 10973965 w 12192000"/>
              <a:gd name="connsiteY222" fmla="*/ 5902206 h 6864039"/>
              <a:gd name="connsiteX223" fmla="*/ 10934996 w 12192000"/>
              <a:gd name="connsiteY223" fmla="*/ 5913184 h 6864039"/>
              <a:gd name="connsiteX224" fmla="*/ 11133771 w 12192000"/>
              <a:gd name="connsiteY224" fmla="*/ 5845337 h 6864039"/>
              <a:gd name="connsiteX225" fmla="*/ 11077307 w 12192000"/>
              <a:gd name="connsiteY225" fmla="*/ 5902060 h 6864039"/>
              <a:gd name="connsiteX226" fmla="*/ 11077307 w 12192000"/>
              <a:gd name="connsiteY226" fmla="*/ 6102939 h 6864039"/>
              <a:gd name="connsiteX227" fmla="*/ 11133771 w 12192000"/>
              <a:gd name="connsiteY227" fmla="*/ 6102939 h 6864039"/>
              <a:gd name="connsiteX228" fmla="*/ 11133771 w 12192000"/>
              <a:gd name="connsiteY228" fmla="*/ 5953525 h 6864039"/>
              <a:gd name="connsiteX229" fmla="*/ 11170447 w 12192000"/>
              <a:gd name="connsiteY229" fmla="*/ 5953525 h 6864039"/>
              <a:gd name="connsiteX230" fmla="*/ 11170447 w 12192000"/>
              <a:gd name="connsiteY230" fmla="*/ 5901973 h 6864039"/>
              <a:gd name="connsiteX231" fmla="*/ 11133771 w 12192000"/>
              <a:gd name="connsiteY231" fmla="*/ 5901973 h 6864039"/>
              <a:gd name="connsiteX232" fmla="*/ 0 w 12192000"/>
              <a:gd name="connsiteY232" fmla="*/ 0 h 6864039"/>
              <a:gd name="connsiteX233" fmla="*/ 12192000 w 12192000"/>
              <a:gd name="connsiteY233" fmla="*/ 0 h 6864039"/>
              <a:gd name="connsiteX234" fmla="*/ 12192000 w 12192000"/>
              <a:gd name="connsiteY234" fmla="*/ 6864039 h 6864039"/>
              <a:gd name="connsiteX235" fmla="*/ 0 w 12192000"/>
              <a:gd name="connsiteY235" fmla="*/ 6864039 h 686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192000" h="6864039">
                <a:moveTo>
                  <a:pt x="10920647" y="6213274"/>
                </a:moveTo>
                <a:cubicBezTo>
                  <a:pt x="10931548" y="6213274"/>
                  <a:pt x="10939853" y="6221746"/>
                  <a:pt x="10939853" y="6234021"/>
                </a:cubicBezTo>
                <a:cubicBezTo>
                  <a:pt x="10939853" y="6246297"/>
                  <a:pt x="10931548" y="6254768"/>
                  <a:pt x="10920647" y="6254768"/>
                </a:cubicBezTo>
                <a:cubicBezTo>
                  <a:pt x="10909748" y="6254768"/>
                  <a:pt x="10901442" y="6246297"/>
                  <a:pt x="10901442" y="6234021"/>
                </a:cubicBezTo>
                <a:cubicBezTo>
                  <a:pt x="10901442" y="6221746"/>
                  <a:pt x="10909748" y="6213274"/>
                  <a:pt x="10920647" y="6213274"/>
                </a:cubicBezTo>
                <a:close/>
                <a:moveTo>
                  <a:pt x="11353674" y="6212582"/>
                </a:moveTo>
                <a:cubicBezTo>
                  <a:pt x="11365439" y="6212582"/>
                  <a:pt x="11373396" y="6221573"/>
                  <a:pt x="11373396" y="6234021"/>
                </a:cubicBezTo>
                <a:cubicBezTo>
                  <a:pt x="11373396" y="6246470"/>
                  <a:pt x="11365439" y="6255461"/>
                  <a:pt x="11353674" y="6255461"/>
                </a:cubicBezTo>
                <a:cubicBezTo>
                  <a:pt x="11341908" y="6255461"/>
                  <a:pt x="11333950" y="6246470"/>
                  <a:pt x="11333950" y="6234021"/>
                </a:cubicBezTo>
                <a:cubicBezTo>
                  <a:pt x="11333950" y="6221573"/>
                  <a:pt x="11341908" y="6212582"/>
                  <a:pt x="11353674" y="6212582"/>
                </a:cubicBezTo>
                <a:close/>
                <a:moveTo>
                  <a:pt x="10649903" y="6212582"/>
                </a:moveTo>
                <a:cubicBezTo>
                  <a:pt x="10661668" y="6212582"/>
                  <a:pt x="10669626" y="6221573"/>
                  <a:pt x="10669626" y="6234021"/>
                </a:cubicBezTo>
                <a:cubicBezTo>
                  <a:pt x="10669626" y="6246470"/>
                  <a:pt x="10661668" y="6255461"/>
                  <a:pt x="10649903" y="6255461"/>
                </a:cubicBezTo>
                <a:cubicBezTo>
                  <a:pt x="10638137" y="6255461"/>
                  <a:pt x="10630179" y="6246470"/>
                  <a:pt x="10630179" y="6234021"/>
                </a:cubicBezTo>
                <a:cubicBezTo>
                  <a:pt x="10630179" y="6221573"/>
                  <a:pt x="10638137" y="6212582"/>
                  <a:pt x="10649903" y="6212582"/>
                </a:cubicBezTo>
                <a:close/>
                <a:moveTo>
                  <a:pt x="11252814" y="6210161"/>
                </a:moveTo>
                <a:cubicBezTo>
                  <a:pt x="11260426" y="6210161"/>
                  <a:pt x="11268386" y="6213965"/>
                  <a:pt x="11270634" y="6223129"/>
                </a:cubicBezTo>
                <a:lnTo>
                  <a:pt x="11233955" y="6223129"/>
                </a:lnTo>
                <a:cubicBezTo>
                  <a:pt x="11236204" y="6213619"/>
                  <a:pt x="11245201" y="6210161"/>
                  <a:pt x="11252814" y="6210161"/>
                </a:cubicBezTo>
                <a:close/>
                <a:moveTo>
                  <a:pt x="10549043" y="6210161"/>
                </a:moveTo>
                <a:cubicBezTo>
                  <a:pt x="10556655" y="6210161"/>
                  <a:pt x="10564615" y="6213965"/>
                  <a:pt x="10566863" y="6223129"/>
                </a:cubicBezTo>
                <a:lnTo>
                  <a:pt x="10530184" y="6223129"/>
                </a:lnTo>
                <a:cubicBezTo>
                  <a:pt x="10532433" y="6213619"/>
                  <a:pt x="10541430" y="6210161"/>
                  <a:pt x="10549043" y="6210161"/>
                </a:cubicBezTo>
                <a:close/>
                <a:moveTo>
                  <a:pt x="10715119" y="6190797"/>
                </a:moveTo>
                <a:lnTo>
                  <a:pt x="10715119" y="6277246"/>
                </a:lnTo>
                <a:lnTo>
                  <a:pt x="10741246" y="6277246"/>
                </a:lnTo>
                <a:lnTo>
                  <a:pt x="10741246" y="6213447"/>
                </a:lnTo>
                <a:lnTo>
                  <a:pt x="10770312" y="6213447"/>
                </a:lnTo>
                <a:lnTo>
                  <a:pt x="10770312" y="6190797"/>
                </a:lnTo>
                <a:close/>
                <a:moveTo>
                  <a:pt x="11347790" y="6188895"/>
                </a:moveTo>
                <a:cubicBezTo>
                  <a:pt x="11325126" y="6188895"/>
                  <a:pt x="11307651" y="6209471"/>
                  <a:pt x="11307651" y="6234021"/>
                </a:cubicBezTo>
                <a:cubicBezTo>
                  <a:pt x="11307651" y="6258573"/>
                  <a:pt x="11325126" y="6279146"/>
                  <a:pt x="11347790" y="6279146"/>
                </a:cubicBezTo>
                <a:cubicBezTo>
                  <a:pt x="11359382" y="6279146"/>
                  <a:pt x="11367860" y="6273270"/>
                  <a:pt x="11371322" y="6268601"/>
                </a:cubicBezTo>
                <a:lnTo>
                  <a:pt x="11371322" y="6277246"/>
                </a:lnTo>
                <a:lnTo>
                  <a:pt x="11397447" y="6277246"/>
                </a:lnTo>
                <a:lnTo>
                  <a:pt x="11397447" y="6190797"/>
                </a:lnTo>
                <a:lnTo>
                  <a:pt x="11371322" y="6190797"/>
                </a:lnTo>
                <a:lnTo>
                  <a:pt x="11371322" y="6199442"/>
                </a:lnTo>
                <a:cubicBezTo>
                  <a:pt x="11367860" y="6194774"/>
                  <a:pt x="11359382" y="6188895"/>
                  <a:pt x="11347790" y="6188895"/>
                </a:cubicBezTo>
                <a:close/>
                <a:moveTo>
                  <a:pt x="11253506" y="6188895"/>
                </a:moveTo>
                <a:cubicBezTo>
                  <a:pt x="11227207" y="6188895"/>
                  <a:pt x="11208003" y="6208260"/>
                  <a:pt x="11208003" y="6234021"/>
                </a:cubicBezTo>
                <a:cubicBezTo>
                  <a:pt x="11208003" y="6261858"/>
                  <a:pt x="11228591" y="6279146"/>
                  <a:pt x="11254025" y="6279146"/>
                </a:cubicBezTo>
                <a:cubicBezTo>
                  <a:pt x="11272192" y="6279146"/>
                  <a:pt x="11286551" y="6271540"/>
                  <a:pt x="11294684" y="6260129"/>
                </a:cubicBezTo>
                <a:lnTo>
                  <a:pt x="11275306" y="6245606"/>
                </a:lnTo>
                <a:cubicBezTo>
                  <a:pt x="11272018" y="6250619"/>
                  <a:pt x="11264405" y="6255461"/>
                  <a:pt x="11254371" y="6255461"/>
                </a:cubicBezTo>
                <a:cubicBezTo>
                  <a:pt x="11244509" y="6255461"/>
                  <a:pt x="11234820" y="6250619"/>
                  <a:pt x="11233263" y="6240246"/>
                </a:cubicBezTo>
                <a:lnTo>
                  <a:pt x="11296068" y="6240246"/>
                </a:lnTo>
                <a:cubicBezTo>
                  <a:pt x="11296587" y="6236095"/>
                  <a:pt x="11296587" y="6233330"/>
                  <a:pt x="11296587" y="6231083"/>
                </a:cubicBezTo>
                <a:cubicBezTo>
                  <a:pt x="11296587" y="6203073"/>
                  <a:pt x="11276343" y="6188895"/>
                  <a:pt x="11253506" y="6188895"/>
                </a:cubicBezTo>
                <a:close/>
                <a:moveTo>
                  <a:pt x="10920647" y="6188895"/>
                </a:moveTo>
                <a:cubicBezTo>
                  <a:pt x="10895734" y="6188895"/>
                  <a:pt x="10875145" y="6208606"/>
                  <a:pt x="10875145" y="6234021"/>
                </a:cubicBezTo>
                <a:cubicBezTo>
                  <a:pt x="10875145" y="6259437"/>
                  <a:pt x="10895734" y="6279146"/>
                  <a:pt x="10920647" y="6279146"/>
                </a:cubicBezTo>
                <a:cubicBezTo>
                  <a:pt x="10945562" y="6279146"/>
                  <a:pt x="10966150" y="6259437"/>
                  <a:pt x="10966150" y="6234021"/>
                </a:cubicBezTo>
                <a:cubicBezTo>
                  <a:pt x="10966150" y="6208606"/>
                  <a:pt x="10945562" y="6188895"/>
                  <a:pt x="10920647" y="6188895"/>
                </a:cubicBezTo>
                <a:close/>
                <a:moveTo>
                  <a:pt x="10644019" y="6188895"/>
                </a:moveTo>
                <a:cubicBezTo>
                  <a:pt x="10621355" y="6188895"/>
                  <a:pt x="10603880" y="6209471"/>
                  <a:pt x="10603880" y="6234021"/>
                </a:cubicBezTo>
                <a:cubicBezTo>
                  <a:pt x="10603880" y="6258573"/>
                  <a:pt x="10621355" y="6279146"/>
                  <a:pt x="10644019" y="6279146"/>
                </a:cubicBezTo>
                <a:cubicBezTo>
                  <a:pt x="10655611" y="6279146"/>
                  <a:pt x="10664089" y="6273270"/>
                  <a:pt x="10667549" y="6268601"/>
                </a:cubicBezTo>
                <a:lnTo>
                  <a:pt x="10667549" y="6277246"/>
                </a:lnTo>
                <a:lnTo>
                  <a:pt x="10693676" y="6277246"/>
                </a:lnTo>
                <a:lnTo>
                  <a:pt x="10693676" y="6190797"/>
                </a:lnTo>
                <a:lnTo>
                  <a:pt x="10667549" y="6190797"/>
                </a:lnTo>
                <a:lnTo>
                  <a:pt x="10667549" y="6199442"/>
                </a:lnTo>
                <a:cubicBezTo>
                  <a:pt x="10664089" y="6194774"/>
                  <a:pt x="10655611" y="6188895"/>
                  <a:pt x="10644019" y="6188895"/>
                </a:cubicBezTo>
                <a:close/>
                <a:moveTo>
                  <a:pt x="10549735" y="6188895"/>
                </a:moveTo>
                <a:cubicBezTo>
                  <a:pt x="10523437" y="6188895"/>
                  <a:pt x="10504232" y="6208260"/>
                  <a:pt x="10504232" y="6234021"/>
                </a:cubicBezTo>
                <a:cubicBezTo>
                  <a:pt x="10504232" y="6261858"/>
                  <a:pt x="10524820" y="6279146"/>
                  <a:pt x="10550254" y="6279146"/>
                </a:cubicBezTo>
                <a:cubicBezTo>
                  <a:pt x="10568419" y="6279146"/>
                  <a:pt x="10582780" y="6271540"/>
                  <a:pt x="10590911" y="6260129"/>
                </a:cubicBezTo>
                <a:lnTo>
                  <a:pt x="10571535" y="6245606"/>
                </a:lnTo>
                <a:cubicBezTo>
                  <a:pt x="10568247" y="6250619"/>
                  <a:pt x="10560634" y="6255461"/>
                  <a:pt x="10550600" y="6255461"/>
                </a:cubicBezTo>
                <a:cubicBezTo>
                  <a:pt x="10540737" y="6255461"/>
                  <a:pt x="10531049" y="6250619"/>
                  <a:pt x="10529492" y="6240246"/>
                </a:cubicBezTo>
                <a:lnTo>
                  <a:pt x="10592297" y="6240246"/>
                </a:lnTo>
                <a:cubicBezTo>
                  <a:pt x="10592816" y="6236095"/>
                  <a:pt x="10592816" y="6233330"/>
                  <a:pt x="10592816" y="6231083"/>
                </a:cubicBezTo>
                <a:cubicBezTo>
                  <a:pt x="10592816" y="6203073"/>
                  <a:pt x="10572572" y="6188895"/>
                  <a:pt x="10549735" y="6188895"/>
                </a:cubicBezTo>
                <a:close/>
                <a:moveTo>
                  <a:pt x="11492593" y="6163306"/>
                </a:moveTo>
                <a:lnTo>
                  <a:pt x="11466466" y="6190797"/>
                </a:lnTo>
                <a:lnTo>
                  <a:pt x="11466466" y="6277246"/>
                </a:lnTo>
                <a:lnTo>
                  <a:pt x="11492593" y="6277246"/>
                </a:lnTo>
                <a:lnTo>
                  <a:pt x="11492593" y="6213447"/>
                </a:lnTo>
                <a:lnTo>
                  <a:pt x="11516814" y="6213447"/>
                </a:lnTo>
                <a:lnTo>
                  <a:pt x="11516814" y="6190797"/>
                </a:lnTo>
                <a:lnTo>
                  <a:pt x="11492593" y="6190797"/>
                </a:lnTo>
                <a:close/>
                <a:moveTo>
                  <a:pt x="10810792" y="6163306"/>
                </a:moveTo>
                <a:lnTo>
                  <a:pt x="10784666" y="6190797"/>
                </a:lnTo>
                <a:lnTo>
                  <a:pt x="10784666" y="6277246"/>
                </a:lnTo>
                <a:lnTo>
                  <a:pt x="10810792" y="6277246"/>
                </a:lnTo>
                <a:lnTo>
                  <a:pt x="10810792" y="6213447"/>
                </a:lnTo>
                <a:lnTo>
                  <a:pt x="10835013" y="6213447"/>
                </a:lnTo>
                <a:lnTo>
                  <a:pt x="10835013" y="6190797"/>
                </a:lnTo>
                <a:lnTo>
                  <a:pt x="10810792" y="6190797"/>
                </a:lnTo>
                <a:close/>
                <a:moveTo>
                  <a:pt x="11088283" y="6154490"/>
                </a:moveTo>
                <a:lnTo>
                  <a:pt x="11088283" y="6277246"/>
                </a:lnTo>
                <a:lnTo>
                  <a:pt x="11115793" y="6277246"/>
                </a:lnTo>
                <a:lnTo>
                  <a:pt x="11115793" y="6228662"/>
                </a:lnTo>
                <a:lnTo>
                  <a:pt x="11165275" y="6228662"/>
                </a:lnTo>
                <a:lnTo>
                  <a:pt x="11165275" y="6277246"/>
                </a:lnTo>
                <a:lnTo>
                  <a:pt x="11192784" y="6277246"/>
                </a:lnTo>
                <a:lnTo>
                  <a:pt x="11192784" y="6154490"/>
                </a:lnTo>
                <a:lnTo>
                  <a:pt x="11165275" y="6154490"/>
                </a:lnTo>
                <a:lnTo>
                  <a:pt x="11165275" y="6202554"/>
                </a:lnTo>
                <a:lnTo>
                  <a:pt x="11115793" y="6202554"/>
                </a:lnTo>
                <a:lnTo>
                  <a:pt x="11115793" y="6154490"/>
                </a:lnTo>
                <a:close/>
                <a:moveTo>
                  <a:pt x="10384512" y="6154490"/>
                </a:moveTo>
                <a:lnTo>
                  <a:pt x="10384512" y="6238904"/>
                </a:lnTo>
                <a:lnTo>
                  <a:pt x="10412020" y="6266394"/>
                </a:lnTo>
                <a:lnTo>
                  <a:pt x="10412020" y="6228662"/>
                </a:lnTo>
                <a:lnTo>
                  <a:pt x="10461504" y="6228662"/>
                </a:lnTo>
                <a:lnTo>
                  <a:pt x="10461504" y="6277246"/>
                </a:lnTo>
                <a:lnTo>
                  <a:pt x="10489013" y="6277246"/>
                </a:lnTo>
                <a:lnTo>
                  <a:pt x="10489013" y="6154490"/>
                </a:lnTo>
                <a:lnTo>
                  <a:pt x="10461504" y="6154490"/>
                </a:lnTo>
                <a:lnTo>
                  <a:pt x="10461504" y="6202554"/>
                </a:lnTo>
                <a:lnTo>
                  <a:pt x="10412020" y="6202554"/>
                </a:lnTo>
                <a:lnTo>
                  <a:pt x="10412020" y="6154490"/>
                </a:lnTo>
                <a:close/>
                <a:moveTo>
                  <a:pt x="11530130" y="6147573"/>
                </a:moveTo>
                <a:lnTo>
                  <a:pt x="11530130" y="6277246"/>
                </a:lnTo>
                <a:lnTo>
                  <a:pt x="11556257" y="6277246"/>
                </a:lnTo>
                <a:lnTo>
                  <a:pt x="11556257" y="6235231"/>
                </a:lnTo>
                <a:cubicBezTo>
                  <a:pt x="11556257" y="6219672"/>
                  <a:pt x="11563868" y="6212582"/>
                  <a:pt x="11573731" y="6212582"/>
                </a:cubicBezTo>
                <a:cubicBezTo>
                  <a:pt x="11583074" y="6212582"/>
                  <a:pt x="11587744" y="6219844"/>
                  <a:pt x="11587744" y="6231773"/>
                </a:cubicBezTo>
                <a:lnTo>
                  <a:pt x="11587744" y="6277246"/>
                </a:lnTo>
                <a:lnTo>
                  <a:pt x="11613870" y="6277246"/>
                </a:lnTo>
                <a:lnTo>
                  <a:pt x="11613870" y="6227279"/>
                </a:lnTo>
                <a:cubicBezTo>
                  <a:pt x="11613870" y="6204628"/>
                  <a:pt x="11601586" y="6188895"/>
                  <a:pt x="11580305" y="6188895"/>
                </a:cubicBezTo>
                <a:cubicBezTo>
                  <a:pt x="11569060" y="6188895"/>
                  <a:pt x="11560408" y="6193737"/>
                  <a:pt x="11556257" y="6199616"/>
                </a:cubicBezTo>
                <a:lnTo>
                  <a:pt x="11556257" y="6147573"/>
                </a:lnTo>
                <a:close/>
                <a:moveTo>
                  <a:pt x="11418892" y="6147573"/>
                </a:moveTo>
                <a:lnTo>
                  <a:pt x="11418892" y="6277246"/>
                </a:lnTo>
                <a:lnTo>
                  <a:pt x="11445018" y="6277246"/>
                </a:lnTo>
                <a:lnTo>
                  <a:pt x="11445018" y="6147573"/>
                </a:lnTo>
                <a:close/>
                <a:moveTo>
                  <a:pt x="11025143" y="6146536"/>
                </a:moveTo>
                <a:cubicBezTo>
                  <a:pt x="11005938" y="6146536"/>
                  <a:pt x="10990366" y="6159330"/>
                  <a:pt x="10990366" y="6181289"/>
                </a:cubicBezTo>
                <a:lnTo>
                  <a:pt x="10990366" y="6190797"/>
                </a:lnTo>
                <a:lnTo>
                  <a:pt x="10973066" y="6190797"/>
                </a:lnTo>
                <a:lnTo>
                  <a:pt x="10973066" y="6213447"/>
                </a:lnTo>
                <a:lnTo>
                  <a:pt x="10990366" y="6213447"/>
                </a:lnTo>
                <a:lnTo>
                  <a:pt x="10990366" y="6277246"/>
                </a:lnTo>
                <a:lnTo>
                  <a:pt x="11016492" y="6277246"/>
                </a:lnTo>
                <a:lnTo>
                  <a:pt x="11016492" y="6213447"/>
                </a:lnTo>
                <a:lnTo>
                  <a:pt x="11040715" y="6213447"/>
                </a:lnTo>
                <a:lnTo>
                  <a:pt x="11040715" y="6190797"/>
                </a:lnTo>
                <a:lnTo>
                  <a:pt x="11016492" y="6190797"/>
                </a:lnTo>
                <a:lnTo>
                  <a:pt x="11016492" y="6184573"/>
                </a:lnTo>
                <a:cubicBezTo>
                  <a:pt x="11016492" y="6174199"/>
                  <a:pt x="11020818" y="6169877"/>
                  <a:pt x="11031372" y="6169877"/>
                </a:cubicBezTo>
                <a:cubicBezTo>
                  <a:pt x="11035178" y="6169877"/>
                  <a:pt x="11037946" y="6170396"/>
                  <a:pt x="11040715" y="6171432"/>
                </a:cubicBezTo>
                <a:lnTo>
                  <a:pt x="11040715" y="6148437"/>
                </a:lnTo>
                <a:cubicBezTo>
                  <a:pt x="11036908" y="6147227"/>
                  <a:pt x="11032063" y="6146536"/>
                  <a:pt x="11025143" y="6146536"/>
                </a:cubicBezTo>
                <a:close/>
                <a:moveTo>
                  <a:pt x="10558900" y="5954887"/>
                </a:moveTo>
                <a:cubicBezTo>
                  <a:pt x="10578547" y="5954887"/>
                  <a:pt x="10592187" y="5964239"/>
                  <a:pt x="10597880" y="5981376"/>
                </a:cubicBezTo>
                <a:lnTo>
                  <a:pt x="10518342" y="5981376"/>
                </a:lnTo>
                <a:cubicBezTo>
                  <a:pt x="10527657" y="5958507"/>
                  <a:pt x="10547390" y="5954887"/>
                  <a:pt x="10558900" y="5954887"/>
                </a:cubicBezTo>
                <a:close/>
                <a:moveTo>
                  <a:pt x="10558576" y="5902060"/>
                </a:moveTo>
                <a:cubicBezTo>
                  <a:pt x="10495846" y="5902060"/>
                  <a:pt x="10458359" y="5953882"/>
                  <a:pt x="10458359" y="6003970"/>
                </a:cubicBezTo>
                <a:cubicBezTo>
                  <a:pt x="10458359" y="6060405"/>
                  <a:pt x="10502523" y="6104610"/>
                  <a:pt x="10558900" y="6104610"/>
                </a:cubicBezTo>
                <a:cubicBezTo>
                  <a:pt x="10588154" y="6104610"/>
                  <a:pt x="10615418" y="6094026"/>
                  <a:pt x="10635313" y="6075263"/>
                </a:cubicBezTo>
                <a:lnTo>
                  <a:pt x="10598388" y="6038433"/>
                </a:lnTo>
                <a:cubicBezTo>
                  <a:pt x="10586991" y="6047963"/>
                  <a:pt x="10576844" y="6051421"/>
                  <a:pt x="10561139" y="6051712"/>
                </a:cubicBezTo>
                <a:cubicBezTo>
                  <a:pt x="10547498" y="6051583"/>
                  <a:pt x="10535215" y="6045970"/>
                  <a:pt x="10526371" y="6036996"/>
                </a:cubicBezTo>
                <a:cubicBezTo>
                  <a:pt x="10524554" y="6035143"/>
                  <a:pt x="10522916" y="6033149"/>
                  <a:pt x="10521413" y="6031037"/>
                </a:cubicBezTo>
                <a:cubicBezTo>
                  <a:pt x="10521067" y="6030502"/>
                  <a:pt x="10520661" y="6029967"/>
                  <a:pt x="10520348" y="6029443"/>
                </a:cubicBezTo>
                <a:lnTo>
                  <a:pt x="10520327" y="6029443"/>
                </a:lnTo>
                <a:cubicBezTo>
                  <a:pt x="10518742" y="6027028"/>
                  <a:pt x="10517315" y="6024505"/>
                  <a:pt x="10516185" y="6021831"/>
                </a:cubicBezTo>
                <a:lnTo>
                  <a:pt x="10654927" y="6021831"/>
                </a:lnTo>
                <a:cubicBezTo>
                  <a:pt x="10656014" y="6016623"/>
                  <a:pt x="10657214" y="6009480"/>
                  <a:pt x="10657214" y="6001101"/>
                </a:cubicBezTo>
                <a:cubicBezTo>
                  <a:pt x="10657214" y="5952418"/>
                  <a:pt x="10620327" y="5902060"/>
                  <a:pt x="10558576" y="5902060"/>
                </a:cubicBezTo>
                <a:close/>
                <a:moveTo>
                  <a:pt x="10355514" y="5902049"/>
                </a:moveTo>
                <a:lnTo>
                  <a:pt x="10355514" y="6102940"/>
                </a:lnTo>
                <a:lnTo>
                  <a:pt x="10411977" y="6102940"/>
                </a:lnTo>
                <a:lnTo>
                  <a:pt x="10411977" y="5953601"/>
                </a:lnTo>
                <a:lnTo>
                  <a:pt x="10457369" y="5953601"/>
                </a:lnTo>
                <a:lnTo>
                  <a:pt x="10457369" y="5902049"/>
                </a:lnTo>
                <a:close/>
                <a:moveTo>
                  <a:pt x="10773980" y="5902027"/>
                </a:moveTo>
                <a:lnTo>
                  <a:pt x="10773028" y="5902092"/>
                </a:lnTo>
                <a:cubicBezTo>
                  <a:pt x="10717759" y="5902513"/>
                  <a:pt x="10672930" y="5947490"/>
                  <a:pt x="10672930" y="6002732"/>
                </a:cubicBezTo>
                <a:cubicBezTo>
                  <a:pt x="10672930" y="6065678"/>
                  <a:pt x="10725463" y="6104642"/>
                  <a:pt x="10774369" y="6104642"/>
                </a:cubicBezTo>
                <a:cubicBezTo>
                  <a:pt x="10806169" y="6104642"/>
                  <a:pt x="10832990" y="6092129"/>
                  <a:pt x="10854107" y="6067445"/>
                </a:cubicBezTo>
                <a:lnTo>
                  <a:pt x="10858291" y="6062539"/>
                </a:lnTo>
                <a:lnTo>
                  <a:pt x="10822280" y="6026498"/>
                </a:lnTo>
                <a:lnTo>
                  <a:pt x="10817182" y="6031636"/>
                </a:lnTo>
                <a:cubicBezTo>
                  <a:pt x="10801384" y="6047401"/>
                  <a:pt x="10794383" y="6051680"/>
                  <a:pt x="10775299" y="6051804"/>
                </a:cubicBezTo>
                <a:cubicBezTo>
                  <a:pt x="10749132" y="6051582"/>
                  <a:pt x="10729404" y="6030761"/>
                  <a:pt x="10729404" y="6003375"/>
                </a:cubicBezTo>
                <a:cubicBezTo>
                  <a:pt x="10729404" y="5970095"/>
                  <a:pt x="10752614" y="5954919"/>
                  <a:pt x="10774169" y="5954897"/>
                </a:cubicBezTo>
                <a:lnTo>
                  <a:pt x="10775131" y="5954832"/>
                </a:lnTo>
                <a:cubicBezTo>
                  <a:pt x="10794329" y="5954941"/>
                  <a:pt x="10801476" y="5959327"/>
                  <a:pt x="10817160" y="5974990"/>
                </a:cubicBezTo>
                <a:lnTo>
                  <a:pt x="10822258" y="5980106"/>
                </a:lnTo>
                <a:lnTo>
                  <a:pt x="10858291" y="5944103"/>
                </a:lnTo>
                <a:lnTo>
                  <a:pt x="10854096" y="5939187"/>
                </a:lnTo>
                <a:cubicBezTo>
                  <a:pt x="10832892" y="5914389"/>
                  <a:pt x="10805872" y="5901849"/>
                  <a:pt x="10773980" y="5902027"/>
                </a:cubicBezTo>
                <a:close/>
                <a:moveTo>
                  <a:pt x="10157389" y="5869070"/>
                </a:moveTo>
                <a:lnTo>
                  <a:pt x="10157389" y="5996103"/>
                </a:lnTo>
                <a:cubicBezTo>
                  <a:pt x="10157389" y="6000837"/>
                  <a:pt x="10157084" y="6005912"/>
                  <a:pt x="10156416" y="6010964"/>
                </a:cubicBezTo>
                <a:lnTo>
                  <a:pt x="10156416" y="6010964"/>
                </a:lnTo>
                <a:lnTo>
                  <a:pt x="10156416" y="6010965"/>
                </a:lnTo>
                <a:lnTo>
                  <a:pt x="10014482" y="5869129"/>
                </a:lnTo>
                <a:lnTo>
                  <a:pt x="10014482" y="5996102"/>
                </a:lnTo>
                <a:cubicBezTo>
                  <a:pt x="10014482" y="6032775"/>
                  <a:pt x="10023964" y="6053310"/>
                  <a:pt x="10032047" y="6064055"/>
                </a:cubicBezTo>
                <a:cubicBezTo>
                  <a:pt x="10046649" y="6083629"/>
                  <a:pt x="10076395" y="6104543"/>
                  <a:pt x="10116094" y="6104543"/>
                </a:cubicBezTo>
                <a:cubicBezTo>
                  <a:pt x="10155793" y="6104543"/>
                  <a:pt x="10185538" y="6083629"/>
                  <a:pt x="10200141" y="6064055"/>
                </a:cubicBezTo>
                <a:cubicBezTo>
                  <a:pt x="10201372" y="6062418"/>
                  <a:pt x="10202635" y="6060523"/>
                  <a:pt x="10203893" y="6058409"/>
                </a:cubicBezTo>
                <a:lnTo>
                  <a:pt x="10203892" y="6058407"/>
                </a:lnTo>
                <a:lnTo>
                  <a:pt x="10203894" y="6058409"/>
                </a:lnTo>
                <a:cubicBezTo>
                  <a:pt x="10210892" y="6046647"/>
                  <a:pt x="10217706" y="6027187"/>
                  <a:pt x="10217706" y="5996102"/>
                </a:cubicBezTo>
                <a:lnTo>
                  <a:pt x="10217706" y="5869070"/>
                </a:lnTo>
                <a:close/>
                <a:moveTo>
                  <a:pt x="10301101" y="5845419"/>
                </a:moveTo>
                <a:lnTo>
                  <a:pt x="10244626" y="5902060"/>
                </a:lnTo>
                <a:lnTo>
                  <a:pt x="10244626" y="6102941"/>
                </a:lnTo>
                <a:lnTo>
                  <a:pt x="10301101" y="6102941"/>
                </a:lnTo>
                <a:lnTo>
                  <a:pt x="10301101" y="5953601"/>
                </a:lnTo>
                <a:lnTo>
                  <a:pt x="10337766" y="5953601"/>
                </a:lnTo>
                <a:lnTo>
                  <a:pt x="10337766" y="5902050"/>
                </a:lnTo>
                <a:lnTo>
                  <a:pt x="10301101" y="5902050"/>
                </a:lnTo>
                <a:close/>
                <a:moveTo>
                  <a:pt x="10934996" y="5845338"/>
                </a:moveTo>
                <a:lnTo>
                  <a:pt x="10878532" y="5902061"/>
                </a:lnTo>
                <a:cubicBezTo>
                  <a:pt x="10878532" y="5902061"/>
                  <a:pt x="10878057" y="6096571"/>
                  <a:pt x="10878532" y="6102940"/>
                </a:cubicBezTo>
                <a:lnTo>
                  <a:pt x="10934996" y="6102940"/>
                </a:lnTo>
                <a:lnTo>
                  <a:pt x="10934996" y="6002209"/>
                </a:lnTo>
                <a:cubicBezTo>
                  <a:pt x="10934996" y="5969145"/>
                  <a:pt x="10943587" y="5955038"/>
                  <a:pt x="10963752" y="5955038"/>
                </a:cubicBezTo>
                <a:cubicBezTo>
                  <a:pt x="10984907" y="5955038"/>
                  <a:pt x="10993152" y="5968080"/>
                  <a:pt x="10993152" y="6001571"/>
                </a:cubicBezTo>
                <a:lnTo>
                  <a:pt x="10993152" y="6102940"/>
                </a:lnTo>
                <a:lnTo>
                  <a:pt x="11049615" y="6102940"/>
                </a:lnTo>
                <a:lnTo>
                  <a:pt x="11049615" y="5992338"/>
                </a:lnTo>
                <a:cubicBezTo>
                  <a:pt x="11049615" y="5978134"/>
                  <a:pt x="11049615" y="5951689"/>
                  <a:pt x="11034072" y="5931959"/>
                </a:cubicBezTo>
                <a:cubicBezTo>
                  <a:pt x="11020080" y="5914162"/>
                  <a:pt x="10995931" y="5902206"/>
                  <a:pt x="10973965" y="5902206"/>
                </a:cubicBezTo>
                <a:cubicBezTo>
                  <a:pt x="10959449" y="5902206"/>
                  <a:pt x="10946382" y="5905891"/>
                  <a:pt x="10934996" y="5913184"/>
                </a:cubicBezTo>
                <a:close/>
                <a:moveTo>
                  <a:pt x="11133771" y="5845337"/>
                </a:moveTo>
                <a:lnTo>
                  <a:pt x="11077307" y="5902060"/>
                </a:lnTo>
                <a:lnTo>
                  <a:pt x="11077307" y="6102939"/>
                </a:lnTo>
                <a:lnTo>
                  <a:pt x="11133771" y="6102939"/>
                </a:lnTo>
                <a:lnTo>
                  <a:pt x="11133771" y="5953525"/>
                </a:lnTo>
                <a:lnTo>
                  <a:pt x="11170447" y="5953525"/>
                </a:lnTo>
                <a:lnTo>
                  <a:pt x="11170447" y="5901973"/>
                </a:lnTo>
                <a:lnTo>
                  <a:pt x="11133771" y="5901973"/>
                </a:lnTo>
                <a:close/>
                <a:moveTo>
                  <a:pt x="0" y="0"/>
                </a:moveTo>
                <a:lnTo>
                  <a:pt x="12192000" y="0"/>
                </a:lnTo>
                <a:lnTo>
                  <a:pt x="12192000" y="6864039"/>
                </a:lnTo>
                <a:lnTo>
                  <a:pt x="0" y="6864039"/>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dirty="0"/>
              <a:t>Klik op het pictogram als u een afbeelding wilt toevoegen</a:t>
            </a:r>
            <a:endParaRPr lang="en-GB" dirty="0"/>
          </a:p>
        </p:txBody>
      </p:sp>
      <p:sp>
        <p:nvSpPr>
          <p:cNvPr id="3" name="Titel 1">
            <a:extLst>
              <a:ext uri="{FF2B5EF4-FFF2-40B4-BE49-F238E27FC236}">
                <a16:creationId xmlns:a16="http://schemas.microsoft.com/office/drawing/2014/main" id="{FFD0E52D-7DC6-4860-01BD-6B56A7AC1CE5}"/>
              </a:ext>
            </a:extLst>
          </p:cNvPr>
          <p:cNvSpPr>
            <a:spLocks noGrp="1"/>
          </p:cNvSpPr>
          <p:nvPr>
            <p:ph type="title" hasCustomPrompt="1"/>
          </p:nvPr>
        </p:nvSpPr>
        <p:spPr>
          <a:xfrm>
            <a:off x="1137600" y="2801001"/>
            <a:ext cx="5016576" cy="969496"/>
          </a:xfrm>
        </p:spPr>
        <p:txBody>
          <a:bodyPr wrap="square" anchor="b" anchorCtr="0">
            <a:spAutoFit/>
          </a:bodyPr>
          <a:lstStyle>
            <a:lvl1pPr>
              <a:defRPr sz="7000">
                <a:solidFill>
                  <a:schemeClr val="bg1"/>
                </a:solidFill>
              </a:defRPr>
            </a:lvl1pPr>
          </a:lstStyle>
          <a:p>
            <a:r>
              <a:rPr lang="nl-NL" dirty="0"/>
              <a:t>Tekst</a:t>
            </a:r>
          </a:p>
        </p:txBody>
      </p:sp>
    </p:spTree>
    <p:extLst>
      <p:ext uri="{BB962C8B-B14F-4D97-AF65-F5344CB8AC3E}">
        <p14:creationId xmlns:p14="http://schemas.microsoft.com/office/powerpoint/2010/main" val="439176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I / Beeld">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3E331EB8-7C40-852C-F16C-5795466EFC26}"/>
              </a:ext>
            </a:extLst>
          </p:cNvPr>
          <p:cNvSpPr/>
          <p:nvPr userDrawn="1"/>
        </p:nvSpPr>
        <p:spPr>
          <a:xfrm>
            <a:off x="6096000"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rgbClr val="7A3500"/>
          </a:solidFill>
          <a:ln w="12700" cap="flat">
            <a:solidFill>
              <a:srgbClr val="7A3500"/>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9" name="Freeform: Shape 8">
            <a:extLst>
              <a:ext uri="{FF2B5EF4-FFF2-40B4-BE49-F238E27FC236}">
                <a16:creationId xmlns:a16="http://schemas.microsoft.com/office/drawing/2014/main" id="{0B1B35FF-50C1-C14B-ECED-876FAF17DECF}"/>
              </a:ext>
            </a:extLst>
          </p:cNvPr>
          <p:cNvSpPr/>
          <p:nvPr userDrawn="1"/>
        </p:nvSpPr>
        <p:spPr>
          <a:xfrm>
            <a:off x="0" y="585773"/>
            <a:ext cx="6096000" cy="6272226"/>
          </a:xfrm>
          <a:custGeom>
            <a:avLst/>
            <a:gdLst>
              <a:gd name="connsiteX0" fmla="*/ 4998000 w 6096000"/>
              <a:gd name="connsiteY0" fmla="*/ 1045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272226">
                <a:moveTo>
                  <a:pt x="4998000" y="1045"/>
                </a:moveTo>
                <a:cubicBezTo>
                  <a:pt x="5278788" y="-4567"/>
                  <a:pt x="5544424" y="12614"/>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lose/>
              </a:path>
            </a:pathLst>
          </a:cu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0" name="Freeform: Shape 9">
            <a:extLst>
              <a:ext uri="{FF2B5EF4-FFF2-40B4-BE49-F238E27FC236}">
                <a16:creationId xmlns:a16="http://schemas.microsoft.com/office/drawing/2014/main" id="{462910F0-768E-6243-6F1F-698D6D4E36D9}"/>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chemeClr val="accent6"/>
          </a:solidFill>
          <a:ln w="12700" cap="flat">
            <a:solidFill>
              <a:schemeClr val="accent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1" name="Picture Placeholder 8">
            <a:extLst>
              <a:ext uri="{FF2B5EF4-FFF2-40B4-BE49-F238E27FC236}">
                <a16:creationId xmlns:a16="http://schemas.microsoft.com/office/drawing/2014/main" id="{A242C25F-1824-87D5-9D77-D14E7ADF3195}"/>
              </a:ext>
            </a:extLst>
          </p:cNvPr>
          <p:cNvSpPr>
            <a:spLocks noGrp="1"/>
          </p:cNvSpPr>
          <p:nvPr>
            <p:ph type="pic" sz="quarter" idx="11"/>
          </p:nvPr>
        </p:nvSpPr>
        <p:spPr>
          <a:xfrm>
            <a:off x="6096000" y="0"/>
            <a:ext cx="6096000" cy="5705659"/>
          </a:xfrm>
          <a:custGeom>
            <a:avLst/>
            <a:gdLst>
              <a:gd name="connsiteX0" fmla="*/ 0 w 6096000"/>
              <a:gd name="connsiteY0" fmla="*/ 0 h 5705659"/>
              <a:gd name="connsiteX1" fmla="*/ 6096000 w 6096000"/>
              <a:gd name="connsiteY1" fmla="*/ 0 h 5705659"/>
              <a:gd name="connsiteX2" fmla="*/ 6096000 w 6096000"/>
              <a:gd name="connsiteY2" fmla="*/ 5705659 h 5705659"/>
              <a:gd name="connsiteX3" fmla="*/ 2934617 w 6096000"/>
              <a:gd name="connsiteY3" fmla="*/ 2549416 h 5705659"/>
              <a:gd name="connsiteX4" fmla="*/ 119700 w 6096000"/>
              <a:gd name="connsiteY4" fmla="*/ 724468 h 5705659"/>
              <a:gd name="connsiteX5" fmla="*/ 0 w 6096000"/>
              <a:gd name="connsiteY5" fmla="*/ 693739 h 570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5705659">
                <a:moveTo>
                  <a:pt x="0" y="0"/>
                </a:moveTo>
                <a:lnTo>
                  <a:pt x="6096000" y="0"/>
                </a:lnTo>
                <a:lnTo>
                  <a:pt x="6096000" y="5705659"/>
                </a:lnTo>
                <a:lnTo>
                  <a:pt x="2934617" y="2549416"/>
                </a:lnTo>
                <a:cubicBezTo>
                  <a:pt x="1797550" y="1414196"/>
                  <a:pt x="828266" y="922995"/>
                  <a:pt x="119700" y="724468"/>
                </a:cubicBezTo>
                <a:lnTo>
                  <a:pt x="0" y="693739"/>
                </a:lnTo>
                <a:close/>
              </a:path>
            </a:pathLst>
          </a:custGeom>
          <a:solidFill>
            <a:schemeClr val="bg1">
              <a:lumMod val="95000"/>
            </a:schemeClr>
          </a:solidFill>
        </p:spPr>
        <p:txBody>
          <a:bodyPr wrap="square" lIns="0" tIns="1097280">
            <a:noAutofit/>
          </a:bodyPr>
          <a:lstStyle>
            <a:lvl1pPr algn="ctr">
              <a:defRPr sz="1800"/>
            </a:lvl1pPr>
          </a:lstStyle>
          <a:p>
            <a:r>
              <a:rPr lang="nl-NL"/>
              <a:t>Klik op het pictogram als u een afbeelding wilt toevoegen</a:t>
            </a:r>
            <a:endParaRPr lang="en-GB"/>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5" name="Title 1">
            <a:extLst>
              <a:ext uri="{FF2B5EF4-FFF2-40B4-BE49-F238E27FC236}">
                <a16:creationId xmlns:a16="http://schemas.microsoft.com/office/drawing/2014/main" id="{EFEB8386-CF97-8FD8-6A1A-FE43E19603FA}"/>
              </a:ext>
            </a:extLst>
          </p:cNvPr>
          <p:cNvSpPr>
            <a:spLocks noGrp="1"/>
          </p:cNvSpPr>
          <p:nvPr>
            <p:ph type="ctrTitle" hasCustomPrompt="1"/>
          </p:nvPr>
        </p:nvSpPr>
        <p:spPr>
          <a:xfrm>
            <a:off x="1137600" y="4726041"/>
            <a:ext cx="6894373" cy="874022"/>
          </a:xfrm>
          <a:noFill/>
        </p:spPr>
        <p:txBody>
          <a:bodyPr wrap="square" anchor="b">
            <a:spAutoFit/>
          </a:bodyPr>
          <a:lstStyle>
            <a:lvl1pPr algn="l">
              <a:lnSpc>
                <a:spcPct val="80000"/>
              </a:lnSpc>
              <a:defRPr sz="7000" b="1">
                <a:solidFill>
                  <a:schemeClr val="bg1"/>
                </a:solidFill>
                <a:latin typeface="+mn-lt"/>
              </a:defRPr>
            </a:lvl1pPr>
          </a:lstStyle>
          <a:p>
            <a:r>
              <a:rPr lang="nl-NL" noProof="0" dirty="0"/>
              <a:t>Tekst</a:t>
            </a:r>
          </a:p>
        </p:txBody>
      </p:sp>
      <p:sp>
        <p:nvSpPr>
          <p:cNvPr id="4" name="Freeform: Shape 3">
            <a:extLst>
              <a:ext uri="{FF2B5EF4-FFF2-40B4-BE49-F238E27FC236}">
                <a16:creationId xmlns:a16="http://schemas.microsoft.com/office/drawing/2014/main" id="{F9643337-EDA8-DCC2-5C96-060ED8196F27}"/>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E2391183-0B13-93D9-5DC9-1F76830F77F4}"/>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grpSp>
        <p:nvGrpSpPr>
          <p:cNvPr id="2" name="Groep 1">
            <a:extLst>
              <a:ext uri="{FF2B5EF4-FFF2-40B4-BE49-F238E27FC236}">
                <a16:creationId xmlns:a16="http://schemas.microsoft.com/office/drawing/2014/main" id="{145E5A78-7CEF-A2C0-FEAB-82EACF7843DB}"/>
              </a:ext>
            </a:extLst>
          </p:cNvPr>
          <p:cNvGrpSpPr/>
          <p:nvPr userDrawn="1"/>
        </p:nvGrpSpPr>
        <p:grpSpPr>
          <a:xfrm>
            <a:off x="10015200" y="5839200"/>
            <a:ext cx="1599388" cy="433809"/>
            <a:chOff x="3101010" y="1249096"/>
            <a:chExt cx="3978412" cy="1079079"/>
          </a:xfrm>
          <a:solidFill>
            <a:schemeClr val="bg1"/>
          </a:solidFill>
        </p:grpSpPr>
        <p:sp>
          <p:nvSpPr>
            <p:cNvPr id="7" name="Vrije vorm 6">
              <a:extLst>
                <a:ext uri="{FF2B5EF4-FFF2-40B4-BE49-F238E27FC236}">
                  <a16:creationId xmlns:a16="http://schemas.microsoft.com/office/drawing/2014/main" id="{E988F519-E680-C72B-0394-517B1E75A077}"/>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15FDFE25-3E6D-EB7C-2CDE-85F6B309B62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4F613191-0A46-9C50-04B1-378DD4E52975}"/>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1966B880-6EF0-A99D-4EB4-F358AEF30186}"/>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A58B51F5-3EDE-87FB-E764-B6906BB3029F}"/>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A7F9B8F7-080D-C40B-8DD4-866572C19989}"/>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2698C558-7BE4-0ABB-DB74-48DF6A7B915A}"/>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6B1E9FAA-4AA0-629C-EB41-5D2694A7F20F}"/>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9659813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II / Beeld">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388BD3DF-5077-2355-AF8F-B39143205CE2}"/>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7A3500"/>
          </a:solidFill>
          <a:ln w="12700" cap="flat">
            <a:solidFill>
              <a:srgbClr val="7A3500"/>
            </a:solidFill>
            <a:prstDash val="solid"/>
            <a:miter/>
          </a:ln>
        </p:spPr>
        <p:txBody>
          <a:bodyPr rtlCol="0" anchor="ctr"/>
          <a:lstStyle/>
          <a:p>
            <a:pPr lvl="0"/>
            <a:endParaRPr lang="en-GB"/>
          </a:p>
        </p:txBody>
      </p:sp>
      <p:sp>
        <p:nvSpPr>
          <p:cNvPr id="6" name="Freeform: Shape 5">
            <a:extLst>
              <a:ext uri="{FF2B5EF4-FFF2-40B4-BE49-F238E27FC236}">
                <a16:creationId xmlns:a16="http://schemas.microsoft.com/office/drawing/2014/main" id="{A4D412FA-C7FF-CBB7-C9D2-653E72187486}"/>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7A3500"/>
          </a:solidFill>
          <a:ln w="12700" cap="flat">
            <a:solidFill>
              <a:srgbClr val="7A3500"/>
            </a:solidFill>
            <a:prstDash val="solid"/>
            <a:miter/>
          </a:ln>
        </p:spPr>
        <p:txBody>
          <a:bodyPr rtlCol="0" anchor="ctr"/>
          <a:lstStyle/>
          <a:p>
            <a:pPr lvl="0"/>
            <a:endParaRPr lang="en-GB"/>
          </a:p>
        </p:txBody>
      </p:sp>
      <p:sp>
        <p:nvSpPr>
          <p:cNvPr id="7" name="Freeform: Shape 6">
            <a:extLst>
              <a:ext uri="{FF2B5EF4-FFF2-40B4-BE49-F238E27FC236}">
                <a16:creationId xmlns:a16="http://schemas.microsoft.com/office/drawing/2014/main" id="{495C3930-4C45-BF09-CEAA-E1BEB805AC7C}"/>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1" name="Freeform: Shape 10">
            <a:extLst>
              <a:ext uri="{FF2B5EF4-FFF2-40B4-BE49-F238E27FC236}">
                <a16:creationId xmlns:a16="http://schemas.microsoft.com/office/drawing/2014/main" id="{43ACE0DC-0C0B-C412-6BAF-490F0ABD075C}"/>
              </a:ext>
            </a:extLst>
          </p:cNvPr>
          <p:cNvSpPr/>
          <p:nvPr userDrawn="1"/>
        </p:nvSpPr>
        <p:spPr>
          <a:xfrm>
            <a:off x="5414619"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6"/>
          </a:solidFill>
          <a:ln w="19050" cap="flat">
            <a:solidFill>
              <a:schemeClr val="accent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2" name="Picture Placeholder 16">
            <a:extLst>
              <a:ext uri="{FF2B5EF4-FFF2-40B4-BE49-F238E27FC236}">
                <a16:creationId xmlns:a16="http://schemas.microsoft.com/office/drawing/2014/main" id="{33FD8816-4A3C-7887-129D-FE0A6E099F05}"/>
              </a:ext>
            </a:extLst>
          </p:cNvPr>
          <p:cNvSpPr>
            <a:spLocks noGrp="1"/>
          </p:cNvSpPr>
          <p:nvPr>
            <p:ph type="pic" sz="quarter" idx="11"/>
          </p:nvPr>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0 w 4740914"/>
              <a:gd name="connsiteY0" fmla="*/ 685800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589444 w 5330358"/>
              <a:gd name="connsiteY0" fmla="*/ 6858000 h 6858000"/>
              <a:gd name="connsiteX1" fmla="*/ 594525 w 5330358"/>
              <a:gd name="connsiteY1" fmla="*/ 4813300 h 6858000"/>
              <a:gd name="connsiteX2" fmla="*/ 5325277 w 5330358"/>
              <a:gd name="connsiteY2" fmla="*/ 5190 h 6858000"/>
              <a:gd name="connsiteX3" fmla="*/ 5325277 w 5330358"/>
              <a:gd name="connsiteY3" fmla="*/ 0 h 6858000"/>
              <a:gd name="connsiteX4" fmla="*/ 5330358 w 5330358"/>
              <a:gd name="connsiteY4" fmla="*/ 0 h 6858000"/>
              <a:gd name="connsiteX5" fmla="*/ 5330358 w 5330358"/>
              <a:gd name="connsiteY5" fmla="*/ 6858000 h 6858000"/>
              <a:gd name="connsiteX6" fmla="*/ 589444 w 5330358"/>
              <a:gd name="connsiteY6" fmla="*/ 6858000 h 6858000"/>
              <a:gd name="connsiteX0" fmla="*/ 0 w 4740914"/>
              <a:gd name="connsiteY0" fmla="*/ 6858000 h 6858000"/>
              <a:gd name="connsiteX1" fmla="*/ 5081 w 4740914"/>
              <a:gd name="connsiteY1" fmla="*/ 4813300 h 6858000"/>
              <a:gd name="connsiteX2" fmla="*/ 4735833 w 4740914"/>
              <a:gd name="connsiteY2" fmla="*/ 5190 h 6858000"/>
              <a:gd name="connsiteX3" fmla="*/ 4735833 w 4740914"/>
              <a:gd name="connsiteY3" fmla="*/ 0 h 6858000"/>
              <a:gd name="connsiteX4" fmla="*/ 4740914 w 4740914"/>
              <a:gd name="connsiteY4" fmla="*/ 0 h 6858000"/>
              <a:gd name="connsiteX5" fmla="*/ 4740914 w 4740914"/>
              <a:gd name="connsiteY5" fmla="*/ 6858000 h 6858000"/>
              <a:gd name="connsiteX6" fmla="*/ 0 w 474091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0914" h="6858000">
                <a:moveTo>
                  <a:pt x="0" y="6858000"/>
                </a:moveTo>
                <a:cubicBezTo>
                  <a:pt x="1694" y="6176433"/>
                  <a:pt x="3387" y="5494867"/>
                  <a:pt x="5081" y="4813300"/>
                </a:cubicBezTo>
                <a:lnTo>
                  <a:pt x="4735833" y="5190"/>
                </a:lnTo>
                <a:lnTo>
                  <a:pt x="4735833" y="0"/>
                </a:lnTo>
                <a:lnTo>
                  <a:pt x="4740914" y="0"/>
                </a:lnTo>
                <a:lnTo>
                  <a:pt x="4740914" y="6858000"/>
                </a:lnTo>
                <a:lnTo>
                  <a:pt x="0" y="6858000"/>
                </a:lnTo>
                <a:close/>
              </a:path>
            </a:pathLst>
          </a:custGeom>
          <a:solidFill>
            <a:schemeClr val="bg1">
              <a:lumMod val="95000"/>
            </a:schemeClr>
          </a:solidFill>
        </p:spPr>
        <p:txBody>
          <a:bodyPr wrap="square" bIns="731520" anchor="b" anchorCtr="0">
            <a:noAutofit/>
          </a:bodyPr>
          <a:lstStyle>
            <a:lvl1pPr algn="ctr">
              <a:defRPr sz="1800"/>
            </a:lvl1pPr>
          </a:lstStyle>
          <a:p>
            <a:r>
              <a:rPr lang="nl-NL"/>
              <a:t>Klik op het pictogram als u een afbeelding wilt toevoegen</a:t>
            </a:r>
            <a:endParaRPr lang="en-GB"/>
          </a:p>
        </p:txBody>
      </p:sp>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4" name="Title 1">
            <a:extLst>
              <a:ext uri="{FF2B5EF4-FFF2-40B4-BE49-F238E27FC236}">
                <a16:creationId xmlns:a16="http://schemas.microsoft.com/office/drawing/2014/main" id="{DE2E557A-19C9-D444-522B-0B576F560246}"/>
              </a:ext>
            </a:extLst>
          </p:cNvPr>
          <p:cNvSpPr>
            <a:spLocks noGrp="1"/>
          </p:cNvSpPr>
          <p:nvPr>
            <p:ph type="ctrTitle" hasCustomPrompt="1"/>
          </p:nvPr>
        </p:nvSpPr>
        <p:spPr>
          <a:xfrm>
            <a:off x="1137600" y="2991989"/>
            <a:ext cx="5113198" cy="874022"/>
          </a:xfrm>
          <a:noFill/>
        </p:spPr>
        <p:txBody>
          <a:bodyPr wrap="square" anchor="ctr">
            <a:spAutoFit/>
          </a:bodyPr>
          <a:lstStyle>
            <a:lvl1pPr algn="l">
              <a:lnSpc>
                <a:spcPct val="80000"/>
              </a:lnSpc>
              <a:defRPr sz="7000" b="1">
                <a:solidFill>
                  <a:schemeClr val="bg1"/>
                </a:solidFill>
                <a:latin typeface="+mj-lt"/>
              </a:defRPr>
            </a:lvl1pPr>
          </a:lstStyle>
          <a:p>
            <a:r>
              <a:rPr lang="nl-NL" noProof="0" dirty="0"/>
              <a:t>Tekst</a:t>
            </a:r>
          </a:p>
        </p:txBody>
      </p:sp>
      <p:sp>
        <p:nvSpPr>
          <p:cNvPr id="2" name="Freeform: Shape 1">
            <a:extLst>
              <a:ext uri="{FF2B5EF4-FFF2-40B4-BE49-F238E27FC236}">
                <a16:creationId xmlns:a16="http://schemas.microsoft.com/office/drawing/2014/main" id="{344E64F0-C52E-6D68-BE3C-A79D8444EEA7}"/>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grpSp>
        <p:nvGrpSpPr>
          <p:cNvPr id="5" name="Groep 4">
            <a:extLst>
              <a:ext uri="{FF2B5EF4-FFF2-40B4-BE49-F238E27FC236}">
                <a16:creationId xmlns:a16="http://schemas.microsoft.com/office/drawing/2014/main" id="{A48F1815-0FF9-2086-D430-60EA25C06DB7}"/>
              </a:ext>
            </a:extLst>
          </p:cNvPr>
          <p:cNvGrpSpPr/>
          <p:nvPr userDrawn="1"/>
        </p:nvGrpSpPr>
        <p:grpSpPr>
          <a:xfrm>
            <a:off x="612000" y="612000"/>
            <a:ext cx="1599388" cy="433809"/>
            <a:chOff x="3101010" y="1249096"/>
            <a:chExt cx="3978412" cy="1079079"/>
          </a:xfrm>
          <a:solidFill>
            <a:schemeClr val="bg1"/>
          </a:solidFill>
        </p:grpSpPr>
        <p:sp>
          <p:nvSpPr>
            <p:cNvPr id="8" name="Vrije vorm 7">
              <a:extLst>
                <a:ext uri="{FF2B5EF4-FFF2-40B4-BE49-F238E27FC236}">
                  <a16:creationId xmlns:a16="http://schemas.microsoft.com/office/drawing/2014/main" id="{A3087051-E13C-CB90-85C7-568350635522}"/>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CB9CF50C-F3C1-2963-E02A-1C98B8DA6838}"/>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C7EC9498-C3C5-79D2-CB17-D0C7F4939737}"/>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1CDA853A-1CE4-16C1-E519-AAD42E794935}"/>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BC32C30A-B914-FAE9-D0A4-EC9989331274}"/>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52B54E1E-CADA-9EE6-026A-1AACA5ECE5AA}"/>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E4C923AA-22BC-8EB9-4F2C-8EDAEF0E5941}"/>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B22D3CED-C7CA-AA5F-C1F4-89CB52FFDF8B}"/>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7640060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Quote I / Geen beeld">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55B0A47A-78A3-37F6-51E6-7249AD112B25}"/>
              </a:ext>
            </a:extLst>
          </p:cNvPr>
          <p:cNvSpPr/>
          <p:nvPr userDrawn="1"/>
        </p:nvSpPr>
        <p:spPr>
          <a:xfrm>
            <a:off x="6096000"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rgbClr val="7A3500"/>
          </a:solidFill>
          <a:ln w="12700" cap="flat">
            <a:solidFill>
              <a:srgbClr val="7A3500"/>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21" name="Freeform: Shape 20">
            <a:extLst>
              <a:ext uri="{FF2B5EF4-FFF2-40B4-BE49-F238E27FC236}">
                <a16:creationId xmlns:a16="http://schemas.microsoft.com/office/drawing/2014/main" id="{70F638A8-CE00-2246-9705-0AD81E488F6D}"/>
              </a:ext>
            </a:extLst>
          </p:cNvPr>
          <p:cNvSpPr/>
          <p:nvPr userDrawn="1"/>
        </p:nvSpPr>
        <p:spPr>
          <a:xfrm>
            <a:off x="0" y="585773"/>
            <a:ext cx="6096000" cy="6272226"/>
          </a:xfrm>
          <a:custGeom>
            <a:avLst/>
            <a:gdLst>
              <a:gd name="connsiteX0" fmla="*/ 4998000 w 6096000"/>
              <a:gd name="connsiteY0" fmla="*/ 1045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272226">
                <a:moveTo>
                  <a:pt x="4998000" y="1045"/>
                </a:moveTo>
                <a:cubicBezTo>
                  <a:pt x="5278788" y="-4567"/>
                  <a:pt x="5544424" y="12614"/>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lose/>
              </a:path>
            </a:pathLst>
          </a:cu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22" name="Freeform: Shape 21">
            <a:extLst>
              <a:ext uri="{FF2B5EF4-FFF2-40B4-BE49-F238E27FC236}">
                <a16:creationId xmlns:a16="http://schemas.microsoft.com/office/drawing/2014/main" id="{BAA15937-2888-E3A7-E5DE-DA5CCF97C2CC}"/>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rgbClr val="7A3500"/>
          </a:solidFill>
          <a:ln w="12700" cap="flat">
            <a:solidFill>
              <a:srgbClr val="7A3500"/>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3" name="Freeform: Shape 22">
            <a:extLst>
              <a:ext uri="{FF2B5EF4-FFF2-40B4-BE49-F238E27FC236}">
                <a16:creationId xmlns:a16="http://schemas.microsoft.com/office/drawing/2014/main" id="{0C5F40A5-7648-692A-437C-6AC9BDF6E66F}"/>
              </a:ext>
            </a:extLst>
          </p:cNvPr>
          <p:cNvSpPr/>
          <p:nvPr userDrawn="1"/>
        </p:nvSpPr>
        <p:spPr>
          <a:xfrm>
            <a:off x="6096000" y="-1"/>
            <a:ext cx="6096000" cy="5705659"/>
          </a:xfrm>
          <a:custGeom>
            <a:avLst/>
            <a:gdLst>
              <a:gd name="connsiteX0" fmla="*/ 0 w 6096000"/>
              <a:gd name="connsiteY0" fmla="*/ 0 h 5705659"/>
              <a:gd name="connsiteX1" fmla="*/ 6096000 w 6096000"/>
              <a:gd name="connsiteY1" fmla="*/ 0 h 5705659"/>
              <a:gd name="connsiteX2" fmla="*/ 6096000 w 6096000"/>
              <a:gd name="connsiteY2" fmla="*/ 5705659 h 5705659"/>
              <a:gd name="connsiteX3" fmla="*/ 2934617 w 6096000"/>
              <a:gd name="connsiteY3" fmla="*/ 2549416 h 5705659"/>
              <a:gd name="connsiteX4" fmla="*/ 119700 w 6096000"/>
              <a:gd name="connsiteY4" fmla="*/ 724468 h 5705659"/>
              <a:gd name="connsiteX5" fmla="*/ 0 w 6096000"/>
              <a:gd name="connsiteY5" fmla="*/ 693739 h 5705659"/>
              <a:gd name="connsiteX6" fmla="*/ 0 w 6096000"/>
              <a:gd name="connsiteY6" fmla="*/ 0 h 570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05659">
                <a:moveTo>
                  <a:pt x="0" y="0"/>
                </a:moveTo>
                <a:lnTo>
                  <a:pt x="6096000" y="0"/>
                </a:lnTo>
                <a:lnTo>
                  <a:pt x="6096000" y="5705659"/>
                </a:lnTo>
                <a:lnTo>
                  <a:pt x="2934617" y="2549416"/>
                </a:lnTo>
                <a:cubicBezTo>
                  <a:pt x="1797550" y="1414196"/>
                  <a:pt x="828266" y="922995"/>
                  <a:pt x="119700" y="724468"/>
                </a:cubicBezTo>
                <a:lnTo>
                  <a:pt x="0" y="693739"/>
                </a:lnTo>
                <a:lnTo>
                  <a:pt x="0" y="0"/>
                </a:lnTo>
                <a:close/>
              </a:path>
            </a:pathLst>
          </a:cu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26C28EB2-02D8-B783-2BC2-460EFB5D34BF}"/>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4ACAE26E-9C3B-4548-9C9C-EE9FF02E9DD7}"/>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2" name="Title 1">
            <a:extLst>
              <a:ext uri="{FF2B5EF4-FFF2-40B4-BE49-F238E27FC236}">
                <a16:creationId xmlns:a16="http://schemas.microsoft.com/office/drawing/2014/main" id="{EBB84997-60E2-6FBA-FC37-732BFA28E5CF}"/>
              </a:ext>
            </a:extLst>
          </p:cNvPr>
          <p:cNvSpPr>
            <a:spLocks noGrp="1"/>
          </p:cNvSpPr>
          <p:nvPr>
            <p:ph type="ctrTitle" hasCustomPrompt="1"/>
          </p:nvPr>
        </p:nvSpPr>
        <p:spPr>
          <a:xfrm>
            <a:off x="1137600" y="2991989"/>
            <a:ext cx="9842677" cy="874022"/>
          </a:xfrm>
          <a:noFill/>
        </p:spPr>
        <p:txBody>
          <a:bodyPr wrap="square" anchor="ctr">
            <a:spAutoFit/>
          </a:bodyPr>
          <a:lstStyle>
            <a:lvl1pPr algn="l">
              <a:lnSpc>
                <a:spcPct val="80000"/>
              </a:lnSpc>
              <a:defRPr sz="7000" b="1">
                <a:solidFill>
                  <a:schemeClr val="bg1"/>
                </a:solidFill>
                <a:latin typeface="+mj-lt"/>
              </a:defRPr>
            </a:lvl1pPr>
          </a:lstStyle>
          <a:p>
            <a:r>
              <a:rPr lang="nl-NL" noProof="0" dirty="0"/>
              <a:t>Tekst</a:t>
            </a:r>
          </a:p>
        </p:txBody>
      </p:sp>
      <p:grpSp>
        <p:nvGrpSpPr>
          <p:cNvPr id="14" name="Groep 13">
            <a:extLst>
              <a:ext uri="{FF2B5EF4-FFF2-40B4-BE49-F238E27FC236}">
                <a16:creationId xmlns:a16="http://schemas.microsoft.com/office/drawing/2014/main" id="{932E1815-302C-19EA-3F7B-E97FA3979A29}"/>
              </a:ext>
            </a:extLst>
          </p:cNvPr>
          <p:cNvGrpSpPr/>
          <p:nvPr userDrawn="1"/>
        </p:nvGrpSpPr>
        <p:grpSpPr>
          <a:xfrm>
            <a:off x="10014482" y="5839298"/>
            <a:ext cx="1599388" cy="433809"/>
            <a:chOff x="3101010" y="1249096"/>
            <a:chExt cx="3978412" cy="1079079"/>
          </a:xfrm>
          <a:solidFill>
            <a:schemeClr val="bg1"/>
          </a:solidFill>
        </p:grpSpPr>
        <p:sp>
          <p:nvSpPr>
            <p:cNvPr id="15" name="Vrije vorm 14">
              <a:extLst>
                <a:ext uri="{FF2B5EF4-FFF2-40B4-BE49-F238E27FC236}">
                  <a16:creationId xmlns:a16="http://schemas.microsoft.com/office/drawing/2014/main" id="{BDA7CBF7-8097-A454-A4B7-742B2FFBA978}"/>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DFBD8059-415C-808D-D073-3C710E1DC553}"/>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A570D4F4-263A-BBD4-5528-1572FCA5CC84}"/>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8CB00C56-4102-DA3A-0E54-595532D8725E}"/>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BF6C5D9A-5F86-1DF2-86CC-D6154916D095}"/>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25" name="Vrije vorm 24">
              <a:extLst>
                <a:ext uri="{FF2B5EF4-FFF2-40B4-BE49-F238E27FC236}">
                  <a16:creationId xmlns:a16="http://schemas.microsoft.com/office/drawing/2014/main" id="{E3DEC318-2B91-E05F-5F5D-673D5FA68039}"/>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6" name="Vrije vorm 25">
              <a:extLst>
                <a:ext uri="{FF2B5EF4-FFF2-40B4-BE49-F238E27FC236}">
                  <a16:creationId xmlns:a16="http://schemas.microsoft.com/office/drawing/2014/main" id="{98914031-F402-C4BF-3165-A84184CB0ACC}"/>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CCA8B5E7-E060-B23B-C847-3223D2E4E0CD}"/>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9102370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Quote II / Geen beeld">
    <p:bg>
      <p:bgPr>
        <a:solidFill>
          <a:schemeClr val="bg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17381B48-F85F-CC9D-4EEE-8F1F8C5B59F8}"/>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rgbClr val="7A3500"/>
          </a:solidFill>
          <a:ln>
            <a:solidFill>
              <a:srgbClr val="7A35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21" name="Freeform: Shape 20">
            <a:extLst>
              <a:ext uri="{FF2B5EF4-FFF2-40B4-BE49-F238E27FC236}">
                <a16:creationId xmlns:a16="http://schemas.microsoft.com/office/drawing/2014/main" id="{8E6E5843-9E1F-8BB9-B88E-066933D07ACB}"/>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rgbClr val="7A35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2C33C330-E60E-448C-F314-B2AF1F6E2F6F}"/>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grpSp>
        <p:nvGrpSpPr>
          <p:cNvPr id="9" name="Group 8">
            <a:extLst>
              <a:ext uri="{FF2B5EF4-FFF2-40B4-BE49-F238E27FC236}">
                <a16:creationId xmlns:a16="http://schemas.microsoft.com/office/drawing/2014/main" id="{AE1A9A02-0721-1E49-0D7B-35CA9360B37B}"/>
              </a:ext>
            </a:extLst>
          </p:cNvPr>
          <p:cNvGrpSpPr/>
          <p:nvPr userDrawn="1"/>
        </p:nvGrpSpPr>
        <p:grpSpPr>
          <a:xfrm>
            <a:off x="2733675" y="-761999"/>
            <a:ext cx="6724650" cy="608276"/>
            <a:chOff x="2733675" y="-761999"/>
            <a:chExt cx="6724650" cy="608276"/>
          </a:xfrm>
        </p:grpSpPr>
        <p:sp>
          <p:nvSpPr>
            <p:cNvPr id="11" name="Rectangle 10">
              <a:extLst>
                <a:ext uri="{FF2B5EF4-FFF2-40B4-BE49-F238E27FC236}">
                  <a16:creationId xmlns:a16="http://schemas.microsoft.com/office/drawing/2014/main" id="{E1AB7697-F3F4-C614-5BF6-0E2173469BB3}"/>
                </a:ext>
              </a:extLst>
            </p:cNvPr>
            <p:cNvSpPr/>
            <p:nvPr userDrawn="1"/>
          </p:nvSpPr>
          <p:spPr>
            <a:xfrm>
              <a:off x="2733675" y="-761999"/>
              <a:ext cx="6724650" cy="608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2" name="TextBox 11">
              <a:extLst>
                <a:ext uri="{FF2B5EF4-FFF2-40B4-BE49-F238E27FC236}">
                  <a16:creationId xmlns:a16="http://schemas.microsoft.com/office/drawing/2014/main" id="{7E9187E0-0B39-F232-D77C-79A07412CD4E}"/>
                </a:ext>
              </a:extLst>
            </p:cNvPr>
            <p:cNvSpPr txBox="1"/>
            <p:nvPr userDrawn="1"/>
          </p:nvSpPr>
          <p:spPr>
            <a:xfrm>
              <a:off x="2910676" y="-581676"/>
              <a:ext cx="5476534" cy="261610"/>
            </a:xfrm>
            <a:prstGeom prst="rect">
              <a:avLst/>
            </a:prstGeom>
            <a:noFill/>
          </p:spPr>
          <p:txBody>
            <a:bodyPr wrap="square" rtlCol="0">
              <a:spAutoFit/>
            </a:bodyPr>
            <a:lstStyle/>
            <a:p>
              <a:pPr algn="ctr"/>
              <a:r>
                <a:rPr lang="nl-NL" sz="1100" noProof="1">
                  <a:solidFill>
                    <a:schemeClr val="tx1"/>
                  </a:solidFill>
                </a:rPr>
                <a:t>kies een accentkleuren voor het benadrukken van tekst</a:t>
              </a:r>
            </a:p>
          </p:txBody>
        </p:sp>
        <p:grpSp>
          <p:nvGrpSpPr>
            <p:cNvPr id="13" name="Group 12">
              <a:extLst>
                <a:ext uri="{FF2B5EF4-FFF2-40B4-BE49-F238E27FC236}">
                  <a16:creationId xmlns:a16="http://schemas.microsoft.com/office/drawing/2014/main" id="{7E5D4576-8B12-5F81-6571-8A1134EAAD38}"/>
                </a:ext>
              </a:extLst>
            </p:cNvPr>
            <p:cNvGrpSpPr/>
            <p:nvPr userDrawn="1"/>
          </p:nvGrpSpPr>
          <p:grpSpPr>
            <a:xfrm>
              <a:off x="7643344" y="-543417"/>
              <a:ext cx="743866" cy="176763"/>
              <a:chOff x="2853192" y="-519709"/>
              <a:chExt cx="1108074" cy="263308"/>
            </a:xfrm>
          </p:grpSpPr>
          <p:sp>
            <p:nvSpPr>
              <p:cNvPr id="15" name="Rectangle 14">
                <a:extLst>
                  <a:ext uri="{FF2B5EF4-FFF2-40B4-BE49-F238E27FC236}">
                    <a16:creationId xmlns:a16="http://schemas.microsoft.com/office/drawing/2014/main" id="{5E41FEB2-C0C2-E70C-2972-36DC4842D372}"/>
                  </a:ext>
                </a:extLst>
              </p:cNvPr>
              <p:cNvSpPr/>
              <p:nvPr userDrawn="1"/>
            </p:nvSpPr>
            <p:spPr>
              <a:xfrm>
                <a:off x="2853192" y="-519709"/>
                <a:ext cx="276225" cy="26330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6" name="Rectangle 15">
                <a:extLst>
                  <a:ext uri="{FF2B5EF4-FFF2-40B4-BE49-F238E27FC236}">
                    <a16:creationId xmlns:a16="http://schemas.microsoft.com/office/drawing/2014/main" id="{AE7D052D-1493-662D-E87D-8619F658B6AB}"/>
                  </a:ext>
                </a:extLst>
              </p:cNvPr>
              <p:cNvSpPr/>
              <p:nvPr userDrawn="1"/>
            </p:nvSpPr>
            <p:spPr>
              <a:xfrm>
                <a:off x="3685041" y="-519709"/>
                <a:ext cx="276225" cy="263308"/>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7" name="Rectangle 16">
                <a:extLst>
                  <a:ext uri="{FF2B5EF4-FFF2-40B4-BE49-F238E27FC236}">
                    <a16:creationId xmlns:a16="http://schemas.microsoft.com/office/drawing/2014/main" id="{84AFA136-0E93-C01C-99FE-125B40B30FF7}"/>
                  </a:ext>
                </a:extLst>
              </p:cNvPr>
              <p:cNvSpPr/>
              <p:nvPr userDrawn="1"/>
            </p:nvSpPr>
            <p:spPr>
              <a:xfrm>
                <a:off x="3279436" y="-519709"/>
                <a:ext cx="276225" cy="263308"/>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cxnSp>
          <p:nvCxnSpPr>
            <p:cNvPr id="14" name="Straight Connector 13">
              <a:extLst>
                <a:ext uri="{FF2B5EF4-FFF2-40B4-BE49-F238E27FC236}">
                  <a16:creationId xmlns:a16="http://schemas.microsoft.com/office/drawing/2014/main" id="{F41224A1-3FD0-5921-415F-01F773597C00}"/>
                </a:ext>
              </a:extLst>
            </p:cNvPr>
            <p:cNvCxnSpPr>
              <a:cxnSpLocks/>
            </p:cNvCxnSpPr>
            <p:nvPr userDrawn="1"/>
          </p:nvCxnSpPr>
          <p:spPr>
            <a:xfrm>
              <a:off x="2771998" y="-255323"/>
              <a:ext cx="6648005"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 name="Freeform: Shape 6">
            <a:extLst>
              <a:ext uri="{FF2B5EF4-FFF2-40B4-BE49-F238E27FC236}">
                <a16:creationId xmlns:a16="http://schemas.microsoft.com/office/drawing/2014/main" id="{456C001A-B31A-618C-E86E-7566F7569973}"/>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chemeClr val="accent1"/>
          </a:solidFill>
          <a:ln w="12700" cap="flat">
            <a:solidFill>
              <a:schemeClr val="accent1"/>
            </a:solidFill>
            <a:prstDash val="solid"/>
            <a:miter/>
          </a:ln>
        </p:spPr>
        <p:txBody>
          <a:bodyPr rtlCol="0" anchor="ctr"/>
          <a:lstStyle/>
          <a:p>
            <a:pPr lvl="0"/>
            <a:endParaRPr lang="en-GB"/>
          </a:p>
        </p:txBody>
      </p:sp>
      <p:sp>
        <p:nvSpPr>
          <p:cNvPr id="20" name="Freeform: Shape 19">
            <a:extLst>
              <a:ext uri="{FF2B5EF4-FFF2-40B4-BE49-F238E27FC236}">
                <a16:creationId xmlns:a16="http://schemas.microsoft.com/office/drawing/2014/main" id="{554C28EF-90AB-7402-1CC6-DF8DADF370A9}"/>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chemeClr val="accent1"/>
          </a:solidFill>
          <a:ln w="12700" cap="flat">
            <a:solidFill>
              <a:schemeClr val="accent1"/>
            </a:solidFill>
            <a:prstDash val="solid"/>
            <a:miter/>
          </a:ln>
        </p:spPr>
        <p:txBody>
          <a:bodyPr rtlCol="0" anchor="ctr"/>
          <a:lstStyle/>
          <a:p>
            <a:pPr lvl="0"/>
            <a:endParaRPr lang="en-GB"/>
          </a:p>
        </p:txBody>
      </p:sp>
      <p:sp>
        <p:nvSpPr>
          <p:cNvPr id="22" name="Freeform: Shape 21">
            <a:extLst>
              <a:ext uri="{FF2B5EF4-FFF2-40B4-BE49-F238E27FC236}">
                <a16:creationId xmlns:a16="http://schemas.microsoft.com/office/drawing/2014/main" id="{DBE96EC5-2DA0-BE73-7A00-EFF481534ED3}"/>
              </a:ext>
            </a:extLst>
          </p:cNvPr>
          <p:cNvSpPr/>
          <p:nvPr userDrawn="1"/>
        </p:nvSpPr>
        <p:spPr>
          <a:xfrm>
            <a:off x="5414619"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6"/>
          </a:solidFill>
          <a:ln w="12700" cap="flat">
            <a:solidFill>
              <a:schemeClr val="accent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 name="Title 1">
            <a:extLst>
              <a:ext uri="{FF2B5EF4-FFF2-40B4-BE49-F238E27FC236}">
                <a16:creationId xmlns:a16="http://schemas.microsoft.com/office/drawing/2014/main" id="{308BD9C9-2E7A-AA45-6BAB-B5BF96D70F16}"/>
              </a:ext>
            </a:extLst>
          </p:cNvPr>
          <p:cNvSpPr>
            <a:spLocks noGrp="1"/>
          </p:cNvSpPr>
          <p:nvPr>
            <p:ph type="ctrTitle" hasCustomPrompt="1"/>
          </p:nvPr>
        </p:nvSpPr>
        <p:spPr>
          <a:xfrm>
            <a:off x="1137600" y="2991989"/>
            <a:ext cx="9842677" cy="874022"/>
          </a:xfrm>
          <a:noFill/>
        </p:spPr>
        <p:txBody>
          <a:bodyPr wrap="square" anchor="ctr">
            <a:spAutoFit/>
          </a:bodyPr>
          <a:lstStyle>
            <a:lvl1pPr algn="l">
              <a:lnSpc>
                <a:spcPct val="80000"/>
              </a:lnSpc>
              <a:defRPr sz="7000" b="1">
                <a:solidFill>
                  <a:schemeClr val="bg1"/>
                </a:solidFill>
                <a:latin typeface="+mj-lt"/>
              </a:defRPr>
            </a:lvl1pPr>
          </a:lstStyle>
          <a:p>
            <a:r>
              <a:rPr lang="nl-NL" noProof="0" dirty="0"/>
              <a:t>Tekst</a:t>
            </a:r>
          </a:p>
        </p:txBody>
      </p:sp>
      <p:grpSp>
        <p:nvGrpSpPr>
          <p:cNvPr id="3" name="Groep 2">
            <a:extLst>
              <a:ext uri="{FF2B5EF4-FFF2-40B4-BE49-F238E27FC236}">
                <a16:creationId xmlns:a16="http://schemas.microsoft.com/office/drawing/2014/main" id="{81714085-69F7-3581-8C58-7C2F3D23540F}"/>
              </a:ext>
            </a:extLst>
          </p:cNvPr>
          <p:cNvGrpSpPr/>
          <p:nvPr userDrawn="1"/>
        </p:nvGrpSpPr>
        <p:grpSpPr>
          <a:xfrm>
            <a:off x="10015200" y="5839200"/>
            <a:ext cx="1599388" cy="433809"/>
            <a:chOff x="3101010" y="1249096"/>
            <a:chExt cx="3978412" cy="1079079"/>
          </a:xfrm>
          <a:solidFill>
            <a:schemeClr val="bg1"/>
          </a:solidFill>
        </p:grpSpPr>
        <p:sp>
          <p:nvSpPr>
            <p:cNvPr id="4" name="Vrije vorm 3">
              <a:extLst>
                <a:ext uri="{FF2B5EF4-FFF2-40B4-BE49-F238E27FC236}">
                  <a16:creationId xmlns:a16="http://schemas.microsoft.com/office/drawing/2014/main" id="{0E7FE728-609F-F36F-3ECD-8152EFBEB6B4}"/>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F8A10E7F-AD45-DD20-275E-FF00A0D7A82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1A64B84A-A360-AF68-A12A-6262F447DE69}"/>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B4441F2D-84B0-B212-98FD-DC8AD19C0472}"/>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5797362F-EA5D-3FF5-8E0F-6A7C183D80C5}"/>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C5A0F331-A649-369C-EC08-8227B8EC62D7}"/>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5" name="Vrije vorm 24">
              <a:extLst>
                <a:ext uri="{FF2B5EF4-FFF2-40B4-BE49-F238E27FC236}">
                  <a16:creationId xmlns:a16="http://schemas.microsoft.com/office/drawing/2014/main" id="{280AB117-92E9-A82B-AC8C-2C2D12D88144}"/>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6" name="Vrije vorm 25">
              <a:extLst>
                <a:ext uri="{FF2B5EF4-FFF2-40B4-BE49-F238E27FC236}">
                  <a16:creationId xmlns:a16="http://schemas.microsoft.com/office/drawing/2014/main" id="{1FCFF037-7C7D-021A-4BED-EA028DE5D396}"/>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6865271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eeld I">
    <p:bg>
      <p:bgPr>
        <a:solidFill>
          <a:schemeClr val="bg1"/>
        </a:soli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21776F47-32C9-9C8E-B319-73A7A122AD42}"/>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BD92EE7E-9B70-5398-06AF-122C02566FF5}"/>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5" name="Picture Placeholder 2">
            <a:extLst>
              <a:ext uri="{FF2B5EF4-FFF2-40B4-BE49-F238E27FC236}">
                <a16:creationId xmlns:a16="http://schemas.microsoft.com/office/drawing/2014/main" id="{1338318C-7CFB-43D2-38E8-5C3C3E498969}"/>
              </a:ext>
            </a:extLst>
          </p:cNvPr>
          <p:cNvSpPr>
            <a:spLocks noGrp="1"/>
          </p:cNvSpPr>
          <p:nvPr>
            <p:ph type="pic" sz="quarter" idx="10"/>
          </p:nvPr>
        </p:nvSpPr>
        <p:spPr>
          <a:xfrm>
            <a:off x="0" y="546736"/>
            <a:ext cx="8858789" cy="6311263"/>
          </a:xfrm>
          <a:custGeom>
            <a:avLst/>
            <a:gdLst>
              <a:gd name="connsiteX0" fmla="*/ 0 w 8858789"/>
              <a:gd name="connsiteY0" fmla="*/ 0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9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0 w 8858789"/>
              <a:gd name="connsiteY0" fmla="*/ 4342128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9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98900 w 8957689"/>
              <a:gd name="connsiteY0" fmla="*/ 3795391 h 6311263"/>
              <a:gd name="connsiteX1" fmla="*/ 98901 w 8957689"/>
              <a:gd name="connsiteY1" fmla="*/ 3780248 h 6311263"/>
              <a:gd name="connsiteX2" fmla="*/ 1434066 w 8957689"/>
              <a:gd name="connsiteY2" fmla="*/ 1712382 h 6311263"/>
              <a:gd name="connsiteX3" fmla="*/ 5386652 w 8957689"/>
              <a:gd name="connsiteY3" fmla="*/ 1066 h 6311263"/>
              <a:gd name="connsiteX4" fmla="*/ 6178419 w 8957689"/>
              <a:gd name="connsiteY4" fmla="*/ 48251 h 6311263"/>
              <a:gd name="connsiteX5" fmla="*/ 8925370 w 8957689"/>
              <a:gd name="connsiteY5" fmla="*/ 1494767 h 6311263"/>
              <a:gd name="connsiteX6" fmla="*/ 8957689 w 8957689"/>
              <a:gd name="connsiteY6" fmla="*/ 1525097 h 6311263"/>
              <a:gd name="connsiteX7" fmla="*/ 8957689 w 8957689"/>
              <a:gd name="connsiteY7" fmla="*/ 1538249 h 6311263"/>
              <a:gd name="connsiteX8" fmla="*/ 4208438 w 8957689"/>
              <a:gd name="connsiteY8" fmla="*/ 6311263 h 6311263"/>
              <a:gd name="connsiteX9" fmla="*/ 98901 w 8957689"/>
              <a:gd name="connsiteY9" fmla="*/ 6311263 h 6311263"/>
              <a:gd name="connsiteX10" fmla="*/ 98901 w 8957689"/>
              <a:gd name="connsiteY10" fmla="*/ 3795389 h 6311263"/>
              <a:gd name="connsiteX11" fmla="*/ 98900 w 8957689"/>
              <a:gd name="connsiteY11" fmla="*/ 3795391 h 6311263"/>
              <a:gd name="connsiteX0" fmla="*/ 0 w 8858789"/>
              <a:gd name="connsiteY0" fmla="*/ 3795391 h 6311263"/>
              <a:gd name="connsiteX1" fmla="*/ 1 w 8858789"/>
              <a:gd name="connsiteY1" fmla="*/ 3780248 h 6311263"/>
              <a:gd name="connsiteX2" fmla="*/ 1335166 w 8858789"/>
              <a:gd name="connsiteY2" fmla="*/ 1712382 h 6311263"/>
              <a:gd name="connsiteX3" fmla="*/ 5287752 w 8858789"/>
              <a:gd name="connsiteY3" fmla="*/ 1066 h 6311263"/>
              <a:gd name="connsiteX4" fmla="*/ 6079519 w 8858789"/>
              <a:gd name="connsiteY4" fmla="*/ 48251 h 6311263"/>
              <a:gd name="connsiteX5" fmla="*/ 8826470 w 8858789"/>
              <a:gd name="connsiteY5" fmla="*/ 1494767 h 6311263"/>
              <a:gd name="connsiteX6" fmla="*/ 8858789 w 8858789"/>
              <a:gd name="connsiteY6" fmla="*/ 1525097 h 6311263"/>
              <a:gd name="connsiteX7" fmla="*/ 8858789 w 8858789"/>
              <a:gd name="connsiteY7" fmla="*/ 1538249 h 6311263"/>
              <a:gd name="connsiteX8" fmla="*/ 4109538 w 8858789"/>
              <a:gd name="connsiteY8" fmla="*/ 6311263 h 6311263"/>
              <a:gd name="connsiteX9" fmla="*/ 1 w 8858789"/>
              <a:gd name="connsiteY9" fmla="*/ 6311263 h 6311263"/>
              <a:gd name="connsiteX10" fmla="*/ 1 w 8858789"/>
              <a:gd name="connsiteY10" fmla="*/ 3795389 h 6311263"/>
              <a:gd name="connsiteX11" fmla="*/ 0 w 8858789"/>
              <a:gd name="connsiteY11" fmla="*/ 3795391 h 63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789" h="6311263">
                <a:moveTo>
                  <a:pt x="0" y="3795391"/>
                </a:moveTo>
                <a:cubicBezTo>
                  <a:pt x="0" y="3790343"/>
                  <a:pt x="1" y="3785296"/>
                  <a:pt x="1" y="3780248"/>
                </a:cubicBezTo>
                <a:cubicBezTo>
                  <a:pt x="267925" y="3068601"/>
                  <a:pt x="696857" y="2353120"/>
                  <a:pt x="1335166" y="1712382"/>
                </a:cubicBezTo>
                <a:cubicBezTo>
                  <a:pt x="2563733" y="479137"/>
                  <a:pt x="4068321" y="25656"/>
                  <a:pt x="5287752" y="1066"/>
                </a:cubicBezTo>
                <a:cubicBezTo>
                  <a:pt x="5569159" y="-4609"/>
                  <a:pt x="5835380" y="12558"/>
                  <a:pt x="6079519" y="48251"/>
                </a:cubicBezTo>
                <a:cubicBezTo>
                  <a:pt x="6707087" y="137127"/>
                  <a:pt x="7661107" y="472509"/>
                  <a:pt x="8826470" y="1494767"/>
                </a:cubicBezTo>
                <a:lnTo>
                  <a:pt x="8858789" y="1525097"/>
                </a:lnTo>
                <a:lnTo>
                  <a:pt x="8858789" y="1538249"/>
                </a:lnTo>
                <a:lnTo>
                  <a:pt x="4109538" y="6311263"/>
                </a:lnTo>
                <a:lnTo>
                  <a:pt x="1" y="6311263"/>
                </a:lnTo>
                <a:lnTo>
                  <a:pt x="1" y="3795389"/>
                </a:lnTo>
                <a:cubicBezTo>
                  <a:pt x="1" y="3795390"/>
                  <a:pt x="0" y="3795390"/>
                  <a:pt x="0" y="3795391"/>
                </a:cubicBezTo>
                <a:close/>
              </a:path>
            </a:pathLst>
          </a:custGeom>
          <a:solidFill>
            <a:schemeClr val="bg1">
              <a:lumMod val="95000"/>
            </a:schemeClr>
          </a:solidFill>
        </p:spPr>
        <p:txBody>
          <a:bodyPr wrap="square" lIns="1280160" tIns="0" bIns="2926080" anchor="ctr">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9" name="Freeform: Shape 8">
            <a:extLst>
              <a:ext uri="{FF2B5EF4-FFF2-40B4-BE49-F238E27FC236}">
                <a16:creationId xmlns:a16="http://schemas.microsoft.com/office/drawing/2014/main" id="{2E05851A-43E9-F70A-9C9D-845B0CB51AFE}"/>
              </a:ext>
            </a:extLst>
          </p:cNvPr>
          <p:cNvSpPr/>
          <p:nvPr userDrawn="1"/>
        </p:nvSpPr>
        <p:spPr>
          <a:xfrm>
            <a:off x="-1" y="0"/>
            <a:ext cx="10949305" cy="4342128"/>
          </a:xfrm>
          <a:custGeom>
            <a:avLst/>
            <a:gdLst>
              <a:gd name="connsiteX0" fmla="*/ 0 w 10949305"/>
              <a:gd name="connsiteY0" fmla="*/ 0 h 4342128"/>
              <a:gd name="connsiteX1" fmla="*/ 10949305 w 10949305"/>
              <a:gd name="connsiteY1" fmla="*/ 0 h 4342128"/>
              <a:gd name="connsiteX2" fmla="*/ 8844237 w 10949305"/>
              <a:gd name="connsiteY2" fmla="*/ 2105068 h 4342128"/>
              <a:gd name="connsiteX3" fmla="*/ 8840883 w 10949305"/>
              <a:gd name="connsiteY3" fmla="*/ 2101933 h 4342128"/>
              <a:gd name="connsiteX4" fmla="*/ 8865033 w 10949305"/>
              <a:gd name="connsiteY4" fmla="*/ 2077694 h 4342128"/>
              <a:gd name="connsiteX5" fmla="*/ 8826470 w 10949305"/>
              <a:gd name="connsiteY5" fmla="*/ 2041504 h 4342128"/>
              <a:gd name="connsiteX6" fmla="*/ 6079518 w 10949305"/>
              <a:gd name="connsiteY6" fmla="*/ 594988 h 4342128"/>
              <a:gd name="connsiteX7" fmla="*/ 5287752 w 10949305"/>
              <a:gd name="connsiteY7" fmla="*/ 547803 h 4342128"/>
              <a:gd name="connsiteX8" fmla="*/ 1335166 w 10949305"/>
              <a:gd name="connsiteY8" fmla="*/ 2259119 h 4342128"/>
              <a:gd name="connsiteX9" fmla="*/ 1 w 10949305"/>
              <a:gd name="connsiteY9" fmla="*/ 4326985 h 4342128"/>
              <a:gd name="connsiteX10" fmla="*/ 1 w 10949305"/>
              <a:gd name="connsiteY10" fmla="*/ 4342126 h 4342128"/>
              <a:gd name="connsiteX11" fmla="*/ 0 w 10949305"/>
              <a:gd name="connsiteY11" fmla="*/ 4342128 h 4342128"/>
              <a:gd name="connsiteX12" fmla="*/ 0 w 10949305"/>
              <a:gd name="connsiteY12" fmla="*/ 0 h 4342128"/>
              <a:gd name="connsiteX0" fmla="*/ 0 w 10949305"/>
              <a:gd name="connsiteY0" fmla="*/ 0 h 4342128"/>
              <a:gd name="connsiteX1" fmla="*/ 10949305 w 10949305"/>
              <a:gd name="connsiteY1" fmla="*/ 0 h 4342128"/>
              <a:gd name="connsiteX2" fmla="*/ 8844237 w 10949305"/>
              <a:gd name="connsiteY2" fmla="*/ 2105068 h 4342128"/>
              <a:gd name="connsiteX3" fmla="*/ 8865033 w 10949305"/>
              <a:gd name="connsiteY3" fmla="*/ 2077694 h 4342128"/>
              <a:gd name="connsiteX4" fmla="*/ 8826470 w 10949305"/>
              <a:gd name="connsiteY4" fmla="*/ 2041504 h 4342128"/>
              <a:gd name="connsiteX5" fmla="*/ 6079518 w 10949305"/>
              <a:gd name="connsiteY5" fmla="*/ 594988 h 4342128"/>
              <a:gd name="connsiteX6" fmla="*/ 5287752 w 10949305"/>
              <a:gd name="connsiteY6" fmla="*/ 547803 h 4342128"/>
              <a:gd name="connsiteX7" fmla="*/ 1335166 w 10949305"/>
              <a:gd name="connsiteY7" fmla="*/ 2259119 h 4342128"/>
              <a:gd name="connsiteX8" fmla="*/ 1 w 10949305"/>
              <a:gd name="connsiteY8" fmla="*/ 4326985 h 4342128"/>
              <a:gd name="connsiteX9" fmla="*/ 1 w 10949305"/>
              <a:gd name="connsiteY9" fmla="*/ 4342126 h 4342128"/>
              <a:gd name="connsiteX10" fmla="*/ 0 w 10949305"/>
              <a:gd name="connsiteY10" fmla="*/ 4342128 h 4342128"/>
              <a:gd name="connsiteX11" fmla="*/ 0 w 10949305"/>
              <a:gd name="connsiteY11" fmla="*/ 0 h 43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305" h="4342128">
                <a:moveTo>
                  <a:pt x="0" y="0"/>
                </a:moveTo>
                <a:lnTo>
                  <a:pt x="10949305" y="0"/>
                </a:lnTo>
                <a:lnTo>
                  <a:pt x="8844237" y="2105068"/>
                </a:lnTo>
                <a:lnTo>
                  <a:pt x="8865033" y="2077694"/>
                </a:lnTo>
                <a:lnTo>
                  <a:pt x="8826470" y="2041504"/>
                </a:lnTo>
                <a:cubicBezTo>
                  <a:pt x="7661107" y="1019246"/>
                  <a:pt x="6707087" y="683864"/>
                  <a:pt x="6079518" y="594988"/>
                </a:cubicBezTo>
                <a:cubicBezTo>
                  <a:pt x="5835380" y="559295"/>
                  <a:pt x="5569159" y="542128"/>
                  <a:pt x="5287752" y="547803"/>
                </a:cubicBezTo>
                <a:cubicBezTo>
                  <a:pt x="4068321" y="572393"/>
                  <a:pt x="2563733" y="1025874"/>
                  <a:pt x="1335166" y="2259119"/>
                </a:cubicBezTo>
                <a:cubicBezTo>
                  <a:pt x="696857" y="2899857"/>
                  <a:pt x="267925" y="3615338"/>
                  <a:pt x="1" y="4326985"/>
                </a:cubicBezTo>
                <a:lnTo>
                  <a:pt x="1" y="4342126"/>
                </a:lnTo>
                <a:cubicBezTo>
                  <a:pt x="1" y="4342127"/>
                  <a:pt x="0" y="4342127"/>
                  <a:pt x="0" y="4342128"/>
                </a:cubicBezTo>
                <a:lnTo>
                  <a:pt x="0" y="0"/>
                </a:lnTo>
                <a:close/>
              </a:path>
            </a:pathLst>
          </a:cu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Freeform: Shape 9">
            <a:extLst>
              <a:ext uri="{FF2B5EF4-FFF2-40B4-BE49-F238E27FC236}">
                <a16:creationId xmlns:a16="http://schemas.microsoft.com/office/drawing/2014/main" id="{48400646-44F5-B184-A713-113A4400A1B5}"/>
              </a:ext>
            </a:extLst>
          </p:cNvPr>
          <p:cNvSpPr/>
          <p:nvPr userDrawn="1"/>
        </p:nvSpPr>
        <p:spPr>
          <a:xfrm>
            <a:off x="8864810" y="0"/>
            <a:ext cx="3327190" cy="5399115"/>
          </a:xfrm>
          <a:custGeom>
            <a:avLst/>
            <a:gdLst>
              <a:gd name="connsiteX0" fmla="*/ 2084494 w 3327190"/>
              <a:gd name="connsiteY0" fmla="*/ 0 h 5399115"/>
              <a:gd name="connsiteX1" fmla="*/ 3327190 w 3327190"/>
              <a:gd name="connsiteY1" fmla="*/ 0 h 5399115"/>
              <a:gd name="connsiteX2" fmla="*/ 3327190 w 3327190"/>
              <a:gd name="connsiteY2" fmla="*/ 5399115 h 5399115"/>
              <a:gd name="connsiteX3" fmla="*/ 469508 w 3327190"/>
              <a:gd name="connsiteY3" fmla="*/ 2526750 h 5399115"/>
              <a:gd name="connsiteX4" fmla="*/ 407278 w 3327190"/>
              <a:gd name="connsiteY4" fmla="*/ 2464839 h 5399115"/>
              <a:gd name="connsiteX5" fmla="*/ 380608 w 3327190"/>
              <a:gd name="connsiteY5" fmla="*/ 2438670 h 5399115"/>
              <a:gd name="connsiteX6" fmla="*/ 345684 w 3327190"/>
              <a:gd name="connsiteY6" fmla="*/ 2404841 h 5399115"/>
              <a:gd name="connsiteX7" fmla="*/ 310123 w 3327190"/>
              <a:gd name="connsiteY7" fmla="*/ 2371015 h 5399115"/>
              <a:gd name="connsiteX8" fmla="*/ 284723 w 3327190"/>
              <a:gd name="connsiteY8" fmla="*/ 2346760 h 5399115"/>
              <a:gd name="connsiteX9" fmla="*/ 244084 w 3327190"/>
              <a:gd name="connsiteY9" fmla="*/ 2307826 h 5399115"/>
              <a:gd name="connsiteX10" fmla="*/ 225668 w 3327190"/>
              <a:gd name="connsiteY10" fmla="*/ 2290593 h 5399115"/>
              <a:gd name="connsiteX11" fmla="*/ 180583 w 3327190"/>
              <a:gd name="connsiteY11" fmla="*/ 2247829 h 5399115"/>
              <a:gd name="connsiteX12" fmla="*/ 167248 w 3327190"/>
              <a:gd name="connsiteY12" fmla="*/ 2235702 h 5399115"/>
              <a:gd name="connsiteX13" fmla="*/ 117718 w 3327190"/>
              <a:gd name="connsiteY13" fmla="*/ 2190386 h 5399115"/>
              <a:gd name="connsiteX14" fmla="*/ 109462 w 3327190"/>
              <a:gd name="connsiteY14" fmla="*/ 2182726 h 5399115"/>
              <a:gd name="connsiteX15" fmla="*/ 56758 w 3327190"/>
              <a:gd name="connsiteY15" fmla="*/ 2134857 h 5399115"/>
              <a:gd name="connsiteX16" fmla="*/ 52948 w 3327190"/>
              <a:gd name="connsiteY16" fmla="*/ 2131665 h 5399115"/>
              <a:gd name="connsiteX17" fmla="*/ 0 w 3327190"/>
              <a:gd name="connsiteY17" fmla="*/ 2084494 h 5399115"/>
              <a:gd name="connsiteX18" fmla="*/ 2084494 w 3327190"/>
              <a:gd name="connsiteY18" fmla="*/ 0 h 539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27190" h="5399115">
                <a:moveTo>
                  <a:pt x="2084494" y="0"/>
                </a:moveTo>
                <a:lnTo>
                  <a:pt x="3327190" y="0"/>
                </a:lnTo>
                <a:lnTo>
                  <a:pt x="3327190" y="5399115"/>
                </a:lnTo>
                <a:lnTo>
                  <a:pt x="469508" y="2526750"/>
                </a:lnTo>
                <a:cubicBezTo>
                  <a:pt x="448554" y="2505688"/>
                  <a:pt x="427599" y="2485263"/>
                  <a:pt x="407278" y="2464839"/>
                </a:cubicBezTo>
                <a:cubicBezTo>
                  <a:pt x="398388" y="2455903"/>
                  <a:pt x="389498" y="2447605"/>
                  <a:pt x="380608" y="2438670"/>
                </a:cubicBezTo>
                <a:cubicBezTo>
                  <a:pt x="369178" y="2427182"/>
                  <a:pt x="357748" y="2415693"/>
                  <a:pt x="345684" y="2404841"/>
                </a:cubicBezTo>
                <a:cubicBezTo>
                  <a:pt x="333618" y="2393354"/>
                  <a:pt x="322188" y="2381865"/>
                  <a:pt x="310123" y="2371015"/>
                </a:cubicBezTo>
                <a:cubicBezTo>
                  <a:pt x="301868" y="2362717"/>
                  <a:pt x="293614" y="2355057"/>
                  <a:pt x="284723" y="2346760"/>
                </a:cubicBezTo>
                <a:cubicBezTo>
                  <a:pt x="270753" y="2333357"/>
                  <a:pt x="257418" y="2320591"/>
                  <a:pt x="244084" y="2307826"/>
                </a:cubicBezTo>
                <a:cubicBezTo>
                  <a:pt x="237734" y="2302082"/>
                  <a:pt x="232018" y="2296338"/>
                  <a:pt x="225668" y="2290593"/>
                </a:cubicBezTo>
                <a:cubicBezTo>
                  <a:pt x="210428" y="2276551"/>
                  <a:pt x="195188" y="2261871"/>
                  <a:pt x="180583" y="2247829"/>
                </a:cubicBezTo>
                <a:cubicBezTo>
                  <a:pt x="176138" y="2244000"/>
                  <a:pt x="171693" y="2239532"/>
                  <a:pt x="167248" y="2235702"/>
                </a:cubicBezTo>
                <a:cubicBezTo>
                  <a:pt x="150738" y="2220384"/>
                  <a:pt x="134228" y="2205066"/>
                  <a:pt x="117718" y="2190386"/>
                </a:cubicBezTo>
                <a:cubicBezTo>
                  <a:pt x="115178" y="2187832"/>
                  <a:pt x="112638" y="2185279"/>
                  <a:pt x="109462" y="2182726"/>
                </a:cubicBezTo>
                <a:cubicBezTo>
                  <a:pt x="91684" y="2166770"/>
                  <a:pt x="73903" y="2150814"/>
                  <a:pt x="56758" y="2134857"/>
                </a:cubicBezTo>
                <a:cubicBezTo>
                  <a:pt x="55488" y="2133581"/>
                  <a:pt x="54218" y="2132942"/>
                  <a:pt x="52948" y="2131665"/>
                </a:cubicBezTo>
                <a:lnTo>
                  <a:pt x="0" y="2084494"/>
                </a:lnTo>
                <a:lnTo>
                  <a:pt x="2084494" y="0"/>
                </a:lnTo>
                <a:close/>
              </a:path>
            </a:pathLst>
          </a:custGeom>
          <a:solidFill>
            <a:srgbClr val="7A3500"/>
          </a:solidFill>
          <a:ln w="12700">
            <a:solidFill>
              <a:srgbClr val="7A35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1" name="Freeform: Shape 10">
            <a:extLst>
              <a:ext uri="{FF2B5EF4-FFF2-40B4-BE49-F238E27FC236}">
                <a16:creationId xmlns:a16="http://schemas.microsoft.com/office/drawing/2014/main" id="{D6AFF871-ED66-B26A-9022-13EA2C126C3E}"/>
              </a:ext>
            </a:extLst>
          </p:cNvPr>
          <p:cNvSpPr/>
          <p:nvPr userDrawn="1"/>
        </p:nvSpPr>
        <p:spPr>
          <a:xfrm>
            <a:off x="8858788" y="2071834"/>
            <a:ext cx="6244" cy="13152"/>
          </a:xfrm>
          <a:custGeom>
            <a:avLst/>
            <a:gdLst>
              <a:gd name="connsiteX0" fmla="*/ 0 w 6244"/>
              <a:gd name="connsiteY0" fmla="*/ 0 h 13152"/>
              <a:gd name="connsiteX1" fmla="*/ 6244 w 6244"/>
              <a:gd name="connsiteY1" fmla="*/ 5860 h 13152"/>
              <a:gd name="connsiteX2" fmla="*/ 2980 w 6244"/>
              <a:gd name="connsiteY2" fmla="*/ 10157 h 13152"/>
              <a:gd name="connsiteX3" fmla="*/ 0 w 6244"/>
              <a:gd name="connsiteY3" fmla="*/ 13152 h 13152"/>
              <a:gd name="connsiteX4" fmla="*/ 0 w 6244"/>
              <a:gd name="connsiteY4" fmla="*/ 0 h 1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2">
                <a:moveTo>
                  <a:pt x="0" y="0"/>
                </a:moveTo>
                <a:lnTo>
                  <a:pt x="6244" y="5860"/>
                </a:lnTo>
                <a:lnTo>
                  <a:pt x="2980" y="10157"/>
                </a:lnTo>
                <a:lnTo>
                  <a:pt x="0" y="13152"/>
                </a:lnTo>
                <a:lnTo>
                  <a:pt x="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2" name="Freeform: Shape 11">
            <a:extLst>
              <a:ext uri="{FF2B5EF4-FFF2-40B4-BE49-F238E27FC236}">
                <a16:creationId xmlns:a16="http://schemas.microsoft.com/office/drawing/2014/main" id="{5A59CA98-1D60-4C4F-B622-6F3C777E29B2}"/>
              </a:ext>
            </a:extLst>
          </p:cNvPr>
          <p:cNvSpPr/>
          <p:nvPr userDrawn="1"/>
        </p:nvSpPr>
        <p:spPr>
          <a:xfrm>
            <a:off x="8858788" y="2081881"/>
            <a:ext cx="6022" cy="8635"/>
          </a:xfrm>
          <a:custGeom>
            <a:avLst/>
            <a:gdLst>
              <a:gd name="connsiteX0" fmla="*/ 3089 w 6022"/>
              <a:gd name="connsiteY0" fmla="*/ 0 h 8635"/>
              <a:gd name="connsiteX1" fmla="*/ 6022 w 6022"/>
              <a:gd name="connsiteY1" fmla="*/ 2613 h 8635"/>
              <a:gd name="connsiteX2" fmla="*/ 0 w 6022"/>
              <a:gd name="connsiteY2" fmla="*/ 8635 h 8635"/>
              <a:gd name="connsiteX3" fmla="*/ 0 w 6022"/>
              <a:gd name="connsiteY3" fmla="*/ 4032 h 8635"/>
              <a:gd name="connsiteX4" fmla="*/ 2980 w 6022"/>
              <a:gd name="connsiteY4" fmla="*/ 110 h 8635"/>
              <a:gd name="connsiteX5" fmla="*/ 3089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89" y="0"/>
                </a:moveTo>
                <a:lnTo>
                  <a:pt x="6022" y="2613"/>
                </a:lnTo>
                <a:lnTo>
                  <a:pt x="0" y="8635"/>
                </a:lnTo>
                <a:lnTo>
                  <a:pt x="0" y="4032"/>
                </a:lnTo>
                <a:lnTo>
                  <a:pt x="2980" y="110"/>
                </a:lnTo>
                <a:lnTo>
                  <a:pt x="3089"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3" name="Freeform: Shape 12">
            <a:extLst>
              <a:ext uri="{FF2B5EF4-FFF2-40B4-BE49-F238E27FC236}">
                <a16:creationId xmlns:a16="http://schemas.microsoft.com/office/drawing/2014/main" id="{5B19720E-5222-DBB2-42A9-0D2E6DA3077A}"/>
              </a:ext>
            </a:extLst>
          </p:cNvPr>
          <p:cNvSpPr/>
          <p:nvPr userDrawn="1"/>
        </p:nvSpPr>
        <p:spPr>
          <a:xfrm>
            <a:off x="8858788" y="2081991"/>
            <a:ext cx="2980" cy="3922"/>
          </a:xfrm>
          <a:custGeom>
            <a:avLst/>
            <a:gdLst>
              <a:gd name="connsiteX0" fmla="*/ 2980 w 2980"/>
              <a:gd name="connsiteY0" fmla="*/ 0 h 3922"/>
              <a:gd name="connsiteX1" fmla="*/ 0 w 2980"/>
              <a:gd name="connsiteY1" fmla="*/ 3922 h 3922"/>
              <a:gd name="connsiteX2" fmla="*/ 0 w 2980"/>
              <a:gd name="connsiteY2" fmla="*/ 2995 h 3922"/>
              <a:gd name="connsiteX3" fmla="*/ 2980 w 2980"/>
              <a:gd name="connsiteY3" fmla="*/ 0 h 3922"/>
            </a:gdLst>
            <a:ahLst/>
            <a:cxnLst>
              <a:cxn ang="0">
                <a:pos x="connsiteX0" y="connsiteY0"/>
              </a:cxn>
              <a:cxn ang="0">
                <a:pos x="connsiteX1" y="connsiteY1"/>
              </a:cxn>
              <a:cxn ang="0">
                <a:pos x="connsiteX2" y="connsiteY2"/>
              </a:cxn>
              <a:cxn ang="0">
                <a:pos x="connsiteX3" y="connsiteY3"/>
              </a:cxn>
            </a:cxnLst>
            <a:rect l="l" t="t" r="r" b="b"/>
            <a:pathLst>
              <a:path w="2980" h="3922">
                <a:moveTo>
                  <a:pt x="2980" y="0"/>
                </a:moveTo>
                <a:lnTo>
                  <a:pt x="0" y="3922"/>
                </a:lnTo>
                <a:lnTo>
                  <a:pt x="0" y="2995"/>
                </a:lnTo>
                <a:lnTo>
                  <a:pt x="298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4" name="Freeform: Shape 13">
            <a:extLst>
              <a:ext uri="{FF2B5EF4-FFF2-40B4-BE49-F238E27FC236}">
                <a16:creationId xmlns:a16="http://schemas.microsoft.com/office/drawing/2014/main" id="{5E2026BB-DD67-7264-CD96-75C1E1541A0F}"/>
              </a:ext>
            </a:extLst>
          </p:cNvPr>
          <p:cNvSpPr/>
          <p:nvPr userDrawn="1"/>
        </p:nvSpPr>
        <p:spPr>
          <a:xfrm>
            <a:off x="8844236" y="2085913"/>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5" name="Freeform: Shape 14">
            <a:extLst>
              <a:ext uri="{FF2B5EF4-FFF2-40B4-BE49-F238E27FC236}">
                <a16:creationId xmlns:a16="http://schemas.microsoft.com/office/drawing/2014/main" id="{029D2E81-C987-A469-2159-A023CDDA9DF1}"/>
              </a:ext>
            </a:extLst>
          </p:cNvPr>
          <p:cNvSpPr/>
          <p:nvPr userDrawn="1"/>
        </p:nvSpPr>
        <p:spPr>
          <a:xfrm>
            <a:off x="8858788" y="2081995"/>
            <a:ext cx="2976" cy="3918"/>
          </a:xfrm>
          <a:custGeom>
            <a:avLst/>
            <a:gdLst>
              <a:gd name="connsiteX0" fmla="*/ 2976 w 2976"/>
              <a:gd name="connsiteY0" fmla="*/ 0 h 3918"/>
              <a:gd name="connsiteX1" fmla="*/ 0 w 2976"/>
              <a:gd name="connsiteY1" fmla="*/ 3918 h 3918"/>
              <a:gd name="connsiteX2" fmla="*/ 0 w 2976"/>
              <a:gd name="connsiteY2" fmla="*/ 2992 h 3918"/>
              <a:gd name="connsiteX3" fmla="*/ 2976 w 2976"/>
              <a:gd name="connsiteY3" fmla="*/ 0 h 3918"/>
            </a:gdLst>
            <a:ahLst/>
            <a:cxnLst>
              <a:cxn ang="0">
                <a:pos x="connsiteX0" y="connsiteY0"/>
              </a:cxn>
              <a:cxn ang="0">
                <a:pos x="connsiteX1" y="connsiteY1"/>
              </a:cxn>
              <a:cxn ang="0">
                <a:pos x="connsiteX2" y="connsiteY2"/>
              </a:cxn>
              <a:cxn ang="0">
                <a:pos x="connsiteX3" y="connsiteY3"/>
              </a:cxn>
            </a:cxnLst>
            <a:rect l="l" t="t" r="r" b="b"/>
            <a:pathLst>
              <a:path w="2976" h="3918">
                <a:moveTo>
                  <a:pt x="2976" y="0"/>
                </a:moveTo>
                <a:lnTo>
                  <a:pt x="0" y="3918"/>
                </a:lnTo>
                <a:lnTo>
                  <a:pt x="0" y="2992"/>
                </a:lnTo>
                <a:lnTo>
                  <a:pt x="2976"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6" name="Freeform: Shape 15">
            <a:extLst>
              <a:ext uri="{FF2B5EF4-FFF2-40B4-BE49-F238E27FC236}">
                <a16:creationId xmlns:a16="http://schemas.microsoft.com/office/drawing/2014/main" id="{70360CA9-3946-9522-4024-9D140DE7BA6F}"/>
              </a:ext>
            </a:extLst>
          </p:cNvPr>
          <p:cNvSpPr/>
          <p:nvPr userDrawn="1"/>
        </p:nvSpPr>
        <p:spPr>
          <a:xfrm>
            <a:off x="8844236" y="2085914"/>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7" name="Freeform: Shape 16">
            <a:extLst>
              <a:ext uri="{FF2B5EF4-FFF2-40B4-BE49-F238E27FC236}">
                <a16:creationId xmlns:a16="http://schemas.microsoft.com/office/drawing/2014/main" id="{FDAD5528-54F3-1B0D-A5CE-5A7E0F460775}"/>
              </a:ext>
            </a:extLst>
          </p:cNvPr>
          <p:cNvSpPr/>
          <p:nvPr userDrawn="1"/>
        </p:nvSpPr>
        <p:spPr>
          <a:xfrm>
            <a:off x="8858788" y="2071835"/>
            <a:ext cx="6244" cy="13153"/>
          </a:xfrm>
          <a:custGeom>
            <a:avLst/>
            <a:gdLst>
              <a:gd name="connsiteX0" fmla="*/ 0 w 6244"/>
              <a:gd name="connsiteY0" fmla="*/ 0 h 13153"/>
              <a:gd name="connsiteX1" fmla="*/ 6244 w 6244"/>
              <a:gd name="connsiteY1" fmla="*/ 5860 h 13153"/>
              <a:gd name="connsiteX2" fmla="*/ 2976 w 6244"/>
              <a:gd name="connsiteY2" fmla="*/ 10161 h 13153"/>
              <a:gd name="connsiteX3" fmla="*/ 0 w 6244"/>
              <a:gd name="connsiteY3" fmla="*/ 13153 h 13153"/>
              <a:gd name="connsiteX4" fmla="*/ 0 w 6244"/>
              <a:gd name="connsiteY4" fmla="*/ 0 h 1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3">
                <a:moveTo>
                  <a:pt x="0" y="0"/>
                </a:moveTo>
                <a:lnTo>
                  <a:pt x="6244" y="5860"/>
                </a:lnTo>
                <a:lnTo>
                  <a:pt x="2976" y="10161"/>
                </a:lnTo>
                <a:lnTo>
                  <a:pt x="0" y="13153"/>
                </a:lnTo>
                <a:lnTo>
                  <a:pt x="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0" name="Freeform: Shape 19">
            <a:extLst>
              <a:ext uri="{FF2B5EF4-FFF2-40B4-BE49-F238E27FC236}">
                <a16:creationId xmlns:a16="http://schemas.microsoft.com/office/drawing/2014/main" id="{01B796E6-7BF6-3AE6-3117-0C465CD9A567}"/>
              </a:ext>
            </a:extLst>
          </p:cNvPr>
          <p:cNvSpPr/>
          <p:nvPr userDrawn="1"/>
        </p:nvSpPr>
        <p:spPr>
          <a:xfrm>
            <a:off x="8858788" y="2081882"/>
            <a:ext cx="6022" cy="8635"/>
          </a:xfrm>
          <a:custGeom>
            <a:avLst/>
            <a:gdLst>
              <a:gd name="connsiteX0" fmla="*/ 3090 w 6022"/>
              <a:gd name="connsiteY0" fmla="*/ 0 h 8635"/>
              <a:gd name="connsiteX1" fmla="*/ 6022 w 6022"/>
              <a:gd name="connsiteY1" fmla="*/ 2613 h 8635"/>
              <a:gd name="connsiteX2" fmla="*/ 0 w 6022"/>
              <a:gd name="connsiteY2" fmla="*/ 8635 h 8635"/>
              <a:gd name="connsiteX3" fmla="*/ 0 w 6022"/>
              <a:gd name="connsiteY3" fmla="*/ 4032 h 8635"/>
              <a:gd name="connsiteX4" fmla="*/ 2976 w 6022"/>
              <a:gd name="connsiteY4" fmla="*/ 114 h 8635"/>
              <a:gd name="connsiteX5" fmla="*/ 3090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90" y="0"/>
                </a:moveTo>
                <a:lnTo>
                  <a:pt x="6022" y="2613"/>
                </a:lnTo>
                <a:lnTo>
                  <a:pt x="0" y="8635"/>
                </a:lnTo>
                <a:lnTo>
                  <a:pt x="0" y="4032"/>
                </a:lnTo>
                <a:lnTo>
                  <a:pt x="2976" y="114"/>
                </a:lnTo>
                <a:lnTo>
                  <a:pt x="309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6" name="Freeform: Shape 5">
            <a:extLst>
              <a:ext uri="{FF2B5EF4-FFF2-40B4-BE49-F238E27FC236}">
                <a16:creationId xmlns:a16="http://schemas.microsoft.com/office/drawing/2014/main" id="{5210795C-0FF3-7AD6-7A0D-FE997994CD05}"/>
              </a:ext>
            </a:extLst>
          </p:cNvPr>
          <p:cNvSpPr/>
          <p:nvPr userDrawn="1"/>
        </p:nvSpPr>
        <p:spPr>
          <a:xfrm>
            <a:off x="4109538" y="2081881"/>
            <a:ext cx="8082463" cy="4776119"/>
          </a:xfrm>
          <a:custGeom>
            <a:avLst/>
            <a:gdLst>
              <a:gd name="connsiteX0" fmla="*/ 4752340 w 8082463"/>
              <a:gd name="connsiteY0" fmla="*/ 0 h 4776119"/>
              <a:gd name="connsiteX1" fmla="*/ 4808220 w 8082463"/>
              <a:gd name="connsiteY1" fmla="*/ 49784 h 4776119"/>
              <a:gd name="connsiteX2" fmla="*/ 4812030 w 8082463"/>
              <a:gd name="connsiteY2" fmla="*/ 52976 h 4776119"/>
              <a:gd name="connsiteX3" fmla="*/ 4864734 w 8082463"/>
              <a:gd name="connsiteY3" fmla="*/ 100845 h 4776119"/>
              <a:gd name="connsiteX4" fmla="*/ 4872990 w 8082463"/>
              <a:gd name="connsiteY4" fmla="*/ 108505 h 4776119"/>
              <a:gd name="connsiteX5" fmla="*/ 4922520 w 8082463"/>
              <a:gd name="connsiteY5" fmla="*/ 153821 h 4776119"/>
              <a:gd name="connsiteX6" fmla="*/ 4935855 w 8082463"/>
              <a:gd name="connsiteY6" fmla="*/ 165948 h 4776119"/>
              <a:gd name="connsiteX7" fmla="*/ 4980940 w 8082463"/>
              <a:gd name="connsiteY7" fmla="*/ 208712 h 4776119"/>
              <a:gd name="connsiteX8" fmla="*/ 4999356 w 8082463"/>
              <a:gd name="connsiteY8" fmla="*/ 225945 h 4776119"/>
              <a:gd name="connsiteX9" fmla="*/ 5039995 w 8082463"/>
              <a:gd name="connsiteY9" fmla="*/ 264879 h 4776119"/>
              <a:gd name="connsiteX10" fmla="*/ 5065395 w 8082463"/>
              <a:gd name="connsiteY10" fmla="*/ 289134 h 4776119"/>
              <a:gd name="connsiteX11" fmla="*/ 5100956 w 8082463"/>
              <a:gd name="connsiteY11" fmla="*/ 322960 h 4776119"/>
              <a:gd name="connsiteX12" fmla="*/ 5135880 w 8082463"/>
              <a:gd name="connsiteY12" fmla="*/ 356789 h 4776119"/>
              <a:gd name="connsiteX13" fmla="*/ 5162550 w 8082463"/>
              <a:gd name="connsiteY13" fmla="*/ 382958 h 4776119"/>
              <a:gd name="connsiteX14" fmla="*/ 5224780 w 8082463"/>
              <a:gd name="connsiteY14" fmla="*/ 444869 h 4776119"/>
              <a:gd name="connsiteX15" fmla="*/ 8082463 w 8082463"/>
              <a:gd name="connsiteY15" fmla="*/ 3317235 h 4776119"/>
              <a:gd name="connsiteX16" fmla="*/ 8082463 w 8082463"/>
              <a:gd name="connsiteY16" fmla="*/ 4776119 h 4776119"/>
              <a:gd name="connsiteX17" fmla="*/ 0 w 8082463"/>
              <a:gd name="connsiteY17" fmla="*/ 4776119 h 477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82463" h="4776119">
                <a:moveTo>
                  <a:pt x="4752340" y="0"/>
                </a:moveTo>
                <a:cubicBezTo>
                  <a:pt x="4770756" y="16595"/>
                  <a:pt x="4789805" y="33190"/>
                  <a:pt x="4808220" y="49784"/>
                </a:cubicBezTo>
                <a:cubicBezTo>
                  <a:pt x="4809490" y="51061"/>
                  <a:pt x="4810760" y="51700"/>
                  <a:pt x="4812030" y="52976"/>
                </a:cubicBezTo>
                <a:cubicBezTo>
                  <a:pt x="4829175" y="68933"/>
                  <a:pt x="4846956" y="84889"/>
                  <a:pt x="4864734" y="100845"/>
                </a:cubicBezTo>
                <a:cubicBezTo>
                  <a:pt x="4867910" y="103398"/>
                  <a:pt x="4870450" y="105951"/>
                  <a:pt x="4872990" y="108505"/>
                </a:cubicBezTo>
                <a:cubicBezTo>
                  <a:pt x="4889500" y="123185"/>
                  <a:pt x="4906010" y="138503"/>
                  <a:pt x="4922520" y="153821"/>
                </a:cubicBezTo>
                <a:cubicBezTo>
                  <a:pt x="4926965" y="157651"/>
                  <a:pt x="4931410" y="162119"/>
                  <a:pt x="4935855" y="165948"/>
                </a:cubicBezTo>
                <a:cubicBezTo>
                  <a:pt x="4950460" y="179990"/>
                  <a:pt x="4965700" y="194670"/>
                  <a:pt x="4980940" y="208712"/>
                </a:cubicBezTo>
                <a:cubicBezTo>
                  <a:pt x="4987290" y="214457"/>
                  <a:pt x="4993006" y="220201"/>
                  <a:pt x="4999356" y="225945"/>
                </a:cubicBezTo>
                <a:cubicBezTo>
                  <a:pt x="5012690" y="238710"/>
                  <a:pt x="5026025" y="251476"/>
                  <a:pt x="5039995" y="264879"/>
                </a:cubicBezTo>
                <a:cubicBezTo>
                  <a:pt x="5048886" y="273176"/>
                  <a:pt x="5057140" y="280836"/>
                  <a:pt x="5065395" y="289134"/>
                </a:cubicBezTo>
                <a:cubicBezTo>
                  <a:pt x="5077460" y="299984"/>
                  <a:pt x="5088890" y="311473"/>
                  <a:pt x="5100956" y="322960"/>
                </a:cubicBezTo>
                <a:cubicBezTo>
                  <a:pt x="5113020" y="333812"/>
                  <a:pt x="5124450" y="345301"/>
                  <a:pt x="5135880" y="356789"/>
                </a:cubicBezTo>
                <a:cubicBezTo>
                  <a:pt x="5144770" y="365724"/>
                  <a:pt x="5153660" y="374022"/>
                  <a:pt x="5162550" y="382958"/>
                </a:cubicBezTo>
                <a:cubicBezTo>
                  <a:pt x="5182871" y="403382"/>
                  <a:pt x="5203826" y="423807"/>
                  <a:pt x="5224780" y="444869"/>
                </a:cubicBezTo>
                <a:lnTo>
                  <a:pt x="8082463" y="3317235"/>
                </a:lnTo>
                <a:lnTo>
                  <a:pt x="8082463" y="4776119"/>
                </a:lnTo>
                <a:lnTo>
                  <a:pt x="0" y="4776119"/>
                </a:lnTo>
                <a:close/>
              </a:path>
            </a:pathLst>
          </a:custGeom>
          <a:solidFill>
            <a:schemeClr val="accent1"/>
          </a:solidFill>
          <a:ln w="12700" cap="flat">
            <a:solidFill>
              <a:schemeClr val="accent1"/>
            </a:solidFill>
            <a:prstDash val="solid"/>
            <a:miter/>
          </a:ln>
        </p:spPr>
        <p:txBody>
          <a:bodyPr wrap="square" rtlCol="0" anchor="ctr">
            <a:noAutofit/>
          </a:bodyPr>
          <a:lstStyle/>
          <a:p>
            <a:endParaRPr lang="en-GB"/>
          </a:p>
        </p:txBody>
      </p:sp>
      <p:grpSp>
        <p:nvGrpSpPr>
          <p:cNvPr id="27" name="Groep 26">
            <a:extLst>
              <a:ext uri="{FF2B5EF4-FFF2-40B4-BE49-F238E27FC236}">
                <a16:creationId xmlns:a16="http://schemas.microsoft.com/office/drawing/2014/main" id="{A5D310E0-FDC3-9548-2E3D-5E587C271ABB}"/>
              </a:ext>
            </a:extLst>
          </p:cNvPr>
          <p:cNvGrpSpPr/>
          <p:nvPr userDrawn="1"/>
        </p:nvGrpSpPr>
        <p:grpSpPr>
          <a:xfrm>
            <a:off x="10014482" y="5839298"/>
            <a:ext cx="1599388" cy="433809"/>
            <a:chOff x="3101010" y="1249096"/>
            <a:chExt cx="3978412" cy="1079079"/>
          </a:xfrm>
          <a:solidFill>
            <a:schemeClr val="bg1"/>
          </a:solidFill>
        </p:grpSpPr>
        <p:sp>
          <p:nvSpPr>
            <p:cNvPr id="28" name="Vrije vorm 27">
              <a:extLst>
                <a:ext uri="{FF2B5EF4-FFF2-40B4-BE49-F238E27FC236}">
                  <a16:creationId xmlns:a16="http://schemas.microsoft.com/office/drawing/2014/main" id="{ECA752FF-2F37-957B-A5EC-C7B6C668F413}"/>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29" name="Vrije vorm 28">
              <a:extLst>
                <a:ext uri="{FF2B5EF4-FFF2-40B4-BE49-F238E27FC236}">
                  <a16:creationId xmlns:a16="http://schemas.microsoft.com/office/drawing/2014/main" id="{6983560B-DC97-0E4B-2625-B2F1FAF8C285}"/>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30" name="Vrije vorm 29">
              <a:extLst>
                <a:ext uri="{FF2B5EF4-FFF2-40B4-BE49-F238E27FC236}">
                  <a16:creationId xmlns:a16="http://schemas.microsoft.com/office/drawing/2014/main" id="{47E7E634-8DFD-5FED-B8AF-452C10C7E741}"/>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31" name="Vrije vorm 30">
              <a:extLst>
                <a:ext uri="{FF2B5EF4-FFF2-40B4-BE49-F238E27FC236}">
                  <a16:creationId xmlns:a16="http://schemas.microsoft.com/office/drawing/2014/main" id="{B243CB65-D677-46F8-7A25-469316C9B134}"/>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32" name="Vrije vorm 31">
              <a:extLst>
                <a:ext uri="{FF2B5EF4-FFF2-40B4-BE49-F238E27FC236}">
                  <a16:creationId xmlns:a16="http://schemas.microsoft.com/office/drawing/2014/main" id="{78C02F80-EBFC-6967-28B4-864F64999624}"/>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33" name="Vrije vorm 32">
              <a:extLst>
                <a:ext uri="{FF2B5EF4-FFF2-40B4-BE49-F238E27FC236}">
                  <a16:creationId xmlns:a16="http://schemas.microsoft.com/office/drawing/2014/main" id="{13246393-CFD1-1BC8-C9CA-FFB1685A3784}"/>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34" name="Vrije vorm 33">
              <a:extLst>
                <a:ext uri="{FF2B5EF4-FFF2-40B4-BE49-F238E27FC236}">
                  <a16:creationId xmlns:a16="http://schemas.microsoft.com/office/drawing/2014/main" id="{C8530A73-BEBE-6C42-918D-42A60E3ACCD6}"/>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35" name="Vrije vorm 34">
              <a:extLst>
                <a:ext uri="{FF2B5EF4-FFF2-40B4-BE49-F238E27FC236}">
                  <a16:creationId xmlns:a16="http://schemas.microsoft.com/office/drawing/2014/main" id="{45D0E928-851B-13D4-6C3F-72F1A4B0BEA6}"/>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1395653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eeld II">
    <p:bg>
      <p:bgPr>
        <a:solidFill>
          <a:schemeClr val="bg1"/>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64E804F-F299-2C6E-D49F-7B6D7652A1FC}"/>
              </a:ext>
            </a:extLst>
          </p:cNvPr>
          <p:cNvSpPr>
            <a:spLocks noGrp="1"/>
          </p:cNvSpPr>
          <p:nvPr>
            <p:ph type="pic" sz="quarter" idx="10"/>
          </p:nvPr>
        </p:nvSpPr>
        <p:spPr>
          <a:xfrm>
            <a:off x="0" y="585773"/>
            <a:ext cx="6096000" cy="6272226"/>
          </a:xfrm>
          <a:custGeom>
            <a:avLst/>
            <a:gdLst>
              <a:gd name="connsiteX0" fmla="*/ 5205643 w 6096000"/>
              <a:gd name="connsiteY0" fmla="*/ 1043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 name="connsiteX10" fmla="*/ 5205643 w 6096000"/>
              <a:gd name="connsiteY10" fmla="*/ 1043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272226">
                <a:moveTo>
                  <a:pt x="5205643" y="1043"/>
                </a:moveTo>
                <a:cubicBezTo>
                  <a:pt x="5410229" y="5180"/>
                  <a:pt x="5605325" y="21537"/>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ubicBezTo>
                  <a:pt x="5068197" y="-358"/>
                  <a:pt x="5137447" y="-336"/>
                  <a:pt x="5205643" y="1043"/>
                </a:cubicBezTo>
                <a:close/>
              </a:path>
            </a:pathLst>
          </a:custGeom>
          <a:solidFill>
            <a:schemeClr val="bg1">
              <a:lumMod val="95000"/>
            </a:schemeClr>
          </a:solidFill>
        </p:spPr>
        <p:txBody>
          <a:bodyPr wrap="square" tIns="109728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0" name="TextBox 19">
            <a:extLst>
              <a:ext uri="{FF2B5EF4-FFF2-40B4-BE49-F238E27FC236}">
                <a16:creationId xmlns:a16="http://schemas.microsoft.com/office/drawing/2014/main" id="{878DA228-6208-315D-1130-7602FC0E826E}"/>
              </a:ext>
            </a:extLst>
          </p:cNvPr>
          <p:cNvSpPr txBox="1"/>
          <p:nvPr/>
        </p:nvSpPr>
        <p:spPr>
          <a:xfrm>
            <a:off x="8443721" y="2865654"/>
            <a:ext cx="436880" cy="1185771"/>
          </a:xfrm>
          <a:prstGeom prst="rect">
            <a:avLst/>
          </a:prstGeom>
          <a:noFill/>
        </p:spPr>
        <p:txBody>
          <a:bodyPr wrap="none" lIns="0" tIns="0" rIns="0" bIns="0" rtlCol="0">
            <a:spAutoFit/>
          </a:bodyPr>
          <a:lstStyle/>
          <a:p>
            <a:pPr algn="l"/>
            <a:r>
              <a:rPr lang="en-GB" sz="14500" spc="0" baseline="0" dirty="0" err="1">
                <a:ln/>
                <a:solidFill>
                  <a:srgbClr val="6DBE45"/>
                </a:solidFill>
                <a:latin typeface="Arial"/>
                <a:cs typeface="Arial"/>
                <a:sym typeface="Arial"/>
                <a:rtl val="0"/>
              </a:rPr>
              <a:t> </a:t>
            </a:r>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2" name="Freeform: Shape 1">
            <a:extLst>
              <a:ext uri="{FF2B5EF4-FFF2-40B4-BE49-F238E27FC236}">
                <a16:creationId xmlns:a16="http://schemas.microsoft.com/office/drawing/2014/main" id="{0204D886-3C1B-0CFB-5BF5-8FD5A693CA66}"/>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4" name="Freeform: Shape 3">
            <a:extLst>
              <a:ext uri="{FF2B5EF4-FFF2-40B4-BE49-F238E27FC236}">
                <a16:creationId xmlns:a16="http://schemas.microsoft.com/office/drawing/2014/main" id="{1A61D792-787B-D39F-D40C-0993227C0AC4}"/>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E9B56463-5CBA-8882-D94C-A0E589B4FDD0}"/>
              </a:ext>
            </a:extLst>
          </p:cNvPr>
          <p:cNvSpPr/>
          <p:nvPr userDrawn="1"/>
        </p:nvSpPr>
        <p:spPr>
          <a:xfrm>
            <a:off x="6096000"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rgbClr val="7A3500"/>
          </a:solidFill>
          <a:ln w="12700" cap="flat">
            <a:solidFill>
              <a:srgbClr val="7A3500"/>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6" name="Freeform: Shape 5">
            <a:extLst>
              <a:ext uri="{FF2B5EF4-FFF2-40B4-BE49-F238E27FC236}">
                <a16:creationId xmlns:a16="http://schemas.microsoft.com/office/drawing/2014/main" id="{FC3DE5BA-3BBB-C4B7-C82E-75A6683C53B4}"/>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chemeClr val="accent1"/>
          </a:solidFill>
          <a:ln w="12700"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7" name="Freeform: Shape 6">
            <a:extLst>
              <a:ext uri="{FF2B5EF4-FFF2-40B4-BE49-F238E27FC236}">
                <a16:creationId xmlns:a16="http://schemas.microsoft.com/office/drawing/2014/main" id="{025A4B65-8C45-1916-049E-F2A0BE3C6D9C}"/>
              </a:ext>
            </a:extLst>
          </p:cNvPr>
          <p:cNvSpPr/>
          <p:nvPr userDrawn="1"/>
        </p:nvSpPr>
        <p:spPr>
          <a:xfrm>
            <a:off x="6096000" y="-1"/>
            <a:ext cx="6096000" cy="5705659"/>
          </a:xfrm>
          <a:custGeom>
            <a:avLst/>
            <a:gdLst>
              <a:gd name="connsiteX0" fmla="*/ 0 w 6096000"/>
              <a:gd name="connsiteY0" fmla="*/ 0 h 5705659"/>
              <a:gd name="connsiteX1" fmla="*/ 6096000 w 6096000"/>
              <a:gd name="connsiteY1" fmla="*/ 0 h 5705659"/>
              <a:gd name="connsiteX2" fmla="*/ 6096000 w 6096000"/>
              <a:gd name="connsiteY2" fmla="*/ 5705659 h 5705659"/>
              <a:gd name="connsiteX3" fmla="*/ 2934617 w 6096000"/>
              <a:gd name="connsiteY3" fmla="*/ 2549416 h 5705659"/>
              <a:gd name="connsiteX4" fmla="*/ 119700 w 6096000"/>
              <a:gd name="connsiteY4" fmla="*/ 724468 h 5705659"/>
              <a:gd name="connsiteX5" fmla="*/ 0 w 6096000"/>
              <a:gd name="connsiteY5" fmla="*/ 693739 h 5705659"/>
              <a:gd name="connsiteX6" fmla="*/ 0 w 6096000"/>
              <a:gd name="connsiteY6" fmla="*/ 0 h 570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05659">
                <a:moveTo>
                  <a:pt x="0" y="0"/>
                </a:moveTo>
                <a:lnTo>
                  <a:pt x="6096000" y="0"/>
                </a:lnTo>
                <a:lnTo>
                  <a:pt x="6096000" y="5705659"/>
                </a:lnTo>
                <a:lnTo>
                  <a:pt x="2934617" y="2549416"/>
                </a:lnTo>
                <a:cubicBezTo>
                  <a:pt x="1797550" y="1414196"/>
                  <a:pt x="828266" y="922995"/>
                  <a:pt x="119700" y="724468"/>
                </a:cubicBezTo>
                <a:lnTo>
                  <a:pt x="0" y="693739"/>
                </a:lnTo>
                <a:lnTo>
                  <a:pt x="0" y="0"/>
                </a:lnTo>
                <a:close/>
              </a:path>
            </a:pathLst>
          </a:custGeom>
          <a:solidFill>
            <a:schemeClr val="accent6"/>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grpSp>
        <p:nvGrpSpPr>
          <p:cNvPr id="3" name="Groep 2">
            <a:extLst>
              <a:ext uri="{FF2B5EF4-FFF2-40B4-BE49-F238E27FC236}">
                <a16:creationId xmlns:a16="http://schemas.microsoft.com/office/drawing/2014/main" id="{16486BDC-77AB-08B0-6BE1-65BC24F37F0F}"/>
              </a:ext>
            </a:extLst>
          </p:cNvPr>
          <p:cNvGrpSpPr/>
          <p:nvPr userDrawn="1"/>
        </p:nvGrpSpPr>
        <p:grpSpPr>
          <a:xfrm>
            <a:off x="10014482" y="5839298"/>
            <a:ext cx="1599388" cy="433809"/>
            <a:chOff x="3101010" y="1249096"/>
            <a:chExt cx="3978412" cy="1079079"/>
          </a:xfrm>
          <a:solidFill>
            <a:schemeClr val="bg1"/>
          </a:solidFill>
        </p:grpSpPr>
        <p:sp>
          <p:nvSpPr>
            <p:cNvPr id="9" name="Vrije vorm 8">
              <a:extLst>
                <a:ext uri="{FF2B5EF4-FFF2-40B4-BE49-F238E27FC236}">
                  <a16:creationId xmlns:a16="http://schemas.microsoft.com/office/drawing/2014/main" id="{7E9F3609-37EB-8D25-9952-C44C1DB7C20C}"/>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8CEE31DC-3048-7D89-712C-A3445E489079}"/>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247386CB-2A13-C18C-F4B2-BD792DA88050}"/>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7ED4C3E5-49CD-9903-13F3-9436F93B7D0E}"/>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ECCA4AFE-078A-2952-1EA0-0D718A041096}"/>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72187928-6637-915E-ED52-303E37DC6202}"/>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DAA7B5B7-C85D-8BD7-7329-51DEE103FD2F}"/>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91E3B4C9-F3CE-91DD-1288-CA7EAB5EBD7F}"/>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7" name="Titel 1">
            <a:extLst>
              <a:ext uri="{FF2B5EF4-FFF2-40B4-BE49-F238E27FC236}">
                <a16:creationId xmlns:a16="http://schemas.microsoft.com/office/drawing/2014/main" id="{92241EE5-BC56-666D-1D48-9CBE3CB2AD4D}"/>
              </a:ext>
            </a:extLst>
          </p:cNvPr>
          <p:cNvSpPr>
            <a:spLocks noGrp="1"/>
          </p:cNvSpPr>
          <p:nvPr>
            <p:ph type="title" hasCustomPrompt="1"/>
          </p:nvPr>
        </p:nvSpPr>
        <p:spPr>
          <a:xfrm>
            <a:off x="6588049" y="4936253"/>
            <a:ext cx="5016576" cy="692497"/>
          </a:xfrm>
        </p:spPr>
        <p:txBody>
          <a:bodyPr wrap="square" anchor="b" anchorCtr="0">
            <a:spAutoFit/>
          </a:bodyPr>
          <a:lstStyle>
            <a:lvl1pPr>
              <a:defRPr sz="5000">
                <a:solidFill>
                  <a:schemeClr val="bg1"/>
                </a:solidFill>
              </a:defRPr>
            </a:lvl1pPr>
          </a:lstStyle>
          <a:p>
            <a:r>
              <a:rPr lang="nl-NL" dirty="0"/>
              <a:t>Titel</a:t>
            </a:r>
          </a:p>
        </p:txBody>
      </p:sp>
    </p:spTree>
    <p:extLst>
      <p:ext uri="{BB962C8B-B14F-4D97-AF65-F5344CB8AC3E}">
        <p14:creationId xmlns:p14="http://schemas.microsoft.com/office/powerpoint/2010/main" val="23398559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eeld III">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F998225F-A5AB-2A6A-511D-E2D2D9A8D2F2}"/>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1A0AF000-DE16-ECB9-4A9C-FD8EE37EE1A4}"/>
              </a:ext>
            </a:extLst>
          </p:cNvPr>
          <p:cNvSpPr/>
          <p:nvPr userDrawn="1"/>
        </p:nvSpPr>
        <p:spPr>
          <a:xfrm>
            <a:off x="-5081"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chemeClr val="accent1"/>
          </a:solidFill>
          <a:ln w="6208" cap="flat">
            <a:solidFill>
              <a:schemeClr val="accent1"/>
            </a:solidFill>
            <a:prstDash val="solid"/>
            <a:miter/>
          </a:ln>
        </p:spPr>
        <p:txBody>
          <a:bodyPr rtlCol="0" anchor="ctr"/>
          <a:lstStyle/>
          <a:p>
            <a:pPr lvl="0"/>
            <a:endParaRPr lang="en-GB"/>
          </a:p>
        </p:txBody>
      </p:sp>
      <p:sp>
        <p:nvSpPr>
          <p:cNvPr id="8" name="Freeform: Shape 7">
            <a:extLst>
              <a:ext uri="{FF2B5EF4-FFF2-40B4-BE49-F238E27FC236}">
                <a16:creationId xmlns:a16="http://schemas.microsoft.com/office/drawing/2014/main" id="{74988A13-D08F-7F93-BCC7-ECFA6EAF797C}"/>
              </a:ext>
            </a:extLst>
          </p:cNvPr>
          <p:cNvSpPr/>
          <p:nvPr userDrawn="1"/>
        </p:nvSpPr>
        <p:spPr>
          <a:xfrm>
            <a:off x="7451086"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chemeClr val="accent1"/>
          </a:solidFill>
          <a:ln w="12700" cap="flat">
            <a:solidFill>
              <a:schemeClr val="accent1"/>
            </a:solidFill>
            <a:prstDash val="solid"/>
            <a:miter/>
          </a:ln>
        </p:spPr>
        <p:txBody>
          <a:bodyPr rtlCol="0" anchor="ctr"/>
          <a:lstStyle/>
          <a:p>
            <a:pPr lvl="0"/>
            <a:endParaRPr lang="en-GB"/>
          </a:p>
        </p:txBody>
      </p:sp>
      <p:sp>
        <p:nvSpPr>
          <p:cNvPr id="9" name="Picture Placeholder 14">
            <a:extLst>
              <a:ext uri="{FF2B5EF4-FFF2-40B4-BE49-F238E27FC236}">
                <a16:creationId xmlns:a16="http://schemas.microsoft.com/office/drawing/2014/main" id="{B263C58A-9DDB-29B2-3750-336B24D19EB9}"/>
              </a:ext>
            </a:extLst>
          </p:cNvPr>
          <p:cNvSpPr>
            <a:spLocks noGrp="1"/>
          </p:cNvSpPr>
          <p:nvPr>
            <p:ph type="pic" sz="quarter" idx="10" hasCustomPrompt="1"/>
          </p:nvPr>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4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4"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bg1">
              <a:lumMod val="95000"/>
            </a:schemeClr>
          </a:solidFill>
        </p:spPr>
        <p:txBody>
          <a:bodyPr wrap="square" tIns="1097280" anchor="t" anchorCtr="0">
            <a:noAutofit/>
          </a:bodyPr>
          <a:lstStyle>
            <a:lvl1pPr algn="ctr">
              <a:defRPr sz="1800"/>
            </a:lvl1pPr>
          </a:lstStyle>
          <a:p>
            <a:r>
              <a:rPr lang="en-GB" dirty="0" err="1"/>
              <a:t>Beeld</a:t>
            </a:r>
            <a:endParaRPr lang="en-GB" dirty="0"/>
          </a:p>
        </p:txBody>
      </p:sp>
      <p:sp>
        <p:nvSpPr>
          <p:cNvPr id="11" name="Freeform: Shape 10">
            <a:extLst>
              <a:ext uri="{FF2B5EF4-FFF2-40B4-BE49-F238E27FC236}">
                <a16:creationId xmlns:a16="http://schemas.microsoft.com/office/drawing/2014/main" id="{C35B9E8A-793E-941E-3850-0E98C99A1E9D}"/>
              </a:ext>
            </a:extLst>
          </p:cNvPr>
          <p:cNvSpPr/>
          <p:nvPr userDrawn="1"/>
        </p:nvSpPr>
        <p:spPr>
          <a:xfrm>
            <a:off x="7451086" y="-1270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0 w 4740914"/>
              <a:gd name="connsiteY0" fmla="*/ 685800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589444 w 5330358"/>
              <a:gd name="connsiteY0" fmla="*/ 6858000 h 6858000"/>
              <a:gd name="connsiteX1" fmla="*/ 594525 w 5330358"/>
              <a:gd name="connsiteY1" fmla="*/ 4813300 h 6858000"/>
              <a:gd name="connsiteX2" fmla="*/ 5325277 w 5330358"/>
              <a:gd name="connsiteY2" fmla="*/ 5190 h 6858000"/>
              <a:gd name="connsiteX3" fmla="*/ 5325277 w 5330358"/>
              <a:gd name="connsiteY3" fmla="*/ 0 h 6858000"/>
              <a:gd name="connsiteX4" fmla="*/ 5330358 w 5330358"/>
              <a:gd name="connsiteY4" fmla="*/ 0 h 6858000"/>
              <a:gd name="connsiteX5" fmla="*/ 5330358 w 5330358"/>
              <a:gd name="connsiteY5" fmla="*/ 6858000 h 6858000"/>
              <a:gd name="connsiteX6" fmla="*/ 589444 w 5330358"/>
              <a:gd name="connsiteY6" fmla="*/ 6858000 h 6858000"/>
              <a:gd name="connsiteX0" fmla="*/ 0 w 4740914"/>
              <a:gd name="connsiteY0" fmla="*/ 6858000 h 6858000"/>
              <a:gd name="connsiteX1" fmla="*/ 5081 w 4740914"/>
              <a:gd name="connsiteY1" fmla="*/ 4813300 h 6858000"/>
              <a:gd name="connsiteX2" fmla="*/ 4735833 w 4740914"/>
              <a:gd name="connsiteY2" fmla="*/ 5190 h 6858000"/>
              <a:gd name="connsiteX3" fmla="*/ 4735833 w 4740914"/>
              <a:gd name="connsiteY3" fmla="*/ 0 h 6858000"/>
              <a:gd name="connsiteX4" fmla="*/ 4740914 w 4740914"/>
              <a:gd name="connsiteY4" fmla="*/ 0 h 6858000"/>
              <a:gd name="connsiteX5" fmla="*/ 4740914 w 4740914"/>
              <a:gd name="connsiteY5" fmla="*/ 6858000 h 6858000"/>
              <a:gd name="connsiteX6" fmla="*/ 0 w 474091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0914" h="6858000">
                <a:moveTo>
                  <a:pt x="0" y="6858000"/>
                </a:moveTo>
                <a:cubicBezTo>
                  <a:pt x="1694" y="6176433"/>
                  <a:pt x="3387" y="5494867"/>
                  <a:pt x="5081" y="4813300"/>
                </a:cubicBezTo>
                <a:lnTo>
                  <a:pt x="4735833" y="5190"/>
                </a:lnTo>
                <a:lnTo>
                  <a:pt x="4735833" y="0"/>
                </a:lnTo>
                <a:lnTo>
                  <a:pt x="4740914" y="0"/>
                </a:lnTo>
                <a:lnTo>
                  <a:pt x="4740914" y="6858000"/>
                </a:lnTo>
                <a:lnTo>
                  <a:pt x="0" y="6858000"/>
                </a:lnTo>
                <a:close/>
              </a:path>
            </a:pathLst>
          </a:custGeom>
          <a:solidFill>
            <a:srgbClr val="7A3500"/>
          </a:solidFill>
          <a:ln>
            <a:solidFill>
              <a:srgbClr val="7A35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2" name="Freeform: Shape 11">
            <a:extLst>
              <a:ext uri="{FF2B5EF4-FFF2-40B4-BE49-F238E27FC236}">
                <a16:creationId xmlns:a16="http://schemas.microsoft.com/office/drawing/2014/main" id="{961D8077-1716-C136-BBD0-25609C563BE5}"/>
              </a:ext>
            </a:extLst>
          </p:cNvPr>
          <p:cNvSpPr/>
          <p:nvPr userDrawn="1"/>
        </p:nvSpPr>
        <p:spPr>
          <a:xfrm>
            <a:off x="5414619"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6"/>
          </a:solidFill>
          <a:ln w="12700" cap="flat">
            <a:solidFill>
              <a:schemeClr val="accent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grpSp>
        <p:nvGrpSpPr>
          <p:cNvPr id="2" name="Groep 1">
            <a:extLst>
              <a:ext uri="{FF2B5EF4-FFF2-40B4-BE49-F238E27FC236}">
                <a16:creationId xmlns:a16="http://schemas.microsoft.com/office/drawing/2014/main" id="{3BFBF323-91AE-CECC-17E1-1A39D80DCD8D}"/>
              </a:ext>
            </a:extLst>
          </p:cNvPr>
          <p:cNvGrpSpPr/>
          <p:nvPr userDrawn="1"/>
        </p:nvGrpSpPr>
        <p:grpSpPr>
          <a:xfrm>
            <a:off x="10015200" y="5839200"/>
            <a:ext cx="1599388" cy="433809"/>
            <a:chOff x="3101010" y="1249096"/>
            <a:chExt cx="3978412" cy="1079079"/>
          </a:xfrm>
          <a:solidFill>
            <a:schemeClr val="bg1"/>
          </a:solidFill>
        </p:grpSpPr>
        <p:sp>
          <p:nvSpPr>
            <p:cNvPr id="3" name="Vrije vorm 2">
              <a:extLst>
                <a:ext uri="{FF2B5EF4-FFF2-40B4-BE49-F238E27FC236}">
                  <a16:creationId xmlns:a16="http://schemas.microsoft.com/office/drawing/2014/main" id="{29B4274A-D87E-5A85-02E3-59EBD14273B2}"/>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F62778FC-B537-EEA1-0A80-D839FFFCC44C}"/>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E20441AA-2BE3-8D57-1B65-DD8DE4512983}"/>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A8C61947-2900-F52E-BE9C-64699478050E}"/>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17F28F76-88C3-D414-C2A8-B5FB82F04A6D}"/>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6A242C60-A4F9-EC5B-A67E-1F6F41A2C644}"/>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FC326888-3EB9-0265-134B-0289C29F1603}"/>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2DD275EB-B516-2682-53A8-0A944A115811}"/>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9350876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ou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F074158-219E-B689-9936-B3A15631E122}"/>
              </a:ext>
            </a:extLst>
          </p:cNvPr>
          <p:cNvSpPr/>
          <p:nvPr userDrawn="1"/>
        </p:nvSpPr>
        <p:spPr>
          <a:xfrm>
            <a:off x="0" y="0"/>
            <a:ext cx="624455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p>
        </p:txBody>
      </p:sp>
      <p:sp>
        <p:nvSpPr>
          <p:cNvPr id="3" name="Title 2">
            <a:extLst>
              <a:ext uri="{FF2B5EF4-FFF2-40B4-BE49-F238E27FC236}">
                <a16:creationId xmlns:a16="http://schemas.microsoft.com/office/drawing/2014/main" id="{18FB2C3B-2209-70F3-09D5-52F99CBE3D5C}"/>
              </a:ext>
            </a:extLst>
          </p:cNvPr>
          <p:cNvSpPr>
            <a:spLocks noGrp="1"/>
          </p:cNvSpPr>
          <p:nvPr>
            <p:ph type="title"/>
          </p:nvPr>
        </p:nvSpPr>
        <p:spPr>
          <a:xfrm>
            <a:off x="1139124" y="595590"/>
            <a:ext cx="4550476" cy="1000736"/>
          </a:xfrm>
        </p:spPr>
        <p:txBody>
          <a:bodyPr/>
          <a:lstStyle>
            <a:lvl1pPr>
              <a:defRPr>
                <a:solidFill>
                  <a:schemeClr val="bg1"/>
                </a:solidFill>
              </a:defRPr>
            </a:lvl1pPr>
          </a:lstStyle>
          <a:p>
            <a:r>
              <a:rPr lang="nl-NL"/>
              <a:t>Klik om stijl te bewerken</a:t>
            </a:r>
            <a:endParaRPr lang="en-US" dirty="0"/>
          </a:p>
        </p:txBody>
      </p:sp>
      <p:sp>
        <p:nvSpPr>
          <p:cNvPr id="15" name="Tijdelijke aanduiding voor afbeelding 14">
            <a:extLst>
              <a:ext uri="{FF2B5EF4-FFF2-40B4-BE49-F238E27FC236}">
                <a16:creationId xmlns:a16="http://schemas.microsoft.com/office/drawing/2014/main" id="{C15A5C28-50F1-62AA-8A14-8AE7DA608F41}"/>
              </a:ext>
            </a:extLst>
          </p:cNvPr>
          <p:cNvSpPr>
            <a:spLocks noGrp="1"/>
          </p:cNvSpPr>
          <p:nvPr>
            <p:ph type="pic" sz="quarter" idx="19"/>
          </p:nvPr>
        </p:nvSpPr>
        <p:spPr>
          <a:xfrm>
            <a:off x="6244558" y="3"/>
            <a:ext cx="5947441" cy="6857998"/>
          </a:xfrm>
          <a:custGeom>
            <a:avLst/>
            <a:gdLst>
              <a:gd name="connsiteX0" fmla="*/ 4676089 w 5947441"/>
              <a:gd name="connsiteY0" fmla="*/ 6207232 h 6857998"/>
              <a:gd name="connsiteX1" fmla="*/ 4695295 w 5947441"/>
              <a:gd name="connsiteY1" fmla="*/ 6227979 h 6857998"/>
              <a:gd name="connsiteX2" fmla="*/ 4676089 w 5947441"/>
              <a:gd name="connsiteY2" fmla="*/ 6248726 h 6857998"/>
              <a:gd name="connsiteX3" fmla="*/ 4656884 w 5947441"/>
              <a:gd name="connsiteY3" fmla="*/ 6227979 h 6857998"/>
              <a:gd name="connsiteX4" fmla="*/ 4676089 w 5947441"/>
              <a:gd name="connsiteY4" fmla="*/ 6207232 h 6857998"/>
              <a:gd name="connsiteX5" fmla="*/ 5109116 w 5947441"/>
              <a:gd name="connsiteY5" fmla="*/ 6206540 h 6857998"/>
              <a:gd name="connsiteX6" fmla="*/ 5128838 w 5947441"/>
              <a:gd name="connsiteY6" fmla="*/ 6227979 h 6857998"/>
              <a:gd name="connsiteX7" fmla="*/ 5109116 w 5947441"/>
              <a:gd name="connsiteY7" fmla="*/ 6249419 h 6857998"/>
              <a:gd name="connsiteX8" fmla="*/ 5089392 w 5947441"/>
              <a:gd name="connsiteY8" fmla="*/ 6227979 h 6857998"/>
              <a:gd name="connsiteX9" fmla="*/ 5109116 w 5947441"/>
              <a:gd name="connsiteY9" fmla="*/ 6206540 h 6857998"/>
              <a:gd name="connsiteX10" fmla="*/ 4405345 w 5947441"/>
              <a:gd name="connsiteY10" fmla="*/ 6206540 h 6857998"/>
              <a:gd name="connsiteX11" fmla="*/ 4425068 w 5947441"/>
              <a:gd name="connsiteY11" fmla="*/ 6227979 h 6857998"/>
              <a:gd name="connsiteX12" fmla="*/ 4405345 w 5947441"/>
              <a:gd name="connsiteY12" fmla="*/ 6249419 h 6857998"/>
              <a:gd name="connsiteX13" fmla="*/ 4385621 w 5947441"/>
              <a:gd name="connsiteY13" fmla="*/ 6227979 h 6857998"/>
              <a:gd name="connsiteX14" fmla="*/ 4405345 w 5947441"/>
              <a:gd name="connsiteY14" fmla="*/ 6206540 h 6857998"/>
              <a:gd name="connsiteX15" fmla="*/ 5008256 w 5947441"/>
              <a:gd name="connsiteY15" fmla="*/ 6204119 h 6857998"/>
              <a:gd name="connsiteX16" fmla="*/ 5026076 w 5947441"/>
              <a:gd name="connsiteY16" fmla="*/ 6217087 h 6857998"/>
              <a:gd name="connsiteX17" fmla="*/ 4989397 w 5947441"/>
              <a:gd name="connsiteY17" fmla="*/ 6217087 h 6857998"/>
              <a:gd name="connsiteX18" fmla="*/ 5008256 w 5947441"/>
              <a:gd name="connsiteY18" fmla="*/ 6204119 h 6857998"/>
              <a:gd name="connsiteX19" fmla="*/ 4304485 w 5947441"/>
              <a:gd name="connsiteY19" fmla="*/ 6204119 h 6857998"/>
              <a:gd name="connsiteX20" fmla="*/ 4322305 w 5947441"/>
              <a:gd name="connsiteY20" fmla="*/ 6217087 h 6857998"/>
              <a:gd name="connsiteX21" fmla="*/ 4285626 w 5947441"/>
              <a:gd name="connsiteY21" fmla="*/ 6217087 h 6857998"/>
              <a:gd name="connsiteX22" fmla="*/ 4304485 w 5947441"/>
              <a:gd name="connsiteY22" fmla="*/ 6204119 h 6857998"/>
              <a:gd name="connsiteX23" fmla="*/ 4470561 w 5947441"/>
              <a:gd name="connsiteY23" fmla="*/ 6184755 h 6857998"/>
              <a:gd name="connsiteX24" fmla="*/ 4470561 w 5947441"/>
              <a:gd name="connsiteY24" fmla="*/ 6271204 h 6857998"/>
              <a:gd name="connsiteX25" fmla="*/ 4496688 w 5947441"/>
              <a:gd name="connsiteY25" fmla="*/ 6271204 h 6857998"/>
              <a:gd name="connsiteX26" fmla="*/ 4496688 w 5947441"/>
              <a:gd name="connsiteY26" fmla="*/ 6207405 h 6857998"/>
              <a:gd name="connsiteX27" fmla="*/ 4525754 w 5947441"/>
              <a:gd name="connsiteY27" fmla="*/ 6207405 h 6857998"/>
              <a:gd name="connsiteX28" fmla="*/ 4525754 w 5947441"/>
              <a:gd name="connsiteY28" fmla="*/ 6184755 h 6857998"/>
              <a:gd name="connsiteX29" fmla="*/ 5103232 w 5947441"/>
              <a:gd name="connsiteY29" fmla="*/ 6182853 h 6857998"/>
              <a:gd name="connsiteX30" fmla="*/ 5063093 w 5947441"/>
              <a:gd name="connsiteY30" fmla="*/ 6227979 h 6857998"/>
              <a:gd name="connsiteX31" fmla="*/ 5103232 w 5947441"/>
              <a:gd name="connsiteY31" fmla="*/ 6273104 h 6857998"/>
              <a:gd name="connsiteX32" fmla="*/ 5126764 w 5947441"/>
              <a:gd name="connsiteY32" fmla="*/ 6262559 h 6857998"/>
              <a:gd name="connsiteX33" fmla="*/ 5126764 w 5947441"/>
              <a:gd name="connsiteY33" fmla="*/ 6271204 h 6857998"/>
              <a:gd name="connsiteX34" fmla="*/ 5152889 w 5947441"/>
              <a:gd name="connsiteY34" fmla="*/ 6271204 h 6857998"/>
              <a:gd name="connsiteX35" fmla="*/ 5152889 w 5947441"/>
              <a:gd name="connsiteY35" fmla="*/ 6184755 h 6857998"/>
              <a:gd name="connsiteX36" fmla="*/ 5126764 w 5947441"/>
              <a:gd name="connsiteY36" fmla="*/ 6184755 h 6857998"/>
              <a:gd name="connsiteX37" fmla="*/ 5126764 w 5947441"/>
              <a:gd name="connsiteY37" fmla="*/ 6193400 h 6857998"/>
              <a:gd name="connsiteX38" fmla="*/ 5103232 w 5947441"/>
              <a:gd name="connsiteY38" fmla="*/ 6182853 h 6857998"/>
              <a:gd name="connsiteX39" fmla="*/ 5008948 w 5947441"/>
              <a:gd name="connsiteY39" fmla="*/ 6182853 h 6857998"/>
              <a:gd name="connsiteX40" fmla="*/ 4963445 w 5947441"/>
              <a:gd name="connsiteY40" fmla="*/ 6227979 h 6857998"/>
              <a:gd name="connsiteX41" fmla="*/ 5009467 w 5947441"/>
              <a:gd name="connsiteY41" fmla="*/ 6273104 h 6857998"/>
              <a:gd name="connsiteX42" fmla="*/ 5050126 w 5947441"/>
              <a:gd name="connsiteY42" fmla="*/ 6254087 h 6857998"/>
              <a:gd name="connsiteX43" fmla="*/ 5030748 w 5947441"/>
              <a:gd name="connsiteY43" fmla="*/ 6239564 h 6857998"/>
              <a:gd name="connsiteX44" fmla="*/ 5009813 w 5947441"/>
              <a:gd name="connsiteY44" fmla="*/ 6249419 h 6857998"/>
              <a:gd name="connsiteX45" fmla="*/ 4988705 w 5947441"/>
              <a:gd name="connsiteY45" fmla="*/ 6234204 h 6857998"/>
              <a:gd name="connsiteX46" fmla="*/ 5051510 w 5947441"/>
              <a:gd name="connsiteY46" fmla="*/ 6234204 h 6857998"/>
              <a:gd name="connsiteX47" fmla="*/ 5052029 w 5947441"/>
              <a:gd name="connsiteY47" fmla="*/ 6225041 h 6857998"/>
              <a:gd name="connsiteX48" fmla="*/ 5008948 w 5947441"/>
              <a:gd name="connsiteY48" fmla="*/ 6182853 h 6857998"/>
              <a:gd name="connsiteX49" fmla="*/ 4676089 w 5947441"/>
              <a:gd name="connsiteY49" fmla="*/ 6182853 h 6857998"/>
              <a:gd name="connsiteX50" fmla="*/ 4630587 w 5947441"/>
              <a:gd name="connsiteY50" fmla="*/ 6227979 h 6857998"/>
              <a:gd name="connsiteX51" fmla="*/ 4676089 w 5947441"/>
              <a:gd name="connsiteY51" fmla="*/ 6273104 h 6857998"/>
              <a:gd name="connsiteX52" fmla="*/ 4721592 w 5947441"/>
              <a:gd name="connsiteY52" fmla="*/ 6227979 h 6857998"/>
              <a:gd name="connsiteX53" fmla="*/ 4676089 w 5947441"/>
              <a:gd name="connsiteY53" fmla="*/ 6182853 h 6857998"/>
              <a:gd name="connsiteX54" fmla="*/ 4399461 w 5947441"/>
              <a:gd name="connsiteY54" fmla="*/ 6182853 h 6857998"/>
              <a:gd name="connsiteX55" fmla="*/ 4359322 w 5947441"/>
              <a:gd name="connsiteY55" fmla="*/ 6227979 h 6857998"/>
              <a:gd name="connsiteX56" fmla="*/ 4399461 w 5947441"/>
              <a:gd name="connsiteY56" fmla="*/ 6273104 h 6857998"/>
              <a:gd name="connsiteX57" fmla="*/ 4422991 w 5947441"/>
              <a:gd name="connsiteY57" fmla="*/ 6262559 h 6857998"/>
              <a:gd name="connsiteX58" fmla="*/ 4422991 w 5947441"/>
              <a:gd name="connsiteY58" fmla="*/ 6271204 h 6857998"/>
              <a:gd name="connsiteX59" fmla="*/ 4449118 w 5947441"/>
              <a:gd name="connsiteY59" fmla="*/ 6271204 h 6857998"/>
              <a:gd name="connsiteX60" fmla="*/ 4449118 w 5947441"/>
              <a:gd name="connsiteY60" fmla="*/ 6184755 h 6857998"/>
              <a:gd name="connsiteX61" fmla="*/ 4422991 w 5947441"/>
              <a:gd name="connsiteY61" fmla="*/ 6184755 h 6857998"/>
              <a:gd name="connsiteX62" fmla="*/ 4422991 w 5947441"/>
              <a:gd name="connsiteY62" fmla="*/ 6193400 h 6857998"/>
              <a:gd name="connsiteX63" fmla="*/ 4399461 w 5947441"/>
              <a:gd name="connsiteY63" fmla="*/ 6182853 h 6857998"/>
              <a:gd name="connsiteX64" fmla="*/ 4305177 w 5947441"/>
              <a:gd name="connsiteY64" fmla="*/ 6182853 h 6857998"/>
              <a:gd name="connsiteX65" fmla="*/ 4259674 w 5947441"/>
              <a:gd name="connsiteY65" fmla="*/ 6227979 h 6857998"/>
              <a:gd name="connsiteX66" fmla="*/ 4305696 w 5947441"/>
              <a:gd name="connsiteY66" fmla="*/ 6273104 h 6857998"/>
              <a:gd name="connsiteX67" fmla="*/ 4346353 w 5947441"/>
              <a:gd name="connsiteY67" fmla="*/ 6254087 h 6857998"/>
              <a:gd name="connsiteX68" fmla="*/ 4326977 w 5947441"/>
              <a:gd name="connsiteY68" fmla="*/ 6239564 h 6857998"/>
              <a:gd name="connsiteX69" fmla="*/ 4306042 w 5947441"/>
              <a:gd name="connsiteY69" fmla="*/ 6249419 h 6857998"/>
              <a:gd name="connsiteX70" fmla="*/ 4284934 w 5947441"/>
              <a:gd name="connsiteY70" fmla="*/ 6234204 h 6857998"/>
              <a:gd name="connsiteX71" fmla="*/ 4347739 w 5947441"/>
              <a:gd name="connsiteY71" fmla="*/ 6234204 h 6857998"/>
              <a:gd name="connsiteX72" fmla="*/ 4348258 w 5947441"/>
              <a:gd name="connsiteY72" fmla="*/ 6225041 h 6857998"/>
              <a:gd name="connsiteX73" fmla="*/ 4305177 w 5947441"/>
              <a:gd name="connsiteY73" fmla="*/ 6182853 h 6857998"/>
              <a:gd name="connsiteX74" fmla="*/ 5248035 w 5947441"/>
              <a:gd name="connsiteY74" fmla="*/ 6157264 h 6857998"/>
              <a:gd name="connsiteX75" fmla="*/ 5221908 w 5947441"/>
              <a:gd name="connsiteY75" fmla="*/ 6184755 h 6857998"/>
              <a:gd name="connsiteX76" fmla="*/ 5221908 w 5947441"/>
              <a:gd name="connsiteY76" fmla="*/ 6271204 h 6857998"/>
              <a:gd name="connsiteX77" fmla="*/ 5248035 w 5947441"/>
              <a:gd name="connsiteY77" fmla="*/ 6271204 h 6857998"/>
              <a:gd name="connsiteX78" fmla="*/ 5248035 w 5947441"/>
              <a:gd name="connsiteY78" fmla="*/ 6207405 h 6857998"/>
              <a:gd name="connsiteX79" fmla="*/ 5272256 w 5947441"/>
              <a:gd name="connsiteY79" fmla="*/ 6207405 h 6857998"/>
              <a:gd name="connsiteX80" fmla="*/ 5272256 w 5947441"/>
              <a:gd name="connsiteY80" fmla="*/ 6184755 h 6857998"/>
              <a:gd name="connsiteX81" fmla="*/ 5248035 w 5947441"/>
              <a:gd name="connsiteY81" fmla="*/ 6184755 h 6857998"/>
              <a:gd name="connsiteX82" fmla="*/ 4566234 w 5947441"/>
              <a:gd name="connsiteY82" fmla="*/ 6157264 h 6857998"/>
              <a:gd name="connsiteX83" fmla="*/ 4540108 w 5947441"/>
              <a:gd name="connsiteY83" fmla="*/ 6184755 h 6857998"/>
              <a:gd name="connsiteX84" fmla="*/ 4540108 w 5947441"/>
              <a:gd name="connsiteY84" fmla="*/ 6271204 h 6857998"/>
              <a:gd name="connsiteX85" fmla="*/ 4566234 w 5947441"/>
              <a:gd name="connsiteY85" fmla="*/ 6271204 h 6857998"/>
              <a:gd name="connsiteX86" fmla="*/ 4566234 w 5947441"/>
              <a:gd name="connsiteY86" fmla="*/ 6207405 h 6857998"/>
              <a:gd name="connsiteX87" fmla="*/ 4590455 w 5947441"/>
              <a:gd name="connsiteY87" fmla="*/ 6207405 h 6857998"/>
              <a:gd name="connsiteX88" fmla="*/ 4590455 w 5947441"/>
              <a:gd name="connsiteY88" fmla="*/ 6184755 h 6857998"/>
              <a:gd name="connsiteX89" fmla="*/ 4566234 w 5947441"/>
              <a:gd name="connsiteY89" fmla="*/ 6184755 h 6857998"/>
              <a:gd name="connsiteX90" fmla="*/ 4843725 w 5947441"/>
              <a:gd name="connsiteY90" fmla="*/ 6148448 h 6857998"/>
              <a:gd name="connsiteX91" fmla="*/ 4843725 w 5947441"/>
              <a:gd name="connsiteY91" fmla="*/ 6271204 h 6857998"/>
              <a:gd name="connsiteX92" fmla="*/ 4871235 w 5947441"/>
              <a:gd name="connsiteY92" fmla="*/ 6271204 h 6857998"/>
              <a:gd name="connsiteX93" fmla="*/ 4871235 w 5947441"/>
              <a:gd name="connsiteY93" fmla="*/ 6222620 h 6857998"/>
              <a:gd name="connsiteX94" fmla="*/ 4920717 w 5947441"/>
              <a:gd name="connsiteY94" fmla="*/ 6222620 h 6857998"/>
              <a:gd name="connsiteX95" fmla="*/ 4920717 w 5947441"/>
              <a:gd name="connsiteY95" fmla="*/ 6271204 h 6857998"/>
              <a:gd name="connsiteX96" fmla="*/ 4948226 w 5947441"/>
              <a:gd name="connsiteY96" fmla="*/ 6271204 h 6857998"/>
              <a:gd name="connsiteX97" fmla="*/ 4948226 w 5947441"/>
              <a:gd name="connsiteY97" fmla="*/ 6148448 h 6857998"/>
              <a:gd name="connsiteX98" fmla="*/ 4920717 w 5947441"/>
              <a:gd name="connsiteY98" fmla="*/ 6148448 h 6857998"/>
              <a:gd name="connsiteX99" fmla="*/ 4920717 w 5947441"/>
              <a:gd name="connsiteY99" fmla="*/ 6196512 h 6857998"/>
              <a:gd name="connsiteX100" fmla="*/ 4871235 w 5947441"/>
              <a:gd name="connsiteY100" fmla="*/ 6196512 h 6857998"/>
              <a:gd name="connsiteX101" fmla="*/ 4871235 w 5947441"/>
              <a:gd name="connsiteY101" fmla="*/ 6148448 h 6857998"/>
              <a:gd name="connsiteX102" fmla="*/ 4139954 w 5947441"/>
              <a:gd name="connsiteY102" fmla="*/ 6148448 h 6857998"/>
              <a:gd name="connsiteX103" fmla="*/ 4139954 w 5947441"/>
              <a:gd name="connsiteY103" fmla="*/ 6232862 h 6857998"/>
              <a:gd name="connsiteX104" fmla="*/ 4167462 w 5947441"/>
              <a:gd name="connsiteY104" fmla="*/ 6260352 h 6857998"/>
              <a:gd name="connsiteX105" fmla="*/ 4167462 w 5947441"/>
              <a:gd name="connsiteY105" fmla="*/ 6222620 h 6857998"/>
              <a:gd name="connsiteX106" fmla="*/ 4216946 w 5947441"/>
              <a:gd name="connsiteY106" fmla="*/ 6222620 h 6857998"/>
              <a:gd name="connsiteX107" fmla="*/ 4216946 w 5947441"/>
              <a:gd name="connsiteY107" fmla="*/ 6271204 h 6857998"/>
              <a:gd name="connsiteX108" fmla="*/ 4244455 w 5947441"/>
              <a:gd name="connsiteY108" fmla="*/ 6271204 h 6857998"/>
              <a:gd name="connsiteX109" fmla="*/ 4244455 w 5947441"/>
              <a:gd name="connsiteY109" fmla="*/ 6148448 h 6857998"/>
              <a:gd name="connsiteX110" fmla="*/ 4216946 w 5947441"/>
              <a:gd name="connsiteY110" fmla="*/ 6148448 h 6857998"/>
              <a:gd name="connsiteX111" fmla="*/ 4216946 w 5947441"/>
              <a:gd name="connsiteY111" fmla="*/ 6196512 h 6857998"/>
              <a:gd name="connsiteX112" fmla="*/ 4167462 w 5947441"/>
              <a:gd name="connsiteY112" fmla="*/ 6196512 h 6857998"/>
              <a:gd name="connsiteX113" fmla="*/ 4167462 w 5947441"/>
              <a:gd name="connsiteY113" fmla="*/ 6148448 h 6857998"/>
              <a:gd name="connsiteX114" fmla="*/ 5285572 w 5947441"/>
              <a:gd name="connsiteY114" fmla="*/ 6141531 h 6857998"/>
              <a:gd name="connsiteX115" fmla="*/ 5285572 w 5947441"/>
              <a:gd name="connsiteY115" fmla="*/ 6271204 h 6857998"/>
              <a:gd name="connsiteX116" fmla="*/ 5311699 w 5947441"/>
              <a:gd name="connsiteY116" fmla="*/ 6271204 h 6857998"/>
              <a:gd name="connsiteX117" fmla="*/ 5311699 w 5947441"/>
              <a:gd name="connsiteY117" fmla="*/ 6229189 h 6857998"/>
              <a:gd name="connsiteX118" fmla="*/ 5329173 w 5947441"/>
              <a:gd name="connsiteY118" fmla="*/ 6206540 h 6857998"/>
              <a:gd name="connsiteX119" fmla="*/ 5343186 w 5947441"/>
              <a:gd name="connsiteY119" fmla="*/ 6225731 h 6857998"/>
              <a:gd name="connsiteX120" fmla="*/ 5343186 w 5947441"/>
              <a:gd name="connsiteY120" fmla="*/ 6271204 h 6857998"/>
              <a:gd name="connsiteX121" fmla="*/ 5369312 w 5947441"/>
              <a:gd name="connsiteY121" fmla="*/ 6271204 h 6857998"/>
              <a:gd name="connsiteX122" fmla="*/ 5369312 w 5947441"/>
              <a:gd name="connsiteY122" fmla="*/ 6221237 h 6857998"/>
              <a:gd name="connsiteX123" fmla="*/ 5335747 w 5947441"/>
              <a:gd name="connsiteY123" fmla="*/ 6182853 h 6857998"/>
              <a:gd name="connsiteX124" fmla="*/ 5311699 w 5947441"/>
              <a:gd name="connsiteY124" fmla="*/ 6193574 h 6857998"/>
              <a:gd name="connsiteX125" fmla="*/ 5311699 w 5947441"/>
              <a:gd name="connsiteY125" fmla="*/ 6141531 h 6857998"/>
              <a:gd name="connsiteX126" fmla="*/ 5174334 w 5947441"/>
              <a:gd name="connsiteY126" fmla="*/ 6141531 h 6857998"/>
              <a:gd name="connsiteX127" fmla="*/ 5174334 w 5947441"/>
              <a:gd name="connsiteY127" fmla="*/ 6271204 h 6857998"/>
              <a:gd name="connsiteX128" fmla="*/ 5200460 w 5947441"/>
              <a:gd name="connsiteY128" fmla="*/ 6271204 h 6857998"/>
              <a:gd name="connsiteX129" fmla="*/ 5200460 w 5947441"/>
              <a:gd name="connsiteY129" fmla="*/ 6141531 h 6857998"/>
              <a:gd name="connsiteX130" fmla="*/ 4780585 w 5947441"/>
              <a:gd name="connsiteY130" fmla="*/ 6140494 h 6857998"/>
              <a:gd name="connsiteX131" fmla="*/ 4745808 w 5947441"/>
              <a:gd name="connsiteY131" fmla="*/ 6175247 h 6857998"/>
              <a:gd name="connsiteX132" fmla="*/ 4745808 w 5947441"/>
              <a:gd name="connsiteY132" fmla="*/ 6184755 h 6857998"/>
              <a:gd name="connsiteX133" fmla="*/ 4728508 w 5947441"/>
              <a:gd name="connsiteY133" fmla="*/ 6184755 h 6857998"/>
              <a:gd name="connsiteX134" fmla="*/ 4728508 w 5947441"/>
              <a:gd name="connsiteY134" fmla="*/ 6207405 h 6857998"/>
              <a:gd name="connsiteX135" fmla="*/ 4745808 w 5947441"/>
              <a:gd name="connsiteY135" fmla="*/ 6207405 h 6857998"/>
              <a:gd name="connsiteX136" fmla="*/ 4745808 w 5947441"/>
              <a:gd name="connsiteY136" fmla="*/ 6271204 h 6857998"/>
              <a:gd name="connsiteX137" fmla="*/ 4771934 w 5947441"/>
              <a:gd name="connsiteY137" fmla="*/ 6271204 h 6857998"/>
              <a:gd name="connsiteX138" fmla="*/ 4771934 w 5947441"/>
              <a:gd name="connsiteY138" fmla="*/ 6207405 h 6857998"/>
              <a:gd name="connsiteX139" fmla="*/ 4796157 w 5947441"/>
              <a:gd name="connsiteY139" fmla="*/ 6207405 h 6857998"/>
              <a:gd name="connsiteX140" fmla="*/ 4796157 w 5947441"/>
              <a:gd name="connsiteY140" fmla="*/ 6184755 h 6857998"/>
              <a:gd name="connsiteX141" fmla="*/ 4771934 w 5947441"/>
              <a:gd name="connsiteY141" fmla="*/ 6184755 h 6857998"/>
              <a:gd name="connsiteX142" fmla="*/ 4771934 w 5947441"/>
              <a:gd name="connsiteY142" fmla="*/ 6178531 h 6857998"/>
              <a:gd name="connsiteX143" fmla="*/ 4786814 w 5947441"/>
              <a:gd name="connsiteY143" fmla="*/ 6163835 h 6857998"/>
              <a:gd name="connsiteX144" fmla="*/ 4796157 w 5947441"/>
              <a:gd name="connsiteY144" fmla="*/ 6165390 h 6857998"/>
              <a:gd name="connsiteX145" fmla="*/ 4796157 w 5947441"/>
              <a:gd name="connsiteY145" fmla="*/ 6142395 h 6857998"/>
              <a:gd name="connsiteX146" fmla="*/ 4780585 w 5947441"/>
              <a:gd name="connsiteY146" fmla="*/ 6140494 h 6857998"/>
              <a:gd name="connsiteX147" fmla="*/ 4314342 w 5947441"/>
              <a:gd name="connsiteY147" fmla="*/ 5948845 h 6857998"/>
              <a:gd name="connsiteX148" fmla="*/ 4353322 w 5947441"/>
              <a:gd name="connsiteY148" fmla="*/ 5975334 h 6857998"/>
              <a:gd name="connsiteX149" fmla="*/ 4273784 w 5947441"/>
              <a:gd name="connsiteY149" fmla="*/ 5975334 h 6857998"/>
              <a:gd name="connsiteX150" fmla="*/ 4314342 w 5947441"/>
              <a:gd name="connsiteY150" fmla="*/ 5948845 h 6857998"/>
              <a:gd name="connsiteX151" fmla="*/ 4314018 w 5947441"/>
              <a:gd name="connsiteY151" fmla="*/ 5896018 h 6857998"/>
              <a:gd name="connsiteX152" fmla="*/ 4213801 w 5947441"/>
              <a:gd name="connsiteY152" fmla="*/ 5997928 h 6857998"/>
              <a:gd name="connsiteX153" fmla="*/ 4314342 w 5947441"/>
              <a:gd name="connsiteY153" fmla="*/ 6098568 h 6857998"/>
              <a:gd name="connsiteX154" fmla="*/ 4390755 w 5947441"/>
              <a:gd name="connsiteY154" fmla="*/ 6069221 h 6857998"/>
              <a:gd name="connsiteX155" fmla="*/ 4353830 w 5947441"/>
              <a:gd name="connsiteY155" fmla="*/ 6032391 h 6857998"/>
              <a:gd name="connsiteX156" fmla="*/ 4316581 w 5947441"/>
              <a:gd name="connsiteY156" fmla="*/ 6045670 h 6857998"/>
              <a:gd name="connsiteX157" fmla="*/ 4281813 w 5947441"/>
              <a:gd name="connsiteY157" fmla="*/ 6030954 h 6857998"/>
              <a:gd name="connsiteX158" fmla="*/ 4276855 w 5947441"/>
              <a:gd name="connsiteY158" fmla="*/ 6024995 h 6857998"/>
              <a:gd name="connsiteX159" fmla="*/ 4275790 w 5947441"/>
              <a:gd name="connsiteY159" fmla="*/ 6023401 h 6857998"/>
              <a:gd name="connsiteX160" fmla="*/ 4275769 w 5947441"/>
              <a:gd name="connsiteY160" fmla="*/ 6023401 h 6857998"/>
              <a:gd name="connsiteX161" fmla="*/ 4271627 w 5947441"/>
              <a:gd name="connsiteY161" fmla="*/ 6015789 h 6857998"/>
              <a:gd name="connsiteX162" fmla="*/ 4410369 w 5947441"/>
              <a:gd name="connsiteY162" fmla="*/ 6015789 h 6857998"/>
              <a:gd name="connsiteX163" fmla="*/ 4412656 w 5947441"/>
              <a:gd name="connsiteY163" fmla="*/ 5995059 h 6857998"/>
              <a:gd name="connsiteX164" fmla="*/ 4314018 w 5947441"/>
              <a:gd name="connsiteY164" fmla="*/ 5896018 h 6857998"/>
              <a:gd name="connsiteX165" fmla="*/ 4110956 w 5947441"/>
              <a:gd name="connsiteY165" fmla="*/ 5896007 h 6857998"/>
              <a:gd name="connsiteX166" fmla="*/ 4110956 w 5947441"/>
              <a:gd name="connsiteY166" fmla="*/ 6096898 h 6857998"/>
              <a:gd name="connsiteX167" fmla="*/ 4167419 w 5947441"/>
              <a:gd name="connsiteY167" fmla="*/ 6096898 h 6857998"/>
              <a:gd name="connsiteX168" fmla="*/ 4167419 w 5947441"/>
              <a:gd name="connsiteY168" fmla="*/ 5947559 h 6857998"/>
              <a:gd name="connsiteX169" fmla="*/ 4212811 w 5947441"/>
              <a:gd name="connsiteY169" fmla="*/ 5947559 h 6857998"/>
              <a:gd name="connsiteX170" fmla="*/ 4212811 w 5947441"/>
              <a:gd name="connsiteY170" fmla="*/ 5896007 h 6857998"/>
              <a:gd name="connsiteX171" fmla="*/ 4529422 w 5947441"/>
              <a:gd name="connsiteY171" fmla="*/ 5895985 h 6857998"/>
              <a:gd name="connsiteX172" fmla="*/ 4528470 w 5947441"/>
              <a:gd name="connsiteY172" fmla="*/ 5896050 h 6857998"/>
              <a:gd name="connsiteX173" fmla="*/ 4428372 w 5947441"/>
              <a:gd name="connsiteY173" fmla="*/ 5996690 h 6857998"/>
              <a:gd name="connsiteX174" fmla="*/ 4529811 w 5947441"/>
              <a:gd name="connsiteY174" fmla="*/ 6098600 h 6857998"/>
              <a:gd name="connsiteX175" fmla="*/ 4609549 w 5947441"/>
              <a:gd name="connsiteY175" fmla="*/ 6061403 h 6857998"/>
              <a:gd name="connsiteX176" fmla="*/ 4613733 w 5947441"/>
              <a:gd name="connsiteY176" fmla="*/ 6056497 h 6857998"/>
              <a:gd name="connsiteX177" fmla="*/ 4577722 w 5947441"/>
              <a:gd name="connsiteY177" fmla="*/ 6020456 h 6857998"/>
              <a:gd name="connsiteX178" fmla="*/ 4572624 w 5947441"/>
              <a:gd name="connsiteY178" fmla="*/ 6025594 h 6857998"/>
              <a:gd name="connsiteX179" fmla="*/ 4530741 w 5947441"/>
              <a:gd name="connsiteY179" fmla="*/ 6045762 h 6857998"/>
              <a:gd name="connsiteX180" fmla="*/ 4484846 w 5947441"/>
              <a:gd name="connsiteY180" fmla="*/ 5997333 h 6857998"/>
              <a:gd name="connsiteX181" fmla="*/ 4529611 w 5947441"/>
              <a:gd name="connsiteY181" fmla="*/ 5948855 h 6857998"/>
              <a:gd name="connsiteX182" fmla="*/ 4530573 w 5947441"/>
              <a:gd name="connsiteY182" fmla="*/ 5948790 h 6857998"/>
              <a:gd name="connsiteX183" fmla="*/ 4572602 w 5947441"/>
              <a:gd name="connsiteY183" fmla="*/ 5968948 h 6857998"/>
              <a:gd name="connsiteX184" fmla="*/ 4577700 w 5947441"/>
              <a:gd name="connsiteY184" fmla="*/ 5974064 h 6857998"/>
              <a:gd name="connsiteX185" fmla="*/ 4613733 w 5947441"/>
              <a:gd name="connsiteY185" fmla="*/ 5938061 h 6857998"/>
              <a:gd name="connsiteX186" fmla="*/ 4609538 w 5947441"/>
              <a:gd name="connsiteY186" fmla="*/ 5933145 h 6857998"/>
              <a:gd name="connsiteX187" fmla="*/ 4529422 w 5947441"/>
              <a:gd name="connsiteY187" fmla="*/ 5895985 h 6857998"/>
              <a:gd name="connsiteX188" fmla="*/ 3912831 w 5947441"/>
              <a:gd name="connsiteY188" fmla="*/ 5863028 h 6857998"/>
              <a:gd name="connsiteX189" fmla="*/ 3912831 w 5947441"/>
              <a:gd name="connsiteY189" fmla="*/ 5990061 h 6857998"/>
              <a:gd name="connsiteX190" fmla="*/ 3911858 w 5947441"/>
              <a:gd name="connsiteY190" fmla="*/ 6004922 h 6857998"/>
              <a:gd name="connsiteX191" fmla="*/ 3911858 w 5947441"/>
              <a:gd name="connsiteY191" fmla="*/ 6004922 h 6857998"/>
              <a:gd name="connsiteX192" fmla="*/ 3911858 w 5947441"/>
              <a:gd name="connsiteY192" fmla="*/ 6004923 h 6857998"/>
              <a:gd name="connsiteX193" fmla="*/ 3769924 w 5947441"/>
              <a:gd name="connsiteY193" fmla="*/ 5863087 h 6857998"/>
              <a:gd name="connsiteX194" fmla="*/ 3769924 w 5947441"/>
              <a:gd name="connsiteY194" fmla="*/ 5990060 h 6857998"/>
              <a:gd name="connsiteX195" fmla="*/ 3787489 w 5947441"/>
              <a:gd name="connsiteY195" fmla="*/ 6058013 h 6857998"/>
              <a:gd name="connsiteX196" fmla="*/ 3871536 w 5947441"/>
              <a:gd name="connsiteY196" fmla="*/ 6098501 h 6857998"/>
              <a:gd name="connsiteX197" fmla="*/ 3955583 w 5947441"/>
              <a:gd name="connsiteY197" fmla="*/ 6058013 h 6857998"/>
              <a:gd name="connsiteX198" fmla="*/ 3959335 w 5947441"/>
              <a:gd name="connsiteY198" fmla="*/ 6052367 h 6857998"/>
              <a:gd name="connsiteX199" fmla="*/ 3959334 w 5947441"/>
              <a:gd name="connsiteY199" fmla="*/ 6052365 h 6857998"/>
              <a:gd name="connsiteX200" fmla="*/ 3959336 w 5947441"/>
              <a:gd name="connsiteY200" fmla="*/ 6052367 h 6857998"/>
              <a:gd name="connsiteX201" fmla="*/ 3973148 w 5947441"/>
              <a:gd name="connsiteY201" fmla="*/ 5990060 h 6857998"/>
              <a:gd name="connsiteX202" fmla="*/ 3973148 w 5947441"/>
              <a:gd name="connsiteY202" fmla="*/ 5863028 h 6857998"/>
              <a:gd name="connsiteX203" fmla="*/ 4056543 w 5947441"/>
              <a:gd name="connsiteY203" fmla="*/ 5839377 h 6857998"/>
              <a:gd name="connsiteX204" fmla="*/ 4000068 w 5947441"/>
              <a:gd name="connsiteY204" fmla="*/ 5896018 h 6857998"/>
              <a:gd name="connsiteX205" fmla="*/ 4000068 w 5947441"/>
              <a:gd name="connsiteY205" fmla="*/ 6096899 h 6857998"/>
              <a:gd name="connsiteX206" fmla="*/ 4056543 w 5947441"/>
              <a:gd name="connsiteY206" fmla="*/ 6096899 h 6857998"/>
              <a:gd name="connsiteX207" fmla="*/ 4056543 w 5947441"/>
              <a:gd name="connsiteY207" fmla="*/ 5947559 h 6857998"/>
              <a:gd name="connsiteX208" fmla="*/ 4093208 w 5947441"/>
              <a:gd name="connsiteY208" fmla="*/ 5947559 h 6857998"/>
              <a:gd name="connsiteX209" fmla="*/ 4093208 w 5947441"/>
              <a:gd name="connsiteY209" fmla="*/ 5896008 h 6857998"/>
              <a:gd name="connsiteX210" fmla="*/ 4056543 w 5947441"/>
              <a:gd name="connsiteY210" fmla="*/ 5896008 h 6857998"/>
              <a:gd name="connsiteX211" fmla="*/ 4690438 w 5947441"/>
              <a:gd name="connsiteY211" fmla="*/ 5839296 h 6857998"/>
              <a:gd name="connsiteX212" fmla="*/ 4633974 w 5947441"/>
              <a:gd name="connsiteY212" fmla="*/ 5896019 h 6857998"/>
              <a:gd name="connsiteX213" fmla="*/ 4633974 w 5947441"/>
              <a:gd name="connsiteY213" fmla="*/ 6096898 h 6857998"/>
              <a:gd name="connsiteX214" fmla="*/ 4690438 w 5947441"/>
              <a:gd name="connsiteY214" fmla="*/ 6096898 h 6857998"/>
              <a:gd name="connsiteX215" fmla="*/ 4690438 w 5947441"/>
              <a:gd name="connsiteY215" fmla="*/ 5996167 h 6857998"/>
              <a:gd name="connsiteX216" fmla="*/ 4719194 w 5947441"/>
              <a:gd name="connsiteY216" fmla="*/ 5948996 h 6857998"/>
              <a:gd name="connsiteX217" fmla="*/ 4748594 w 5947441"/>
              <a:gd name="connsiteY217" fmla="*/ 5995529 h 6857998"/>
              <a:gd name="connsiteX218" fmla="*/ 4748594 w 5947441"/>
              <a:gd name="connsiteY218" fmla="*/ 6096898 h 6857998"/>
              <a:gd name="connsiteX219" fmla="*/ 4805057 w 5947441"/>
              <a:gd name="connsiteY219" fmla="*/ 6096898 h 6857998"/>
              <a:gd name="connsiteX220" fmla="*/ 4805057 w 5947441"/>
              <a:gd name="connsiteY220" fmla="*/ 5986296 h 6857998"/>
              <a:gd name="connsiteX221" fmla="*/ 4789514 w 5947441"/>
              <a:gd name="connsiteY221" fmla="*/ 5925917 h 6857998"/>
              <a:gd name="connsiteX222" fmla="*/ 4729407 w 5947441"/>
              <a:gd name="connsiteY222" fmla="*/ 5896164 h 6857998"/>
              <a:gd name="connsiteX223" fmla="*/ 4690438 w 5947441"/>
              <a:gd name="connsiteY223" fmla="*/ 5907142 h 6857998"/>
              <a:gd name="connsiteX224" fmla="*/ 4889213 w 5947441"/>
              <a:gd name="connsiteY224" fmla="*/ 5839295 h 6857998"/>
              <a:gd name="connsiteX225" fmla="*/ 4832749 w 5947441"/>
              <a:gd name="connsiteY225" fmla="*/ 5896018 h 6857998"/>
              <a:gd name="connsiteX226" fmla="*/ 4832749 w 5947441"/>
              <a:gd name="connsiteY226" fmla="*/ 6096897 h 6857998"/>
              <a:gd name="connsiteX227" fmla="*/ 4889213 w 5947441"/>
              <a:gd name="connsiteY227" fmla="*/ 6096897 h 6857998"/>
              <a:gd name="connsiteX228" fmla="*/ 4889213 w 5947441"/>
              <a:gd name="connsiteY228" fmla="*/ 5947483 h 6857998"/>
              <a:gd name="connsiteX229" fmla="*/ 4925889 w 5947441"/>
              <a:gd name="connsiteY229" fmla="*/ 5947483 h 6857998"/>
              <a:gd name="connsiteX230" fmla="*/ 4925889 w 5947441"/>
              <a:gd name="connsiteY230" fmla="*/ 5895931 h 6857998"/>
              <a:gd name="connsiteX231" fmla="*/ 4889213 w 5947441"/>
              <a:gd name="connsiteY231" fmla="*/ 5895931 h 6857998"/>
              <a:gd name="connsiteX232" fmla="*/ 0 w 5947441"/>
              <a:gd name="connsiteY232" fmla="*/ 0 h 6857998"/>
              <a:gd name="connsiteX233" fmla="*/ 5947441 w 5947441"/>
              <a:gd name="connsiteY233" fmla="*/ 0 h 6857998"/>
              <a:gd name="connsiteX234" fmla="*/ 5947441 w 5947441"/>
              <a:gd name="connsiteY234" fmla="*/ 6857998 h 6857998"/>
              <a:gd name="connsiteX235" fmla="*/ 0 w 5947441"/>
              <a:gd name="connsiteY23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5947441" h="6857998">
                <a:moveTo>
                  <a:pt x="4676089" y="6207232"/>
                </a:moveTo>
                <a:cubicBezTo>
                  <a:pt x="4686990" y="6207232"/>
                  <a:pt x="4695295" y="6215704"/>
                  <a:pt x="4695295" y="6227979"/>
                </a:cubicBezTo>
                <a:cubicBezTo>
                  <a:pt x="4695295" y="6240255"/>
                  <a:pt x="4686990" y="6248726"/>
                  <a:pt x="4676089" y="6248726"/>
                </a:cubicBezTo>
                <a:cubicBezTo>
                  <a:pt x="4665190" y="6248726"/>
                  <a:pt x="4656884" y="6240255"/>
                  <a:pt x="4656884" y="6227979"/>
                </a:cubicBezTo>
                <a:cubicBezTo>
                  <a:pt x="4656884" y="6215704"/>
                  <a:pt x="4665190" y="6207232"/>
                  <a:pt x="4676089" y="6207232"/>
                </a:cubicBezTo>
                <a:close/>
                <a:moveTo>
                  <a:pt x="5109116" y="6206540"/>
                </a:moveTo>
                <a:cubicBezTo>
                  <a:pt x="5120881" y="6206540"/>
                  <a:pt x="5128838" y="6215531"/>
                  <a:pt x="5128838" y="6227979"/>
                </a:cubicBezTo>
                <a:cubicBezTo>
                  <a:pt x="5128838" y="6240428"/>
                  <a:pt x="5120881" y="6249419"/>
                  <a:pt x="5109116" y="6249419"/>
                </a:cubicBezTo>
                <a:cubicBezTo>
                  <a:pt x="5097350" y="6249419"/>
                  <a:pt x="5089392" y="6240428"/>
                  <a:pt x="5089392" y="6227979"/>
                </a:cubicBezTo>
                <a:cubicBezTo>
                  <a:pt x="5089392" y="6215531"/>
                  <a:pt x="5097350" y="6206540"/>
                  <a:pt x="5109116" y="6206540"/>
                </a:cubicBezTo>
                <a:close/>
                <a:moveTo>
                  <a:pt x="4405345" y="6206540"/>
                </a:moveTo>
                <a:cubicBezTo>
                  <a:pt x="4417110" y="6206540"/>
                  <a:pt x="4425068" y="6215531"/>
                  <a:pt x="4425068" y="6227979"/>
                </a:cubicBezTo>
                <a:cubicBezTo>
                  <a:pt x="4425068" y="6240428"/>
                  <a:pt x="4417110" y="6249419"/>
                  <a:pt x="4405345" y="6249419"/>
                </a:cubicBezTo>
                <a:cubicBezTo>
                  <a:pt x="4393579" y="6249419"/>
                  <a:pt x="4385621" y="6240428"/>
                  <a:pt x="4385621" y="6227979"/>
                </a:cubicBezTo>
                <a:cubicBezTo>
                  <a:pt x="4385621" y="6215531"/>
                  <a:pt x="4393579" y="6206540"/>
                  <a:pt x="4405345" y="6206540"/>
                </a:cubicBezTo>
                <a:close/>
                <a:moveTo>
                  <a:pt x="5008256" y="6204119"/>
                </a:moveTo>
                <a:cubicBezTo>
                  <a:pt x="5015868" y="6204119"/>
                  <a:pt x="5023828" y="6207923"/>
                  <a:pt x="5026076" y="6217087"/>
                </a:cubicBezTo>
                <a:lnTo>
                  <a:pt x="4989397" y="6217087"/>
                </a:lnTo>
                <a:cubicBezTo>
                  <a:pt x="4991646" y="6207577"/>
                  <a:pt x="5000643" y="6204119"/>
                  <a:pt x="5008256" y="6204119"/>
                </a:cubicBezTo>
                <a:close/>
                <a:moveTo>
                  <a:pt x="4304485" y="6204119"/>
                </a:moveTo>
                <a:cubicBezTo>
                  <a:pt x="4312097" y="6204119"/>
                  <a:pt x="4320057" y="6207923"/>
                  <a:pt x="4322305" y="6217087"/>
                </a:cubicBezTo>
                <a:lnTo>
                  <a:pt x="4285626" y="6217087"/>
                </a:lnTo>
                <a:cubicBezTo>
                  <a:pt x="4287875" y="6207577"/>
                  <a:pt x="4296872" y="6204119"/>
                  <a:pt x="4304485" y="6204119"/>
                </a:cubicBezTo>
                <a:close/>
                <a:moveTo>
                  <a:pt x="4470561" y="6184755"/>
                </a:moveTo>
                <a:lnTo>
                  <a:pt x="4470561" y="6271204"/>
                </a:lnTo>
                <a:lnTo>
                  <a:pt x="4496688" y="6271204"/>
                </a:lnTo>
                <a:lnTo>
                  <a:pt x="4496688" y="6207405"/>
                </a:lnTo>
                <a:lnTo>
                  <a:pt x="4525754" y="6207405"/>
                </a:lnTo>
                <a:lnTo>
                  <a:pt x="4525754" y="6184755"/>
                </a:lnTo>
                <a:close/>
                <a:moveTo>
                  <a:pt x="5103232" y="6182853"/>
                </a:moveTo>
                <a:cubicBezTo>
                  <a:pt x="5080568" y="6182853"/>
                  <a:pt x="5063093" y="6203429"/>
                  <a:pt x="5063093" y="6227979"/>
                </a:cubicBezTo>
                <a:cubicBezTo>
                  <a:pt x="5063093" y="6252531"/>
                  <a:pt x="5080568" y="6273104"/>
                  <a:pt x="5103232" y="6273104"/>
                </a:cubicBezTo>
                <a:cubicBezTo>
                  <a:pt x="5114824" y="6273104"/>
                  <a:pt x="5123302" y="6267228"/>
                  <a:pt x="5126764" y="6262559"/>
                </a:cubicBezTo>
                <a:lnTo>
                  <a:pt x="5126764" y="6271204"/>
                </a:lnTo>
                <a:lnTo>
                  <a:pt x="5152889" y="6271204"/>
                </a:lnTo>
                <a:lnTo>
                  <a:pt x="5152889" y="6184755"/>
                </a:lnTo>
                <a:lnTo>
                  <a:pt x="5126764" y="6184755"/>
                </a:lnTo>
                <a:lnTo>
                  <a:pt x="5126764" y="6193400"/>
                </a:lnTo>
                <a:cubicBezTo>
                  <a:pt x="5123302" y="6188732"/>
                  <a:pt x="5114824" y="6182853"/>
                  <a:pt x="5103232" y="6182853"/>
                </a:cubicBezTo>
                <a:close/>
                <a:moveTo>
                  <a:pt x="5008948" y="6182853"/>
                </a:moveTo>
                <a:cubicBezTo>
                  <a:pt x="4982649" y="6182853"/>
                  <a:pt x="4963445" y="6202218"/>
                  <a:pt x="4963445" y="6227979"/>
                </a:cubicBezTo>
                <a:cubicBezTo>
                  <a:pt x="4963445" y="6255816"/>
                  <a:pt x="4984033" y="6273104"/>
                  <a:pt x="5009467" y="6273104"/>
                </a:cubicBezTo>
                <a:cubicBezTo>
                  <a:pt x="5027634" y="6273104"/>
                  <a:pt x="5041993" y="6265498"/>
                  <a:pt x="5050126" y="6254087"/>
                </a:cubicBezTo>
                <a:lnTo>
                  <a:pt x="5030748" y="6239564"/>
                </a:lnTo>
                <a:cubicBezTo>
                  <a:pt x="5027460" y="6244577"/>
                  <a:pt x="5019847" y="6249419"/>
                  <a:pt x="5009813" y="6249419"/>
                </a:cubicBezTo>
                <a:cubicBezTo>
                  <a:pt x="4999951" y="6249419"/>
                  <a:pt x="4990262" y="6244577"/>
                  <a:pt x="4988705" y="6234204"/>
                </a:cubicBezTo>
                <a:lnTo>
                  <a:pt x="5051510" y="6234204"/>
                </a:lnTo>
                <a:cubicBezTo>
                  <a:pt x="5052029" y="6230053"/>
                  <a:pt x="5052029" y="6227288"/>
                  <a:pt x="5052029" y="6225041"/>
                </a:cubicBezTo>
                <a:cubicBezTo>
                  <a:pt x="5052029" y="6197031"/>
                  <a:pt x="5031785" y="6182853"/>
                  <a:pt x="5008948" y="6182853"/>
                </a:cubicBezTo>
                <a:close/>
                <a:moveTo>
                  <a:pt x="4676089" y="6182853"/>
                </a:moveTo>
                <a:cubicBezTo>
                  <a:pt x="4651176" y="6182853"/>
                  <a:pt x="4630587" y="6202564"/>
                  <a:pt x="4630587" y="6227979"/>
                </a:cubicBezTo>
                <a:cubicBezTo>
                  <a:pt x="4630587" y="6253395"/>
                  <a:pt x="4651176" y="6273104"/>
                  <a:pt x="4676089" y="6273104"/>
                </a:cubicBezTo>
                <a:cubicBezTo>
                  <a:pt x="4701004" y="6273104"/>
                  <a:pt x="4721592" y="6253395"/>
                  <a:pt x="4721592" y="6227979"/>
                </a:cubicBezTo>
                <a:cubicBezTo>
                  <a:pt x="4721592" y="6202564"/>
                  <a:pt x="4701004" y="6182853"/>
                  <a:pt x="4676089" y="6182853"/>
                </a:cubicBezTo>
                <a:close/>
                <a:moveTo>
                  <a:pt x="4399461" y="6182853"/>
                </a:moveTo>
                <a:cubicBezTo>
                  <a:pt x="4376797" y="6182853"/>
                  <a:pt x="4359322" y="6203429"/>
                  <a:pt x="4359322" y="6227979"/>
                </a:cubicBezTo>
                <a:cubicBezTo>
                  <a:pt x="4359322" y="6252531"/>
                  <a:pt x="4376797" y="6273104"/>
                  <a:pt x="4399461" y="6273104"/>
                </a:cubicBezTo>
                <a:cubicBezTo>
                  <a:pt x="4411053" y="6273104"/>
                  <a:pt x="4419531" y="6267228"/>
                  <a:pt x="4422991" y="6262559"/>
                </a:cubicBezTo>
                <a:lnTo>
                  <a:pt x="4422991" y="6271204"/>
                </a:lnTo>
                <a:lnTo>
                  <a:pt x="4449118" y="6271204"/>
                </a:lnTo>
                <a:lnTo>
                  <a:pt x="4449118" y="6184755"/>
                </a:lnTo>
                <a:lnTo>
                  <a:pt x="4422991" y="6184755"/>
                </a:lnTo>
                <a:lnTo>
                  <a:pt x="4422991" y="6193400"/>
                </a:lnTo>
                <a:cubicBezTo>
                  <a:pt x="4419531" y="6188732"/>
                  <a:pt x="4411053" y="6182853"/>
                  <a:pt x="4399461" y="6182853"/>
                </a:cubicBezTo>
                <a:close/>
                <a:moveTo>
                  <a:pt x="4305177" y="6182853"/>
                </a:moveTo>
                <a:cubicBezTo>
                  <a:pt x="4278879" y="6182853"/>
                  <a:pt x="4259674" y="6202218"/>
                  <a:pt x="4259674" y="6227979"/>
                </a:cubicBezTo>
                <a:cubicBezTo>
                  <a:pt x="4259674" y="6255816"/>
                  <a:pt x="4280262" y="6273104"/>
                  <a:pt x="4305696" y="6273104"/>
                </a:cubicBezTo>
                <a:cubicBezTo>
                  <a:pt x="4323861" y="6273104"/>
                  <a:pt x="4338222" y="6265498"/>
                  <a:pt x="4346353" y="6254087"/>
                </a:cubicBezTo>
                <a:lnTo>
                  <a:pt x="4326977" y="6239564"/>
                </a:lnTo>
                <a:cubicBezTo>
                  <a:pt x="4323689" y="6244577"/>
                  <a:pt x="4316076" y="6249419"/>
                  <a:pt x="4306042" y="6249419"/>
                </a:cubicBezTo>
                <a:cubicBezTo>
                  <a:pt x="4296179" y="6249419"/>
                  <a:pt x="4286491" y="6244577"/>
                  <a:pt x="4284934" y="6234204"/>
                </a:cubicBezTo>
                <a:lnTo>
                  <a:pt x="4347739" y="6234204"/>
                </a:lnTo>
                <a:cubicBezTo>
                  <a:pt x="4348258" y="6230053"/>
                  <a:pt x="4348258" y="6227288"/>
                  <a:pt x="4348258" y="6225041"/>
                </a:cubicBezTo>
                <a:cubicBezTo>
                  <a:pt x="4348258" y="6197031"/>
                  <a:pt x="4328014" y="6182853"/>
                  <a:pt x="4305177" y="6182853"/>
                </a:cubicBezTo>
                <a:close/>
                <a:moveTo>
                  <a:pt x="5248035" y="6157264"/>
                </a:moveTo>
                <a:lnTo>
                  <a:pt x="5221908" y="6184755"/>
                </a:lnTo>
                <a:lnTo>
                  <a:pt x="5221908" y="6271204"/>
                </a:lnTo>
                <a:lnTo>
                  <a:pt x="5248035" y="6271204"/>
                </a:lnTo>
                <a:lnTo>
                  <a:pt x="5248035" y="6207405"/>
                </a:lnTo>
                <a:lnTo>
                  <a:pt x="5272256" y="6207405"/>
                </a:lnTo>
                <a:lnTo>
                  <a:pt x="5272256" y="6184755"/>
                </a:lnTo>
                <a:lnTo>
                  <a:pt x="5248035" y="6184755"/>
                </a:lnTo>
                <a:close/>
                <a:moveTo>
                  <a:pt x="4566234" y="6157264"/>
                </a:moveTo>
                <a:lnTo>
                  <a:pt x="4540108" y="6184755"/>
                </a:lnTo>
                <a:lnTo>
                  <a:pt x="4540108" y="6271204"/>
                </a:lnTo>
                <a:lnTo>
                  <a:pt x="4566234" y="6271204"/>
                </a:lnTo>
                <a:lnTo>
                  <a:pt x="4566234" y="6207405"/>
                </a:lnTo>
                <a:lnTo>
                  <a:pt x="4590455" y="6207405"/>
                </a:lnTo>
                <a:lnTo>
                  <a:pt x="4590455" y="6184755"/>
                </a:lnTo>
                <a:lnTo>
                  <a:pt x="4566234" y="6184755"/>
                </a:lnTo>
                <a:close/>
                <a:moveTo>
                  <a:pt x="4843725" y="6148448"/>
                </a:moveTo>
                <a:lnTo>
                  <a:pt x="4843725" y="6271204"/>
                </a:lnTo>
                <a:lnTo>
                  <a:pt x="4871235" y="6271204"/>
                </a:lnTo>
                <a:lnTo>
                  <a:pt x="4871235" y="6222620"/>
                </a:lnTo>
                <a:lnTo>
                  <a:pt x="4920717" y="6222620"/>
                </a:lnTo>
                <a:lnTo>
                  <a:pt x="4920717" y="6271204"/>
                </a:lnTo>
                <a:lnTo>
                  <a:pt x="4948226" y="6271204"/>
                </a:lnTo>
                <a:lnTo>
                  <a:pt x="4948226" y="6148448"/>
                </a:lnTo>
                <a:lnTo>
                  <a:pt x="4920717" y="6148448"/>
                </a:lnTo>
                <a:lnTo>
                  <a:pt x="4920717" y="6196512"/>
                </a:lnTo>
                <a:lnTo>
                  <a:pt x="4871235" y="6196512"/>
                </a:lnTo>
                <a:lnTo>
                  <a:pt x="4871235" y="6148448"/>
                </a:lnTo>
                <a:close/>
                <a:moveTo>
                  <a:pt x="4139954" y="6148448"/>
                </a:moveTo>
                <a:lnTo>
                  <a:pt x="4139954" y="6232862"/>
                </a:lnTo>
                <a:lnTo>
                  <a:pt x="4167462" y="6260352"/>
                </a:lnTo>
                <a:lnTo>
                  <a:pt x="4167462" y="6222620"/>
                </a:lnTo>
                <a:lnTo>
                  <a:pt x="4216946" y="6222620"/>
                </a:lnTo>
                <a:lnTo>
                  <a:pt x="4216946" y="6271204"/>
                </a:lnTo>
                <a:lnTo>
                  <a:pt x="4244455" y="6271204"/>
                </a:lnTo>
                <a:lnTo>
                  <a:pt x="4244455" y="6148448"/>
                </a:lnTo>
                <a:lnTo>
                  <a:pt x="4216946" y="6148448"/>
                </a:lnTo>
                <a:lnTo>
                  <a:pt x="4216946" y="6196512"/>
                </a:lnTo>
                <a:lnTo>
                  <a:pt x="4167462" y="6196512"/>
                </a:lnTo>
                <a:lnTo>
                  <a:pt x="4167462" y="6148448"/>
                </a:lnTo>
                <a:close/>
                <a:moveTo>
                  <a:pt x="5285572" y="6141531"/>
                </a:moveTo>
                <a:lnTo>
                  <a:pt x="5285572" y="6271204"/>
                </a:lnTo>
                <a:lnTo>
                  <a:pt x="5311699" y="6271204"/>
                </a:lnTo>
                <a:lnTo>
                  <a:pt x="5311699" y="6229189"/>
                </a:lnTo>
                <a:cubicBezTo>
                  <a:pt x="5311699" y="6213630"/>
                  <a:pt x="5319310" y="6206540"/>
                  <a:pt x="5329173" y="6206540"/>
                </a:cubicBezTo>
                <a:cubicBezTo>
                  <a:pt x="5338516" y="6206540"/>
                  <a:pt x="5343186" y="6213802"/>
                  <a:pt x="5343186" y="6225731"/>
                </a:cubicBezTo>
                <a:lnTo>
                  <a:pt x="5343186" y="6271204"/>
                </a:lnTo>
                <a:lnTo>
                  <a:pt x="5369312" y="6271204"/>
                </a:lnTo>
                <a:lnTo>
                  <a:pt x="5369312" y="6221237"/>
                </a:lnTo>
                <a:cubicBezTo>
                  <a:pt x="5369312" y="6198586"/>
                  <a:pt x="5357028" y="6182853"/>
                  <a:pt x="5335747" y="6182853"/>
                </a:cubicBezTo>
                <a:cubicBezTo>
                  <a:pt x="5324502" y="6182853"/>
                  <a:pt x="5315850" y="6187695"/>
                  <a:pt x="5311699" y="6193574"/>
                </a:cubicBezTo>
                <a:lnTo>
                  <a:pt x="5311699" y="6141531"/>
                </a:lnTo>
                <a:close/>
                <a:moveTo>
                  <a:pt x="5174334" y="6141531"/>
                </a:moveTo>
                <a:lnTo>
                  <a:pt x="5174334" y="6271204"/>
                </a:lnTo>
                <a:lnTo>
                  <a:pt x="5200460" y="6271204"/>
                </a:lnTo>
                <a:lnTo>
                  <a:pt x="5200460" y="6141531"/>
                </a:lnTo>
                <a:close/>
                <a:moveTo>
                  <a:pt x="4780585" y="6140494"/>
                </a:moveTo>
                <a:cubicBezTo>
                  <a:pt x="4761380" y="6140494"/>
                  <a:pt x="4745808" y="6153288"/>
                  <a:pt x="4745808" y="6175247"/>
                </a:cubicBezTo>
                <a:lnTo>
                  <a:pt x="4745808" y="6184755"/>
                </a:lnTo>
                <a:lnTo>
                  <a:pt x="4728508" y="6184755"/>
                </a:lnTo>
                <a:lnTo>
                  <a:pt x="4728508" y="6207405"/>
                </a:lnTo>
                <a:lnTo>
                  <a:pt x="4745808" y="6207405"/>
                </a:lnTo>
                <a:lnTo>
                  <a:pt x="4745808" y="6271204"/>
                </a:lnTo>
                <a:lnTo>
                  <a:pt x="4771934" y="6271204"/>
                </a:lnTo>
                <a:lnTo>
                  <a:pt x="4771934" y="6207405"/>
                </a:lnTo>
                <a:lnTo>
                  <a:pt x="4796157" y="6207405"/>
                </a:lnTo>
                <a:lnTo>
                  <a:pt x="4796157" y="6184755"/>
                </a:lnTo>
                <a:lnTo>
                  <a:pt x="4771934" y="6184755"/>
                </a:lnTo>
                <a:lnTo>
                  <a:pt x="4771934" y="6178531"/>
                </a:lnTo>
                <a:cubicBezTo>
                  <a:pt x="4771934" y="6168157"/>
                  <a:pt x="4776260" y="6163835"/>
                  <a:pt x="4786814" y="6163835"/>
                </a:cubicBezTo>
                <a:cubicBezTo>
                  <a:pt x="4790620" y="6163835"/>
                  <a:pt x="4793388" y="6164354"/>
                  <a:pt x="4796157" y="6165390"/>
                </a:cubicBezTo>
                <a:lnTo>
                  <a:pt x="4796157" y="6142395"/>
                </a:lnTo>
                <a:cubicBezTo>
                  <a:pt x="4792350" y="6141185"/>
                  <a:pt x="4787505" y="6140494"/>
                  <a:pt x="4780585" y="6140494"/>
                </a:cubicBezTo>
                <a:close/>
                <a:moveTo>
                  <a:pt x="4314342" y="5948845"/>
                </a:moveTo>
                <a:cubicBezTo>
                  <a:pt x="4333989" y="5948845"/>
                  <a:pt x="4347629" y="5958197"/>
                  <a:pt x="4353322" y="5975334"/>
                </a:cubicBezTo>
                <a:lnTo>
                  <a:pt x="4273784" y="5975334"/>
                </a:lnTo>
                <a:cubicBezTo>
                  <a:pt x="4283099" y="5952465"/>
                  <a:pt x="4302832" y="5948845"/>
                  <a:pt x="4314342" y="5948845"/>
                </a:cubicBezTo>
                <a:close/>
                <a:moveTo>
                  <a:pt x="4314018" y="5896018"/>
                </a:moveTo>
                <a:cubicBezTo>
                  <a:pt x="4251288" y="5896018"/>
                  <a:pt x="4213801" y="5947840"/>
                  <a:pt x="4213801" y="5997928"/>
                </a:cubicBezTo>
                <a:cubicBezTo>
                  <a:pt x="4213801" y="6054363"/>
                  <a:pt x="4257965" y="6098568"/>
                  <a:pt x="4314342" y="6098568"/>
                </a:cubicBezTo>
                <a:cubicBezTo>
                  <a:pt x="4343596" y="6098568"/>
                  <a:pt x="4370860" y="6087984"/>
                  <a:pt x="4390755" y="6069221"/>
                </a:cubicBezTo>
                <a:lnTo>
                  <a:pt x="4353830" y="6032391"/>
                </a:lnTo>
                <a:cubicBezTo>
                  <a:pt x="4342433" y="6041921"/>
                  <a:pt x="4332286" y="6045379"/>
                  <a:pt x="4316581" y="6045670"/>
                </a:cubicBezTo>
                <a:cubicBezTo>
                  <a:pt x="4302940" y="6045541"/>
                  <a:pt x="4290657" y="6039928"/>
                  <a:pt x="4281813" y="6030954"/>
                </a:cubicBezTo>
                <a:cubicBezTo>
                  <a:pt x="4279996" y="6029101"/>
                  <a:pt x="4278358" y="6027107"/>
                  <a:pt x="4276855" y="6024995"/>
                </a:cubicBezTo>
                <a:cubicBezTo>
                  <a:pt x="4276509" y="6024460"/>
                  <a:pt x="4276103" y="6023925"/>
                  <a:pt x="4275790" y="6023401"/>
                </a:cubicBezTo>
                <a:lnTo>
                  <a:pt x="4275769" y="6023401"/>
                </a:lnTo>
                <a:cubicBezTo>
                  <a:pt x="4274184" y="6020986"/>
                  <a:pt x="4272757" y="6018463"/>
                  <a:pt x="4271627" y="6015789"/>
                </a:cubicBezTo>
                <a:lnTo>
                  <a:pt x="4410369" y="6015789"/>
                </a:lnTo>
                <a:cubicBezTo>
                  <a:pt x="4411456" y="6010581"/>
                  <a:pt x="4412656" y="6003438"/>
                  <a:pt x="4412656" y="5995059"/>
                </a:cubicBezTo>
                <a:cubicBezTo>
                  <a:pt x="4412656" y="5946376"/>
                  <a:pt x="4375769" y="5896018"/>
                  <a:pt x="4314018" y="5896018"/>
                </a:cubicBezTo>
                <a:close/>
                <a:moveTo>
                  <a:pt x="4110956" y="5896007"/>
                </a:moveTo>
                <a:lnTo>
                  <a:pt x="4110956" y="6096898"/>
                </a:lnTo>
                <a:lnTo>
                  <a:pt x="4167419" y="6096898"/>
                </a:lnTo>
                <a:lnTo>
                  <a:pt x="4167419" y="5947559"/>
                </a:lnTo>
                <a:lnTo>
                  <a:pt x="4212811" y="5947559"/>
                </a:lnTo>
                <a:lnTo>
                  <a:pt x="4212811" y="5896007"/>
                </a:lnTo>
                <a:close/>
                <a:moveTo>
                  <a:pt x="4529422" y="5895985"/>
                </a:moveTo>
                <a:lnTo>
                  <a:pt x="4528470" y="5896050"/>
                </a:lnTo>
                <a:cubicBezTo>
                  <a:pt x="4473201" y="5896471"/>
                  <a:pt x="4428372" y="5941448"/>
                  <a:pt x="4428372" y="5996690"/>
                </a:cubicBezTo>
                <a:cubicBezTo>
                  <a:pt x="4428372" y="6059636"/>
                  <a:pt x="4480905" y="6098600"/>
                  <a:pt x="4529811" y="6098600"/>
                </a:cubicBezTo>
                <a:cubicBezTo>
                  <a:pt x="4561611" y="6098600"/>
                  <a:pt x="4588432" y="6086087"/>
                  <a:pt x="4609549" y="6061403"/>
                </a:cubicBezTo>
                <a:lnTo>
                  <a:pt x="4613733" y="6056497"/>
                </a:lnTo>
                <a:lnTo>
                  <a:pt x="4577722" y="6020456"/>
                </a:lnTo>
                <a:lnTo>
                  <a:pt x="4572624" y="6025594"/>
                </a:lnTo>
                <a:cubicBezTo>
                  <a:pt x="4556826" y="6041359"/>
                  <a:pt x="4549825" y="6045638"/>
                  <a:pt x="4530741" y="6045762"/>
                </a:cubicBezTo>
                <a:cubicBezTo>
                  <a:pt x="4504574" y="6045540"/>
                  <a:pt x="4484846" y="6024719"/>
                  <a:pt x="4484846" y="5997333"/>
                </a:cubicBezTo>
                <a:cubicBezTo>
                  <a:pt x="4484846" y="5964053"/>
                  <a:pt x="4508056" y="5948877"/>
                  <a:pt x="4529611" y="5948855"/>
                </a:cubicBezTo>
                <a:lnTo>
                  <a:pt x="4530573" y="5948790"/>
                </a:lnTo>
                <a:cubicBezTo>
                  <a:pt x="4549771" y="5948899"/>
                  <a:pt x="4556918" y="5953285"/>
                  <a:pt x="4572602" y="5968948"/>
                </a:cubicBezTo>
                <a:lnTo>
                  <a:pt x="4577700" y="5974064"/>
                </a:lnTo>
                <a:lnTo>
                  <a:pt x="4613733" y="5938061"/>
                </a:lnTo>
                <a:lnTo>
                  <a:pt x="4609538" y="5933145"/>
                </a:lnTo>
                <a:cubicBezTo>
                  <a:pt x="4588334" y="5908347"/>
                  <a:pt x="4561314" y="5895807"/>
                  <a:pt x="4529422" y="5895985"/>
                </a:cubicBezTo>
                <a:close/>
                <a:moveTo>
                  <a:pt x="3912831" y="5863028"/>
                </a:moveTo>
                <a:lnTo>
                  <a:pt x="3912831" y="5990061"/>
                </a:lnTo>
                <a:cubicBezTo>
                  <a:pt x="3912831" y="5994795"/>
                  <a:pt x="3912526" y="5999870"/>
                  <a:pt x="3911858" y="6004922"/>
                </a:cubicBezTo>
                <a:lnTo>
                  <a:pt x="3911858" y="6004922"/>
                </a:lnTo>
                <a:lnTo>
                  <a:pt x="3911858" y="6004923"/>
                </a:lnTo>
                <a:lnTo>
                  <a:pt x="3769924" y="5863087"/>
                </a:lnTo>
                <a:lnTo>
                  <a:pt x="3769924" y="5990060"/>
                </a:lnTo>
                <a:cubicBezTo>
                  <a:pt x="3769924" y="6026733"/>
                  <a:pt x="3779406" y="6047268"/>
                  <a:pt x="3787489" y="6058013"/>
                </a:cubicBezTo>
                <a:cubicBezTo>
                  <a:pt x="3802091" y="6077587"/>
                  <a:pt x="3831837" y="6098501"/>
                  <a:pt x="3871536" y="6098501"/>
                </a:cubicBezTo>
                <a:cubicBezTo>
                  <a:pt x="3911235" y="6098501"/>
                  <a:pt x="3940980" y="6077587"/>
                  <a:pt x="3955583" y="6058013"/>
                </a:cubicBezTo>
                <a:cubicBezTo>
                  <a:pt x="3956814" y="6056376"/>
                  <a:pt x="3958077" y="6054481"/>
                  <a:pt x="3959335" y="6052367"/>
                </a:cubicBezTo>
                <a:lnTo>
                  <a:pt x="3959334" y="6052365"/>
                </a:lnTo>
                <a:lnTo>
                  <a:pt x="3959336" y="6052367"/>
                </a:lnTo>
                <a:cubicBezTo>
                  <a:pt x="3966334" y="6040605"/>
                  <a:pt x="3973148" y="6021145"/>
                  <a:pt x="3973148" y="5990060"/>
                </a:cubicBezTo>
                <a:lnTo>
                  <a:pt x="3973148" y="5863028"/>
                </a:lnTo>
                <a:close/>
                <a:moveTo>
                  <a:pt x="4056543" y="5839377"/>
                </a:moveTo>
                <a:lnTo>
                  <a:pt x="4000068" y="5896018"/>
                </a:lnTo>
                <a:lnTo>
                  <a:pt x="4000068" y="6096899"/>
                </a:lnTo>
                <a:lnTo>
                  <a:pt x="4056543" y="6096899"/>
                </a:lnTo>
                <a:lnTo>
                  <a:pt x="4056543" y="5947559"/>
                </a:lnTo>
                <a:lnTo>
                  <a:pt x="4093208" y="5947559"/>
                </a:lnTo>
                <a:lnTo>
                  <a:pt x="4093208" y="5896008"/>
                </a:lnTo>
                <a:lnTo>
                  <a:pt x="4056543" y="5896008"/>
                </a:lnTo>
                <a:close/>
                <a:moveTo>
                  <a:pt x="4690438" y="5839296"/>
                </a:moveTo>
                <a:lnTo>
                  <a:pt x="4633974" y="5896019"/>
                </a:lnTo>
                <a:cubicBezTo>
                  <a:pt x="4633974" y="5896019"/>
                  <a:pt x="4633499" y="6090529"/>
                  <a:pt x="4633974" y="6096898"/>
                </a:cubicBezTo>
                <a:lnTo>
                  <a:pt x="4690438" y="6096898"/>
                </a:lnTo>
                <a:lnTo>
                  <a:pt x="4690438" y="5996167"/>
                </a:lnTo>
                <a:cubicBezTo>
                  <a:pt x="4690438" y="5963103"/>
                  <a:pt x="4699029" y="5948996"/>
                  <a:pt x="4719194" y="5948996"/>
                </a:cubicBezTo>
                <a:cubicBezTo>
                  <a:pt x="4740349" y="5948996"/>
                  <a:pt x="4748594" y="5962038"/>
                  <a:pt x="4748594" y="5995529"/>
                </a:cubicBezTo>
                <a:lnTo>
                  <a:pt x="4748594" y="6096898"/>
                </a:lnTo>
                <a:lnTo>
                  <a:pt x="4805057" y="6096898"/>
                </a:lnTo>
                <a:lnTo>
                  <a:pt x="4805057" y="5986296"/>
                </a:lnTo>
                <a:cubicBezTo>
                  <a:pt x="4805057" y="5972092"/>
                  <a:pt x="4805057" y="5945647"/>
                  <a:pt x="4789514" y="5925917"/>
                </a:cubicBezTo>
                <a:cubicBezTo>
                  <a:pt x="4775522" y="5908120"/>
                  <a:pt x="4751373" y="5896164"/>
                  <a:pt x="4729407" y="5896164"/>
                </a:cubicBezTo>
                <a:cubicBezTo>
                  <a:pt x="4714891" y="5896164"/>
                  <a:pt x="4701824" y="5899849"/>
                  <a:pt x="4690438" y="5907142"/>
                </a:cubicBezTo>
                <a:close/>
                <a:moveTo>
                  <a:pt x="4889213" y="5839295"/>
                </a:moveTo>
                <a:lnTo>
                  <a:pt x="4832749" y="5896018"/>
                </a:lnTo>
                <a:lnTo>
                  <a:pt x="4832749" y="6096897"/>
                </a:lnTo>
                <a:lnTo>
                  <a:pt x="4889213" y="6096897"/>
                </a:lnTo>
                <a:lnTo>
                  <a:pt x="4889213" y="5947483"/>
                </a:lnTo>
                <a:lnTo>
                  <a:pt x="4925889" y="5947483"/>
                </a:lnTo>
                <a:lnTo>
                  <a:pt x="4925889" y="5895931"/>
                </a:lnTo>
                <a:lnTo>
                  <a:pt x="4889213" y="5895931"/>
                </a:lnTo>
                <a:close/>
                <a:moveTo>
                  <a:pt x="0" y="0"/>
                </a:moveTo>
                <a:lnTo>
                  <a:pt x="5947441" y="0"/>
                </a:lnTo>
                <a:lnTo>
                  <a:pt x="5947441" y="6857998"/>
                </a:lnTo>
                <a:lnTo>
                  <a:pt x="0" y="6857998"/>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6" name="Text Placeholder 3">
            <a:extLst>
              <a:ext uri="{FF2B5EF4-FFF2-40B4-BE49-F238E27FC236}">
                <a16:creationId xmlns:a16="http://schemas.microsoft.com/office/drawing/2014/main" id="{0B553010-FC8D-055B-FDC2-FCCD05240F7E}"/>
              </a:ext>
            </a:extLst>
          </p:cNvPr>
          <p:cNvSpPr>
            <a:spLocks noGrp="1"/>
          </p:cNvSpPr>
          <p:nvPr>
            <p:ph type="body" sz="quarter" idx="10"/>
          </p:nvPr>
        </p:nvSpPr>
        <p:spPr>
          <a:xfrm>
            <a:off x="1139124" y="2003728"/>
            <a:ext cx="4550476" cy="3650247"/>
          </a:xfrm>
        </p:spPr>
        <p:txBody>
          <a:bodyPr/>
          <a:lstStyle>
            <a:lvl1pPr>
              <a:spcAft>
                <a:spcPts val="600"/>
              </a:spcAft>
              <a:defRPr>
                <a:solidFill>
                  <a:schemeClr val="bg1"/>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Tree>
    <p:extLst>
      <p:ext uri="{BB962C8B-B14F-4D97-AF65-F5344CB8AC3E}">
        <p14:creationId xmlns:p14="http://schemas.microsoft.com/office/powerpoint/2010/main" val="18111625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eeld combi I">
    <p:bg>
      <p:bgPr>
        <a:solidFill>
          <a:schemeClr val="bg1"/>
        </a:solidFill>
        <a:effectLst/>
      </p:bgPr>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2C192FED-4A79-2B2A-1DE4-15A1763F7564}"/>
              </a:ext>
            </a:extLst>
          </p:cNvPr>
          <p:cNvSpPr/>
          <p:nvPr userDrawn="1"/>
        </p:nvSpPr>
        <p:spPr>
          <a:xfrm>
            <a:off x="6096000"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rgbClr val="7A3500"/>
          </a:solidFill>
          <a:ln w="12700" cap="flat">
            <a:solidFill>
              <a:srgbClr val="7A3500"/>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6" name="Freeform: Shape 5">
            <a:extLst>
              <a:ext uri="{FF2B5EF4-FFF2-40B4-BE49-F238E27FC236}">
                <a16:creationId xmlns:a16="http://schemas.microsoft.com/office/drawing/2014/main" id="{25776F8F-2CCE-8AA3-EBD8-E9D64243ED70}"/>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chemeClr val="accent1"/>
          </a:solidFill>
          <a:ln w="12700"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9" name="Picture Placeholder 8">
            <a:extLst>
              <a:ext uri="{FF2B5EF4-FFF2-40B4-BE49-F238E27FC236}">
                <a16:creationId xmlns:a16="http://schemas.microsoft.com/office/drawing/2014/main" id="{24F755E1-3742-C717-F70D-63D4201C2887}"/>
              </a:ext>
            </a:extLst>
          </p:cNvPr>
          <p:cNvSpPr>
            <a:spLocks noGrp="1"/>
          </p:cNvSpPr>
          <p:nvPr>
            <p:ph type="pic" sz="quarter" idx="11"/>
          </p:nvPr>
        </p:nvSpPr>
        <p:spPr>
          <a:xfrm>
            <a:off x="6096000" y="0"/>
            <a:ext cx="6096000" cy="5705659"/>
          </a:xfrm>
          <a:custGeom>
            <a:avLst/>
            <a:gdLst>
              <a:gd name="connsiteX0" fmla="*/ 0 w 6096000"/>
              <a:gd name="connsiteY0" fmla="*/ 0 h 5705659"/>
              <a:gd name="connsiteX1" fmla="*/ 6096000 w 6096000"/>
              <a:gd name="connsiteY1" fmla="*/ 0 h 5705659"/>
              <a:gd name="connsiteX2" fmla="*/ 6096000 w 6096000"/>
              <a:gd name="connsiteY2" fmla="*/ 5705659 h 5705659"/>
              <a:gd name="connsiteX3" fmla="*/ 2934617 w 6096000"/>
              <a:gd name="connsiteY3" fmla="*/ 2549416 h 5705659"/>
              <a:gd name="connsiteX4" fmla="*/ 119700 w 6096000"/>
              <a:gd name="connsiteY4" fmla="*/ 724468 h 5705659"/>
              <a:gd name="connsiteX5" fmla="*/ 0 w 6096000"/>
              <a:gd name="connsiteY5" fmla="*/ 693739 h 570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5705659">
                <a:moveTo>
                  <a:pt x="0" y="0"/>
                </a:moveTo>
                <a:lnTo>
                  <a:pt x="6096000" y="0"/>
                </a:lnTo>
                <a:lnTo>
                  <a:pt x="6096000" y="5705659"/>
                </a:lnTo>
                <a:lnTo>
                  <a:pt x="2934617" y="2549416"/>
                </a:lnTo>
                <a:cubicBezTo>
                  <a:pt x="1797550" y="1414196"/>
                  <a:pt x="828266" y="922995"/>
                  <a:pt x="119700" y="724468"/>
                </a:cubicBezTo>
                <a:lnTo>
                  <a:pt x="0" y="693739"/>
                </a:lnTo>
                <a:close/>
              </a:path>
            </a:pathLst>
          </a:custGeom>
          <a:solidFill>
            <a:schemeClr val="bg1">
              <a:lumMod val="95000"/>
            </a:schemeClr>
          </a:solidFill>
        </p:spPr>
        <p:txBody>
          <a:bodyPr wrap="square" lIns="0" tIns="109728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dirty="0"/>
              <a:t>Klik op het pictogram als u een afbeelding wilt toevoegen</a:t>
            </a:r>
            <a:endParaRPr lang="en-GB" dirty="0"/>
          </a:p>
        </p:txBody>
      </p:sp>
      <p:sp>
        <p:nvSpPr>
          <p:cNvPr id="10" name="Picture Placeholder 2">
            <a:extLst>
              <a:ext uri="{FF2B5EF4-FFF2-40B4-BE49-F238E27FC236}">
                <a16:creationId xmlns:a16="http://schemas.microsoft.com/office/drawing/2014/main" id="{BF674E6D-FFF3-0400-36F2-63C8D7905006}"/>
              </a:ext>
            </a:extLst>
          </p:cNvPr>
          <p:cNvSpPr>
            <a:spLocks noGrp="1"/>
          </p:cNvSpPr>
          <p:nvPr>
            <p:ph type="pic" sz="quarter" idx="10"/>
          </p:nvPr>
        </p:nvSpPr>
        <p:spPr>
          <a:xfrm>
            <a:off x="0" y="585773"/>
            <a:ext cx="6096000" cy="6272226"/>
          </a:xfrm>
          <a:custGeom>
            <a:avLst/>
            <a:gdLst>
              <a:gd name="connsiteX0" fmla="*/ 5205643 w 6096000"/>
              <a:gd name="connsiteY0" fmla="*/ 1043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 name="connsiteX10" fmla="*/ 5205643 w 6096000"/>
              <a:gd name="connsiteY10" fmla="*/ 1043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272226">
                <a:moveTo>
                  <a:pt x="5205643" y="1043"/>
                </a:moveTo>
                <a:cubicBezTo>
                  <a:pt x="5410229" y="5180"/>
                  <a:pt x="5605325" y="21537"/>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ubicBezTo>
                  <a:pt x="5068197" y="-358"/>
                  <a:pt x="5137447" y="-336"/>
                  <a:pt x="5205643" y="1043"/>
                </a:cubicBezTo>
                <a:close/>
              </a:path>
            </a:pathLst>
          </a:custGeom>
          <a:solidFill>
            <a:schemeClr val="bg1">
              <a:lumMod val="95000"/>
            </a:schemeClr>
          </a:solidFill>
        </p:spPr>
        <p:txBody>
          <a:bodyPr wrap="square" tIns="109728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2" name="Freeform: Shape 1">
            <a:extLst>
              <a:ext uri="{FF2B5EF4-FFF2-40B4-BE49-F238E27FC236}">
                <a16:creationId xmlns:a16="http://schemas.microsoft.com/office/drawing/2014/main" id="{CE8AC93A-8487-6606-A146-CBBB8D65913D}"/>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4" name="Freeform: Shape 3">
            <a:extLst>
              <a:ext uri="{FF2B5EF4-FFF2-40B4-BE49-F238E27FC236}">
                <a16:creationId xmlns:a16="http://schemas.microsoft.com/office/drawing/2014/main" id="{72774BA4-5BB5-F049-2C2F-8505A6E3D0EC}"/>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grpSp>
        <p:nvGrpSpPr>
          <p:cNvPr id="3" name="Groep 2">
            <a:extLst>
              <a:ext uri="{FF2B5EF4-FFF2-40B4-BE49-F238E27FC236}">
                <a16:creationId xmlns:a16="http://schemas.microsoft.com/office/drawing/2014/main" id="{51777BCD-98A7-CFF6-B016-44426407BC4D}"/>
              </a:ext>
            </a:extLst>
          </p:cNvPr>
          <p:cNvGrpSpPr/>
          <p:nvPr userDrawn="1"/>
        </p:nvGrpSpPr>
        <p:grpSpPr>
          <a:xfrm>
            <a:off x="10014482" y="5839298"/>
            <a:ext cx="1599388" cy="433809"/>
            <a:chOff x="3101010" y="1249096"/>
            <a:chExt cx="3978412" cy="1079079"/>
          </a:xfrm>
          <a:solidFill>
            <a:schemeClr val="bg1"/>
          </a:solidFill>
        </p:grpSpPr>
        <p:sp>
          <p:nvSpPr>
            <p:cNvPr id="7" name="Vrije vorm 6">
              <a:extLst>
                <a:ext uri="{FF2B5EF4-FFF2-40B4-BE49-F238E27FC236}">
                  <a16:creationId xmlns:a16="http://schemas.microsoft.com/office/drawing/2014/main" id="{99F1A110-79DE-4345-C5B8-B1B96E56F708}"/>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B12AB30F-6434-77B2-B3F6-85220FC29892}"/>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0D3E8387-3F39-59D1-C780-6AB23B44FA85}"/>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CFEAC7F8-6237-4B2E-93AF-8FE213B5DF6F}"/>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FF186923-722B-CFFF-E56D-BD2B6952F990}"/>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78BAED32-DEA1-53BA-37AA-2AC9970DDF1A}"/>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7F49FBB9-E210-A1CD-55C1-E5AD20B83967}"/>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AB4948C3-BBFF-43D9-7648-19DE247BCA9C}"/>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7" name="Subtitle 2">
            <a:extLst>
              <a:ext uri="{FF2B5EF4-FFF2-40B4-BE49-F238E27FC236}">
                <a16:creationId xmlns:a16="http://schemas.microsoft.com/office/drawing/2014/main" id="{499F3EC5-FDB6-A48C-1AAF-CE84652A9F6F}"/>
              </a:ext>
            </a:extLst>
          </p:cNvPr>
          <p:cNvSpPr>
            <a:spLocks noGrp="1"/>
          </p:cNvSpPr>
          <p:nvPr>
            <p:ph type="subTitle" idx="1" hasCustomPrompt="1"/>
          </p:nvPr>
        </p:nvSpPr>
        <p:spPr>
          <a:xfrm>
            <a:off x="6588049" y="4597046"/>
            <a:ext cx="5016576" cy="769441"/>
          </a:xfrm>
          <a:noFill/>
        </p:spPr>
        <p:txBody>
          <a:bodyPr wrap="square" anchor="b" anchorCtr="0">
            <a:spAutoFit/>
          </a:bodyPr>
          <a:lstStyle>
            <a:lvl1pPr marL="0" indent="0" algn="l">
              <a:buNone/>
              <a:defRPr sz="50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Titel</a:t>
            </a:r>
          </a:p>
        </p:txBody>
      </p:sp>
    </p:spTree>
    <p:extLst>
      <p:ext uri="{BB962C8B-B14F-4D97-AF65-F5344CB8AC3E}">
        <p14:creationId xmlns:p14="http://schemas.microsoft.com/office/powerpoint/2010/main" val="34728175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eeld combi II">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2" name="Freeform: Shape 1">
            <a:extLst>
              <a:ext uri="{FF2B5EF4-FFF2-40B4-BE49-F238E27FC236}">
                <a16:creationId xmlns:a16="http://schemas.microsoft.com/office/drawing/2014/main" id="{E3307B83-DBC3-7D62-5A15-A61F544B5BF7}"/>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3" name="Picture Placeholder 16">
            <a:extLst>
              <a:ext uri="{FF2B5EF4-FFF2-40B4-BE49-F238E27FC236}">
                <a16:creationId xmlns:a16="http://schemas.microsoft.com/office/drawing/2014/main" id="{0F3F83B8-F1DF-3F06-9CE1-76864D54D29C}"/>
              </a:ext>
            </a:extLst>
          </p:cNvPr>
          <p:cNvSpPr>
            <a:spLocks noGrp="1"/>
          </p:cNvSpPr>
          <p:nvPr>
            <p:ph type="pic" sz="quarter" idx="11" hasCustomPrompt="1"/>
          </p:nvPr>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0 w 4740914"/>
              <a:gd name="connsiteY0" fmla="*/ 685800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589444 w 5330358"/>
              <a:gd name="connsiteY0" fmla="*/ 6858000 h 6858000"/>
              <a:gd name="connsiteX1" fmla="*/ 594525 w 5330358"/>
              <a:gd name="connsiteY1" fmla="*/ 4813300 h 6858000"/>
              <a:gd name="connsiteX2" fmla="*/ 5325277 w 5330358"/>
              <a:gd name="connsiteY2" fmla="*/ 5190 h 6858000"/>
              <a:gd name="connsiteX3" fmla="*/ 5325277 w 5330358"/>
              <a:gd name="connsiteY3" fmla="*/ 0 h 6858000"/>
              <a:gd name="connsiteX4" fmla="*/ 5330358 w 5330358"/>
              <a:gd name="connsiteY4" fmla="*/ 0 h 6858000"/>
              <a:gd name="connsiteX5" fmla="*/ 5330358 w 5330358"/>
              <a:gd name="connsiteY5" fmla="*/ 6858000 h 6858000"/>
              <a:gd name="connsiteX6" fmla="*/ 589444 w 5330358"/>
              <a:gd name="connsiteY6" fmla="*/ 6858000 h 6858000"/>
              <a:gd name="connsiteX0" fmla="*/ 0 w 4740914"/>
              <a:gd name="connsiteY0" fmla="*/ 6858000 h 6858000"/>
              <a:gd name="connsiteX1" fmla="*/ 5081 w 4740914"/>
              <a:gd name="connsiteY1" fmla="*/ 4813300 h 6858000"/>
              <a:gd name="connsiteX2" fmla="*/ 4735833 w 4740914"/>
              <a:gd name="connsiteY2" fmla="*/ 5190 h 6858000"/>
              <a:gd name="connsiteX3" fmla="*/ 4735833 w 4740914"/>
              <a:gd name="connsiteY3" fmla="*/ 0 h 6858000"/>
              <a:gd name="connsiteX4" fmla="*/ 4740914 w 4740914"/>
              <a:gd name="connsiteY4" fmla="*/ 0 h 6858000"/>
              <a:gd name="connsiteX5" fmla="*/ 4740914 w 4740914"/>
              <a:gd name="connsiteY5" fmla="*/ 6858000 h 6858000"/>
              <a:gd name="connsiteX6" fmla="*/ 0 w 474091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0914" h="6858000">
                <a:moveTo>
                  <a:pt x="0" y="6858000"/>
                </a:moveTo>
                <a:cubicBezTo>
                  <a:pt x="1694" y="6176433"/>
                  <a:pt x="3387" y="5494867"/>
                  <a:pt x="5081" y="4813300"/>
                </a:cubicBezTo>
                <a:lnTo>
                  <a:pt x="4735833" y="5190"/>
                </a:lnTo>
                <a:lnTo>
                  <a:pt x="4735833" y="0"/>
                </a:lnTo>
                <a:lnTo>
                  <a:pt x="4740914" y="0"/>
                </a:lnTo>
                <a:lnTo>
                  <a:pt x="4740914" y="6858000"/>
                </a:lnTo>
                <a:lnTo>
                  <a:pt x="0" y="6858000"/>
                </a:lnTo>
                <a:close/>
              </a:path>
            </a:pathLst>
          </a:custGeom>
          <a:solidFill>
            <a:schemeClr val="bg1">
              <a:lumMod val="95000"/>
            </a:schemeClr>
          </a:solidFill>
        </p:spPr>
        <p:txBody>
          <a:bodyPr wrap="square" bIns="731520" anchor="b" anchorCtr="0">
            <a:noAutofit/>
          </a:bodyPr>
          <a:lstStyle>
            <a:lvl1pPr algn="ctr">
              <a:defRPr sz="1800"/>
            </a:lvl1pPr>
          </a:lstStyle>
          <a:p>
            <a:r>
              <a:rPr lang="en-GB" dirty="0" err="1"/>
              <a:t>Beeld</a:t>
            </a:r>
            <a:endParaRPr lang="en-GB" dirty="0"/>
          </a:p>
        </p:txBody>
      </p:sp>
      <p:sp>
        <p:nvSpPr>
          <p:cNvPr id="5" name="Freeform: Shape 4">
            <a:extLst>
              <a:ext uri="{FF2B5EF4-FFF2-40B4-BE49-F238E27FC236}">
                <a16:creationId xmlns:a16="http://schemas.microsoft.com/office/drawing/2014/main" id="{4446B1C0-15D9-F2CA-72FD-FAAE18B0F47D}"/>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7A3500"/>
          </a:solidFill>
          <a:ln w="12700" cap="flat">
            <a:solidFill>
              <a:srgbClr val="7A3500"/>
            </a:solidFill>
            <a:prstDash val="solid"/>
            <a:miter/>
          </a:ln>
        </p:spPr>
        <p:txBody>
          <a:bodyPr rtlCol="0" anchor="ctr"/>
          <a:lstStyle/>
          <a:p>
            <a:pPr lvl="0"/>
            <a:endParaRPr lang="en-GB"/>
          </a:p>
        </p:txBody>
      </p:sp>
      <p:sp>
        <p:nvSpPr>
          <p:cNvPr id="6" name="Freeform: Shape 5">
            <a:extLst>
              <a:ext uri="{FF2B5EF4-FFF2-40B4-BE49-F238E27FC236}">
                <a16:creationId xmlns:a16="http://schemas.microsoft.com/office/drawing/2014/main" id="{9ABB4701-D74D-5E59-D292-17E5679479BF}"/>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chemeClr val="accent1"/>
          </a:solidFill>
          <a:ln w="12700" cap="flat">
            <a:solidFill>
              <a:schemeClr val="accent1"/>
            </a:solidFill>
            <a:prstDash val="solid"/>
            <a:miter/>
          </a:ln>
        </p:spPr>
        <p:txBody>
          <a:bodyPr rtlCol="0" anchor="ctr"/>
          <a:lstStyle/>
          <a:p>
            <a:pPr lvl="0"/>
            <a:endParaRPr lang="en-GB"/>
          </a:p>
        </p:txBody>
      </p:sp>
      <p:sp>
        <p:nvSpPr>
          <p:cNvPr id="7" name="Freeform: Shape 6">
            <a:extLst>
              <a:ext uri="{FF2B5EF4-FFF2-40B4-BE49-F238E27FC236}">
                <a16:creationId xmlns:a16="http://schemas.microsoft.com/office/drawing/2014/main" id="{D06DBBCB-A858-8C7A-9509-4DCFC2A4B3AF}"/>
              </a:ext>
            </a:extLst>
          </p:cNvPr>
          <p:cNvSpPr/>
          <p:nvPr userDrawn="1"/>
        </p:nvSpPr>
        <p:spPr>
          <a:xfrm>
            <a:off x="5414619"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6"/>
          </a:solidFill>
          <a:ln w="19050" cap="flat">
            <a:solidFill>
              <a:schemeClr val="accent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8" name="Picture Placeholder 14">
            <a:extLst>
              <a:ext uri="{FF2B5EF4-FFF2-40B4-BE49-F238E27FC236}">
                <a16:creationId xmlns:a16="http://schemas.microsoft.com/office/drawing/2014/main" id="{12BD120E-42F7-F9A4-6792-01EA17A07D96}"/>
              </a:ext>
            </a:extLst>
          </p:cNvPr>
          <p:cNvSpPr>
            <a:spLocks noGrp="1"/>
          </p:cNvSpPr>
          <p:nvPr>
            <p:ph type="pic" sz="quarter" idx="10" hasCustomPrompt="1"/>
          </p:nvPr>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4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4"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bg1">
              <a:lumMod val="95000"/>
            </a:schemeClr>
          </a:solidFill>
        </p:spPr>
        <p:txBody>
          <a:bodyPr wrap="square" tIns="1097280" anchor="t" anchorCtr="0">
            <a:noAutofit/>
          </a:bodyPr>
          <a:lstStyle>
            <a:lvl1pPr algn="ctr">
              <a:defRPr sz="1800"/>
            </a:lvl1pPr>
          </a:lstStyle>
          <a:p>
            <a:r>
              <a:rPr lang="en-GB" dirty="0" err="1"/>
              <a:t>Beeld</a:t>
            </a:r>
            <a:endParaRPr lang="en-GB" dirty="0"/>
          </a:p>
        </p:txBody>
      </p:sp>
    </p:spTree>
    <p:extLst>
      <p:ext uri="{BB962C8B-B14F-4D97-AF65-F5344CB8AC3E}">
        <p14:creationId xmlns:p14="http://schemas.microsoft.com/office/powerpoint/2010/main" val="37736029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eeld combi III">
    <p:bg>
      <p:bgPr>
        <a:solidFill>
          <a:schemeClr val="bg1"/>
        </a:soli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4" name="Freeform: Shape 3">
            <a:extLst>
              <a:ext uri="{FF2B5EF4-FFF2-40B4-BE49-F238E27FC236}">
                <a16:creationId xmlns:a16="http://schemas.microsoft.com/office/drawing/2014/main" id="{C47570DD-D844-02A3-1859-571774A8A2AE}"/>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DD34A338-3EE4-C4B2-6F59-B8A8C0C123B2}"/>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3" name="Picture Placeholder 2">
            <a:extLst>
              <a:ext uri="{FF2B5EF4-FFF2-40B4-BE49-F238E27FC236}">
                <a16:creationId xmlns:a16="http://schemas.microsoft.com/office/drawing/2014/main" id="{107E3771-29F0-2126-520E-7460D06590A7}"/>
              </a:ext>
            </a:extLst>
          </p:cNvPr>
          <p:cNvSpPr>
            <a:spLocks noGrp="1"/>
          </p:cNvSpPr>
          <p:nvPr>
            <p:ph type="pic" sz="quarter" idx="10" hasCustomPrompt="1"/>
          </p:nvPr>
        </p:nvSpPr>
        <p:spPr>
          <a:xfrm>
            <a:off x="0" y="546736"/>
            <a:ext cx="8858789" cy="6311263"/>
          </a:xfrm>
          <a:custGeom>
            <a:avLst/>
            <a:gdLst>
              <a:gd name="connsiteX0" fmla="*/ 0 w 8858789"/>
              <a:gd name="connsiteY0" fmla="*/ 0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9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0 w 8858789"/>
              <a:gd name="connsiteY0" fmla="*/ 4342128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9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98900 w 8957689"/>
              <a:gd name="connsiteY0" fmla="*/ 3795391 h 6311263"/>
              <a:gd name="connsiteX1" fmla="*/ 98901 w 8957689"/>
              <a:gd name="connsiteY1" fmla="*/ 3780248 h 6311263"/>
              <a:gd name="connsiteX2" fmla="*/ 1434066 w 8957689"/>
              <a:gd name="connsiteY2" fmla="*/ 1712382 h 6311263"/>
              <a:gd name="connsiteX3" fmla="*/ 5386652 w 8957689"/>
              <a:gd name="connsiteY3" fmla="*/ 1066 h 6311263"/>
              <a:gd name="connsiteX4" fmla="*/ 6178419 w 8957689"/>
              <a:gd name="connsiteY4" fmla="*/ 48251 h 6311263"/>
              <a:gd name="connsiteX5" fmla="*/ 8925370 w 8957689"/>
              <a:gd name="connsiteY5" fmla="*/ 1494767 h 6311263"/>
              <a:gd name="connsiteX6" fmla="*/ 8957689 w 8957689"/>
              <a:gd name="connsiteY6" fmla="*/ 1525097 h 6311263"/>
              <a:gd name="connsiteX7" fmla="*/ 8957689 w 8957689"/>
              <a:gd name="connsiteY7" fmla="*/ 1538249 h 6311263"/>
              <a:gd name="connsiteX8" fmla="*/ 4208438 w 8957689"/>
              <a:gd name="connsiteY8" fmla="*/ 6311263 h 6311263"/>
              <a:gd name="connsiteX9" fmla="*/ 98901 w 8957689"/>
              <a:gd name="connsiteY9" fmla="*/ 6311263 h 6311263"/>
              <a:gd name="connsiteX10" fmla="*/ 98901 w 8957689"/>
              <a:gd name="connsiteY10" fmla="*/ 3795389 h 6311263"/>
              <a:gd name="connsiteX11" fmla="*/ 98900 w 8957689"/>
              <a:gd name="connsiteY11" fmla="*/ 3795391 h 6311263"/>
              <a:gd name="connsiteX0" fmla="*/ 0 w 8858789"/>
              <a:gd name="connsiteY0" fmla="*/ 3795391 h 6311263"/>
              <a:gd name="connsiteX1" fmla="*/ 1 w 8858789"/>
              <a:gd name="connsiteY1" fmla="*/ 3780248 h 6311263"/>
              <a:gd name="connsiteX2" fmla="*/ 1335166 w 8858789"/>
              <a:gd name="connsiteY2" fmla="*/ 1712382 h 6311263"/>
              <a:gd name="connsiteX3" fmla="*/ 5287752 w 8858789"/>
              <a:gd name="connsiteY3" fmla="*/ 1066 h 6311263"/>
              <a:gd name="connsiteX4" fmla="*/ 6079519 w 8858789"/>
              <a:gd name="connsiteY4" fmla="*/ 48251 h 6311263"/>
              <a:gd name="connsiteX5" fmla="*/ 8826470 w 8858789"/>
              <a:gd name="connsiteY5" fmla="*/ 1494767 h 6311263"/>
              <a:gd name="connsiteX6" fmla="*/ 8858789 w 8858789"/>
              <a:gd name="connsiteY6" fmla="*/ 1525097 h 6311263"/>
              <a:gd name="connsiteX7" fmla="*/ 8858789 w 8858789"/>
              <a:gd name="connsiteY7" fmla="*/ 1538249 h 6311263"/>
              <a:gd name="connsiteX8" fmla="*/ 4109538 w 8858789"/>
              <a:gd name="connsiteY8" fmla="*/ 6311263 h 6311263"/>
              <a:gd name="connsiteX9" fmla="*/ 1 w 8858789"/>
              <a:gd name="connsiteY9" fmla="*/ 6311263 h 6311263"/>
              <a:gd name="connsiteX10" fmla="*/ 1 w 8858789"/>
              <a:gd name="connsiteY10" fmla="*/ 3795389 h 6311263"/>
              <a:gd name="connsiteX11" fmla="*/ 0 w 8858789"/>
              <a:gd name="connsiteY11" fmla="*/ 3795391 h 63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789" h="6311263">
                <a:moveTo>
                  <a:pt x="0" y="3795391"/>
                </a:moveTo>
                <a:cubicBezTo>
                  <a:pt x="0" y="3790343"/>
                  <a:pt x="1" y="3785296"/>
                  <a:pt x="1" y="3780248"/>
                </a:cubicBezTo>
                <a:cubicBezTo>
                  <a:pt x="267925" y="3068601"/>
                  <a:pt x="696857" y="2353120"/>
                  <a:pt x="1335166" y="1712382"/>
                </a:cubicBezTo>
                <a:cubicBezTo>
                  <a:pt x="2563733" y="479137"/>
                  <a:pt x="4068321" y="25656"/>
                  <a:pt x="5287752" y="1066"/>
                </a:cubicBezTo>
                <a:cubicBezTo>
                  <a:pt x="5569159" y="-4609"/>
                  <a:pt x="5835380" y="12558"/>
                  <a:pt x="6079519" y="48251"/>
                </a:cubicBezTo>
                <a:cubicBezTo>
                  <a:pt x="6707087" y="137127"/>
                  <a:pt x="7661107" y="472509"/>
                  <a:pt x="8826470" y="1494767"/>
                </a:cubicBezTo>
                <a:lnTo>
                  <a:pt x="8858789" y="1525097"/>
                </a:lnTo>
                <a:lnTo>
                  <a:pt x="8858789" y="1538249"/>
                </a:lnTo>
                <a:lnTo>
                  <a:pt x="4109538" y="6311263"/>
                </a:lnTo>
                <a:lnTo>
                  <a:pt x="1" y="6311263"/>
                </a:lnTo>
                <a:lnTo>
                  <a:pt x="1" y="3795389"/>
                </a:lnTo>
                <a:cubicBezTo>
                  <a:pt x="1" y="3795390"/>
                  <a:pt x="0" y="3795390"/>
                  <a:pt x="0" y="3795391"/>
                </a:cubicBezTo>
                <a:close/>
              </a:path>
            </a:pathLst>
          </a:custGeom>
          <a:solidFill>
            <a:schemeClr val="bg1">
              <a:lumMod val="95000"/>
            </a:schemeClr>
          </a:solidFill>
        </p:spPr>
        <p:txBody>
          <a:bodyPr wrap="square" lIns="1280160" tIns="0" bIns="2926080" anchor="ctr">
            <a:noAutofit/>
          </a:bodyPr>
          <a:lstStyle>
            <a:lvl1pPr algn="ctr">
              <a:defRPr sz="1800"/>
            </a:lvl1pPr>
          </a:lstStyle>
          <a:p>
            <a:r>
              <a:rPr lang="en-GB" dirty="0" err="1"/>
              <a:t>Beeld</a:t>
            </a:r>
            <a:endParaRPr lang="en-GB" dirty="0"/>
          </a:p>
        </p:txBody>
      </p:sp>
      <p:sp>
        <p:nvSpPr>
          <p:cNvPr id="8" name="Freeform: Shape 7">
            <a:extLst>
              <a:ext uri="{FF2B5EF4-FFF2-40B4-BE49-F238E27FC236}">
                <a16:creationId xmlns:a16="http://schemas.microsoft.com/office/drawing/2014/main" id="{3F570637-18F0-FBCE-15DF-28316C597581}"/>
              </a:ext>
            </a:extLst>
          </p:cNvPr>
          <p:cNvSpPr/>
          <p:nvPr userDrawn="1"/>
        </p:nvSpPr>
        <p:spPr>
          <a:xfrm>
            <a:off x="4109538" y="2081881"/>
            <a:ext cx="8082463" cy="4776119"/>
          </a:xfrm>
          <a:custGeom>
            <a:avLst/>
            <a:gdLst>
              <a:gd name="connsiteX0" fmla="*/ 4752340 w 8082463"/>
              <a:gd name="connsiteY0" fmla="*/ 0 h 4776119"/>
              <a:gd name="connsiteX1" fmla="*/ 4808220 w 8082463"/>
              <a:gd name="connsiteY1" fmla="*/ 49784 h 4776119"/>
              <a:gd name="connsiteX2" fmla="*/ 4812030 w 8082463"/>
              <a:gd name="connsiteY2" fmla="*/ 52976 h 4776119"/>
              <a:gd name="connsiteX3" fmla="*/ 4864734 w 8082463"/>
              <a:gd name="connsiteY3" fmla="*/ 100845 h 4776119"/>
              <a:gd name="connsiteX4" fmla="*/ 4872990 w 8082463"/>
              <a:gd name="connsiteY4" fmla="*/ 108505 h 4776119"/>
              <a:gd name="connsiteX5" fmla="*/ 4922520 w 8082463"/>
              <a:gd name="connsiteY5" fmla="*/ 153821 h 4776119"/>
              <a:gd name="connsiteX6" fmla="*/ 4935855 w 8082463"/>
              <a:gd name="connsiteY6" fmla="*/ 165948 h 4776119"/>
              <a:gd name="connsiteX7" fmla="*/ 4980940 w 8082463"/>
              <a:gd name="connsiteY7" fmla="*/ 208712 h 4776119"/>
              <a:gd name="connsiteX8" fmla="*/ 4999356 w 8082463"/>
              <a:gd name="connsiteY8" fmla="*/ 225945 h 4776119"/>
              <a:gd name="connsiteX9" fmla="*/ 5039995 w 8082463"/>
              <a:gd name="connsiteY9" fmla="*/ 264879 h 4776119"/>
              <a:gd name="connsiteX10" fmla="*/ 5065395 w 8082463"/>
              <a:gd name="connsiteY10" fmla="*/ 289134 h 4776119"/>
              <a:gd name="connsiteX11" fmla="*/ 5100956 w 8082463"/>
              <a:gd name="connsiteY11" fmla="*/ 322960 h 4776119"/>
              <a:gd name="connsiteX12" fmla="*/ 5135880 w 8082463"/>
              <a:gd name="connsiteY12" fmla="*/ 356789 h 4776119"/>
              <a:gd name="connsiteX13" fmla="*/ 5162550 w 8082463"/>
              <a:gd name="connsiteY13" fmla="*/ 382958 h 4776119"/>
              <a:gd name="connsiteX14" fmla="*/ 5224780 w 8082463"/>
              <a:gd name="connsiteY14" fmla="*/ 444869 h 4776119"/>
              <a:gd name="connsiteX15" fmla="*/ 8082463 w 8082463"/>
              <a:gd name="connsiteY15" fmla="*/ 3317235 h 4776119"/>
              <a:gd name="connsiteX16" fmla="*/ 8082463 w 8082463"/>
              <a:gd name="connsiteY16" fmla="*/ 4776119 h 4776119"/>
              <a:gd name="connsiteX17" fmla="*/ 0 w 8082463"/>
              <a:gd name="connsiteY17" fmla="*/ 4776119 h 477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82463" h="4776119">
                <a:moveTo>
                  <a:pt x="4752340" y="0"/>
                </a:moveTo>
                <a:cubicBezTo>
                  <a:pt x="4770756" y="16595"/>
                  <a:pt x="4789805" y="33190"/>
                  <a:pt x="4808220" y="49784"/>
                </a:cubicBezTo>
                <a:cubicBezTo>
                  <a:pt x="4809490" y="51061"/>
                  <a:pt x="4810760" y="51700"/>
                  <a:pt x="4812030" y="52976"/>
                </a:cubicBezTo>
                <a:cubicBezTo>
                  <a:pt x="4829175" y="68933"/>
                  <a:pt x="4846956" y="84889"/>
                  <a:pt x="4864734" y="100845"/>
                </a:cubicBezTo>
                <a:cubicBezTo>
                  <a:pt x="4867910" y="103398"/>
                  <a:pt x="4870450" y="105951"/>
                  <a:pt x="4872990" y="108505"/>
                </a:cubicBezTo>
                <a:cubicBezTo>
                  <a:pt x="4889500" y="123185"/>
                  <a:pt x="4906010" y="138503"/>
                  <a:pt x="4922520" y="153821"/>
                </a:cubicBezTo>
                <a:cubicBezTo>
                  <a:pt x="4926965" y="157651"/>
                  <a:pt x="4931410" y="162119"/>
                  <a:pt x="4935855" y="165948"/>
                </a:cubicBezTo>
                <a:cubicBezTo>
                  <a:pt x="4950460" y="179990"/>
                  <a:pt x="4965700" y="194670"/>
                  <a:pt x="4980940" y="208712"/>
                </a:cubicBezTo>
                <a:cubicBezTo>
                  <a:pt x="4987290" y="214457"/>
                  <a:pt x="4993006" y="220201"/>
                  <a:pt x="4999356" y="225945"/>
                </a:cubicBezTo>
                <a:cubicBezTo>
                  <a:pt x="5012690" y="238710"/>
                  <a:pt x="5026025" y="251476"/>
                  <a:pt x="5039995" y="264879"/>
                </a:cubicBezTo>
                <a:cubicBezTo>
                  <a:pt x="5048886" y="273176"/>
                  <a:pt x="5057140" y="280836"/>
                  <a:pt x="5065395" y="289134"/>
                </a:cubicBezTo>
                <a:cubicBezTo>
                  <a:pt x="5077460" y="299984"/>
                  <a:pt x="5088890" y="311473"/>
                  <a:pt x="5100956" y="322960"/>
                </a:cubicBezTo>
                <a:cubicBezTo>
                  <a:pt x="5113020" y="333812"/>
                  <a:pt x="5124450" y="345301"/>
                  <a:pt x="5135880" y="356789"/>
                </a:cubicBezTo>
                <a:cubicBezTo>
                  <a:pt x="5144770" y="365724"/>
                  <a:pt x="5153660" y="374022"/>
                  <a:pt x="5162550" y="382958"/>
                </a:cubicBezTo>
                <a:cubicBezTo>
                  <a:pt x="5182871" y="403382"/>
                  <a:pt x="5203826" y="423807"/>
                  <a:pt x="5224780" y="444869"/>
                </a:cubicBezTo>
                <a:lnTo>
                  <a:pt x="8082463" y="3317235"/>
                </a:lnTo>
                <a:lnTo>
                  <a:pt x="8082463" y="4776119"/>
                </a:lnTo>
                <a:lnTo>
                  <a:pt x="0" y="4776119"/>
                </a:lnTo>
                <a:close/>
              </a:path>
            </a:pathLst>
          </a:custGeom>
          <a:solidFill>
            <a:srgbClr val="7A3500"/>
          </a:solidFill>
          <a:ln w="12700" cap="flat">
            <a:solidFill>
              <a:srgbClr val="7A3500"/>
            </a:solidFill>
            <a:prstDash val="solid"/>
            <a:miter/>
          </a:ln>
        </p:spPr>
        <p:txBody>
          <a:bodyPr wrap="square" rtlCol="0" anchor="ctr">
            <a:noAutofit/>
          </a:bodyPr>
          <a:lstStyle/>
          <a:p>
            <a:endParaRPr lang="en-GB"/>
          </a:p>
        </p:txBody>
      </p:sp>
      <p:sp>
        <p:nvSpPr>
          <p:cNvPr id="9" name="Freeform: Shape 8">
            <a:extLst>
              <a:ext uri="{FF2B5EF4-FFF2-40B4-BE49-F238E27FC236}">
                <a16:creationId xmlns:a16="http://schemas.microsoft.com/office/drawing/2014/main" id="{F0EC8357-8687-486C-5B38-4E2AC33FF34F}"/>
              </a:ext>
            </a:extLst>
          </p:cNvPr>
          <p:cNvSpPr/>
          <p:nvPr userDrawn="1"/>
        </p:nvSpPr>
        <p:spPr>
          <a:xfrm>
            <a:off x="-1" y="0"/>
            <a:ext cx="10949305" cy="4342128"/>
          </a:xfrm>
          <a:custGeom>
            <a:avLst/>
            <a:gdLst>
              <a:gd name="connsiteX0" fmla="*/ 0 w 10949305"/>
              <a:gd name="connsiteY0" fmla="*/ 0 h 4342128"/>
              <a:gd name="connsiteX1" fmla="*/ 10949305 w 10949305"/>
              <a:gd name="connsiteY1" fmla="*/ 0 h 4342128"/>
              <a:gd name="connsiteX2" fmla="*/ 8844237 w 10949305"/>
              <a:gd name="connsiteY2" fmla="*/ 2105068 h 4342128"/>
              <a:gd name="connsiteX3" fmla="*/ 8840883 w 10949305"/>
              <a:gd name="connsiteY3" fmla="*/ 2101933 h 4342128"/>
              <a:gd name="connsiteX4" fmla="*/ 8865033 w 10949305"/>
              <a:gd name="connsiteY4" fmla="*/ 2077694 h 4342128"/>
              <a:gd name="connsiteX5" fmla="*/ 8826470 w 10949305"/>
              <a:gd name="connsiteY5" fmla="*/ 2041504 h 4342128"/>
              <a:gd name="connsiteX6" fmla="*/ 6079518 w 10949305"/>
              <a:gd name="connsiteY6" fmla="*/ 594988 h 4342128"/>
              <a:gd name="connsiteX7" fmla="*/ 5287752 w 10949305"/>
              <a:gd name="connsiteY7" fmla="*/ 547803 h 4342128"/>
              <a:gd name="connsiteX8" fmla="*/ 1335166 w 10949305"/>
              <a:gd name="connsiteY8" fmla="*/ 2259119 h 4342128"/>
              <a:gd name="connsiteX9" fmla="*/ 1 w 10949305"/>
              <a:gd name="connsiteY9" fmla="*/ 4326985 h 4342128"/>
              <a:gd name="connsiteX10" fmla="*/ 1 w 10949305"/>
              <a:gd name="connsiteY10" fmla="*/ 4342126 h 4342128"/>
              <a:gd name="connsiteX11" fmla="*/ 0 w 10949305"/>
              <a:gd name="connsiteY11" fmla="*/ 4342128 h 4342128"/>
              <a:gd name="connsiteX12" fmla="*/ 0 w 10949305"/>
              <a:gd name="connsiteY12" fmla="*/ 0 h 4342128"/>
              <a:gd name="connsiteX0" fmla="*/ 0 w 10949305"/>
              <a:gd name="connsiteY0" fmla="*/ 0 h 4342128"/>
              <a:gd name="connsiteX1" fmla="*/ 10949305 w 10949305"/>
              <a:gd name="connsiteY1" fmla="*/ 0 h 4342128"/>
              <a:gd name="connsiteX2" fmla="*/ 8844237 w 10949305"/>
              <a:gd name="connsiteY2" fmla="*/ 2105068 h 4342128"/>
              <a:gd name="connsiteX3" fmla="*/ 8865033 w 10949305"/>
              <a:gd name="connsiteY3" fmla="*/ 2077694 h 4342128"/>
              <a:gd name="connsiteX4" fmla="*/ 8826470 w 10949305"/>
              <a:gd name="connsiteY4" fmla="*/ 2041504 h 4342128"/>
              <a:gd name="connsiteX5" fmla="*/ 6079518 w 10949305"/>
              <a:gd name="connsiteY5" fmla="*/ 594988 h 4342128"/>
              <a:gd name="connsiteX6" fmla="*/ 5287752 w 10949305"/>
              <a:gd name="connsiteY6" fmla="*/ 547803 h 4342128"/>
              <a:gd name="connsiteX7" fmla="*/ 1335166 w 10949305"/>
              <a:gd name="connsiteY7" fmla="*/ 2259119 h 4342128"/>
              <a:gd name="connsiteX8" fmla="*/ 1 w 10949305"/>
              <a:gd name="connsiteY8" fmla="*/ 4326985 h 4342128"/>
              <a:gd name="connsiteX9" fmla="*/ 1 w 10949305"/>
              <a:gd name="connsiteY9" fmla="*/ 4342126 h 4342128"/>
              <a:gd name="connsiteX10" fmla="*/ 0 w 10949305"/>
              <a:gd name="connsiteY10" fmla="*/ 4342128 h 4342128"/>
              <a:gd name="connsiteX11" fmla="*/ 0 w 10949305"/>
              <a:gd name="connsiteY11" fmla="*/ 0 h 43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305" h="4342128">
                <a:moveTo>
                  <a:pt x="0" y="0"/>
                </a:moveTo>
                <a:lnTo>
                  <a:pt x="10949305" y="0"/>
                </a:lnTo>
                <a:lnTo>
                  <a:pt x="8844237" y="2105068"/>
                </a:lnTo>
                <a:lnTo>
                  <a:pt x="8865033" y="2077694"/>
                </a:lnTo>
                <a:lnTo>
                  <a:pt x="8826470" y="2041504"/>
                </a:lnTo>
                <a:cubicBezTo>
                  <a:pt x="7661107" y="1019246"/>
                  <a:pt x="6707087" y="683864"/>
                  <a:pt x="6079518" y="594988"/>
                </a:cubicBezTo>
                <a:cubicBezTo>
                  <a:pt x="5835380" y="559295"/>
                  <a:pt x="5569159" y="542128"/>
                  <a:pt x="5287752" y="547803"/>
                </a:cubicBezTo>
                <a:cubicBezTo>
                  <a:pt x="4068321" y="572393"/>
                  <a:pt x="2563733" y="1025874"/>
                  <a:pt x="1335166" y="2259119"/>
                </a:cubicBezTo>
                <a:cubicBezTo>
                  <a:pt x="696857" y="2899857"/>
                  <a:pt x="267925" y="3615338"/>
                  <a:pt x="1" y="4326985"/>
                </a:cubicBezTo>
                <a:lnTo>
                  <a:pt x="1" y="4342126"/>
                </a:lnTo>
                <a:cubicBezTo>
                  <a:pt x="1" y="4342127"/>
                  <a:pt x="0" y="4342127"/>
                  <a:pt x="0" y="4342128"/>
                </a:cubicBezTo>
                <a:lnTo>
                  <a:pt x="0" y="0"/>
                </a:lnTo>
                <a:close/>
              </a:path>
            </a:pathLst>
          </a:cu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Picture Placeholder 4">
            <a:extLst>
              <a:ext uri="{FF2B5EF4-FFF2-40B4-BE49-F238E27FC236}">
                <a16:creationId xmlns:a16="http://schemas.microsoft.com/office/drawing/2014/main" id="{FEBEE4DA-0A98-1426-1093-5E3B7543FD25}"/>
              </a:ext>
            </a:extLst>
          </p:cNvPr>
          <p:cNvSpPr>
            <a:spLocks noGrp="1"/>
          </p:cNvSpPr>
          <p:nvPr>
            <p:ph type="pic" sz="quarter" idx="11" hasCustomPrompt="1"/>
          </p:nvPr>
        </p:nvSpPr>
        <p:spPr>
          <a:xfrm>
            <a:off x="8864810" y="1"/>
            <a:ext cx="3327190" cy="5399115"/>
          </a:xfrm>
          <a:custGeom>
            <a:avLst/>
            <a:gdLst>
              <a:gd name="connsiteX0" fmla="*/ 2084494 w 3327190"/>
              <a:gd name="connsiteY0" fmla="*/ 0 h 5399115"/>
              <a:gd name="connsiteX1" fmla="*/ 3327190 w 3327190"/>
              <a:gd name="connsiteY1" fmla="*/ 0 h 5399115"/>
              <a:gd name="connsiteX2" fmla="*/ 3327190 w 3327190"/>
              <a:gd name="connsiteY2" fmla="*/ 5399115 h 5399115"/>
              <a:gd name="connsiteX3" fmla="*/ 469508 w 3327190"/>
              <a:gd name="connsiteY3" fmla="*/ 2526750 h 5399115"/>
              <a:gd name="connsiteX4" fmla="*/ 407278 w 3327190"/>
              <a:gd name="connsiteY4" fmla="*/ 2464839 h 5399115"/>
              <a:gd name="connsiteX5" fmla="*/ 380608 w 3327190"/>
              <a:gd name="connsiteY5" fmla="*/ 2438670 h 5399115"/>
              <a:gd name="connsiteX6" fmla="*/ 345684 w 3327190"/>
              <a:gd name="connsiteY6" fmla="*/ 2404841 h 5399115"/>
              <a:gd name="connsiteX7" fmla="*/ 310123 w 3327190"/>
              <a:gd name="connsiteY7" fmla="*/ 2371015 h 5399115"/>
              <a:gd name="connsiteX8" fmla="*/ 284723 w 3327190"/>
              <a:gd name="connsiteY8" fmla="*/ 2346760 h 5399115"/>
              <a:gd name="connsiteX9" fmla="*/ 244084 w 3327190"/>
              <a:gd name="connsiteY9" fmla="*/ 2307826 h 5399115"/>
              <a:gd name="connsiteX10" fmla="*/ 225668 w 3327190"/>
              <a:gd name="connsiteY10" fmla="*/ 2290593 h 5399115"/>
              <a:gd name="connsiteX11" fmla="*/ 180583 w 3327190"/>
              <a:gd name="connsiteY11" fmla="*/ 2247829 h 5399115"/>
              <a:gd name="connsiteX12" fmla="*/ 167248 w 3327190"/>
              <a:gd name="connsiteY12" fmla="*/ 2235702 h 5399115"/>
              <a:gd name="connsiteX13" fmla="*/ 117718 w 3327190"/>
              <a:gd name="connsiteY13" fmla="*/ 2190386 h 5399115"/>
              <a:gd name="connsiteX14" fmla="*/ 109462 w 3327190"/>
              <a:gd name="connsiteY14" fmla="*/ 2182726 h 5399115"/>
              <a:gd name="connsiteX15" fmla="*/ 56758 w 3327190"/>
              <a:gd name="connsiteY15" fmla="*/ 2134857 h 5399115"/>
              <a:gd name="connsiteX16" fmla="*/ 52948 w 3327190"/>
              <a:gd name="connsiteY16" fmla="*/ 2131665 h 5399115"/>
              <a:gd name="connsiteX17" fmla="*/ 0 w 3327190"/>
              <a:gd name="connsiteY17" fmla="*/ 2084494 h 539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27190" h="5399115">
                <a:moveTo>
                  <a:pt x="2084494" y="0"/>
                </a:moveTo>
                <a:lnTo>
                  <a:pt x="3327190" y="0"/>
                </a:lnTo>
                <a:lnTo>
                  <a:pt x="3327190" y="5399115"/>
                </a:lnTo>
                <a:lnTo>
                  <a:pt x="469508" y="2526750"/>
                </a:lnTo>
                <a:cubicBezTo>
                  <a:pt x="448554" y="2505688"/>
                  <a:pt x="427599" y="2485263"/>
                  <a:pt x="407278" y="2464839"/>
                </a:cubicBezTo>
                <a:cubicBezTo>
                  <a:pt x="398388" y="2455903"/>
                  <a:pt x="389498" y="2447605"/>
                  <a:pt x="380608" y="2438670"/>
                </a:cubicBezTo>
                <a:cubicBezTo>
                  <a:pt x="369178" y="2427182"/>
                  <a:pt x="357748" y="2415693"/>
                  <a:pt x="345684" y="2404841"/>
                </a:cubicBezTo>
                <a:cubicBezTo>
                  <a:pt x="333618" y="2393354"/>
                  <a:pt x="322188" y="2381865"/>
                  <a:pt x="310123" y="2371015"/>
                </a:cubicBezTo>
                <a:cubicBezTo>
                  <a:pt x="301868" y="2362717"/>
                  <a:pt x="293614" y="2355057"/>
                  <a:pt x="284723" y="2346760"/>
                </a:cubicBezTo>
                <a:cubicBezTo>
                  <a:pt x="270753" y="2333357"/>
                  <a:pt x="257418" y="2320591"/>
                  <a:pt x="244084" y="2307826"/>
                </a:cubicBezTo>
                <a:cubicBezTo>
                  <a:pt x="237734" y="2302082"/>
                  <a:pt x="232018" y="2296338"/>
                  <a:pt x="225668" y="2290593"/>
                </a:cubicBezTo>
                <a:cubicBezTo>
                  <a:pt x="210428" y="2276551"/>
                  <a:pt x="195188" y="2261871"/>
                  <a:pt x="180583" y="2247829"/>
                </a:cubicBezTo>
                <a:cubicBezTo>
                  <a:pt x="176138" y="2244000"/>
                  <a:pt x="171693" y="2239532"/>
                  <a:pt x="167248" y="2235702"/>
                </a:cubicBezTo>
                <a:cubicBezTo>
                  <a:pt x="150738" y="2220384"/>
                  <a:pt x="134228" y="2205066"/>
                  <a:pt x="117718" y="2190386"/>
                </a:cubicBezTo>
                <a:cubicBezTo>
                  <a:pt x="115178" y="2187832"/>
                  <a:pt x="112638" y="2185279"/>
                  <a:pt x="109462" y="2182726"/>
                </a:cubicBezTo>
                <a:cubicBezTo>
                  <a:pt x="91684" y="2166770"/>
                  <a:pt x="73903" y="2150814"/>
                  <a:pt x="56758" y="2134857"/>
                </a:cubicBezTo>
                <a:cubicBezTo>
                  <a:pt x="55488" y="2133581"/>
                  <a:pt x="54218" y="2132942"/>
                  <a:pt x="52948" y="2131665"/>
                </a:cubicBezTo>
                <a:lnTo>
                  <a:pt x="0" y="2084494"/>
                </a:lnTo>
                <a:close/>
              </a:path>
            </a:pathLst>
          </a:custGeom>
          <a:solidFill>
            <a:schemeClr val="bg1">
              <a:lumMod val="95000"/>
            </a:schemeClr>
          </a:solidFill>
        </p:spPr>
        <p:txBody>
          <a:bodyPr wrap="square" lIns="548640" bIns="1737360" anchor="ctr">
            <a:noAutofit/>
          </a:bodyPr>
          <a:lstStyle>
            <a:lvl1pPr algn="ctr">
              <a:defRPr sz="1800"/>
            </a:lvl1pPr>
          </a:lstStyle>
          <a:p>
            <a:r>
              <a:rPr lang="en-GB" dirty="0" err="1"/>
              <a:t>Beeld</a:t>
            </a:r>
            <a:endParaRPr lang="en-GB" dirty="0"/>
          </a:p>
        </p:txBody>
      </p:sp>
      <p:sp>
        <p:nvSpPr>
          <p:cNvPr id="11" name="Freeform: Shape 10">
            <a:extLst>
              <a:ext uri="{FF2B5EF4-FFF2-40B4-BE49-F238E27FC236}">
                <a16:creationId xmlns:a16="http://schemas.microsoft.com/office/drawing/2014/main" id="{388CDD20-1321-D267-4055-D43E148D69A0}"/>
              </a:ext>
            </a:extLst>
          </p:cNvPr>
          <p:cNvSpPr/>
          <p:nvPr userDrawn="1"/>
        </p:nvSpPr>
        <p:spPr>
          <a:xfrm>
            <a:off x="8858788" y="2071834"/>
            <a:ext cx="6244" cy="13152"/>
          </a:xfrm>
          <a:custGeom>
            <a:avLst/>
            <a:gdLst>
              <a:gd name="connsiteX0" fmla="*/ 0 w 6244"/>
              <a:gd name="connsiteY0" fmla="*/ 0 h 13152"/>
              <a:gd name="connsiteX1" fmla="*/ 6244 w 6244"/>
              <a:gd name="connsiteY1" fmla="*/ 5860 h 13152"/>
              <a:gd name="connsiteX2" fmla="*/ 2980 w 6244"/>
              <a:gd name="connsiteY2" fmla="*/ 10157 h 13152"/>
              <a:gd name="connsiteX3" fmla="*/ 0 w 6244"/>
              <a:gd name="connsiteY3" fmla="*/ 13152 h 13152"/>
              <a:gd name="connsiteX4" fmla="*/ 0 w 6244"/>
              <a:gd name="connsiteY4" fmla="*/ 0 h 1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2">
                <a:moveTo>
                  <a:pt x="0" y="0"/>
                </a:moveTo>
                <a:lnTo>
                  <a:pt x="6244" y="5860"/>
                </a:lnTo>
                <a:lnTo>
                  <a:pt x="2980" y="10157"/>
                </a:lnTo>
                <a:lnTo>
                  <a:pt x="0" y="13152"/>
                </a:lnTo>
                <a:lnTo>
                  <a:pt x="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2" name="Freeform: Shape 11">
            <a:extLst>
              <a:ext uri="{FF2B5EF4-FFF2-40B4-BE49-F238E27FC236}">
                <a16:creationId xmlns:a16="http://schemas.microsoft.com/office/drawing/2014/main" id="{E8B95446-AD4E-5FEC-3072-843BFC1A00EF}"/>
              </a:ext>
            </a:extLst>
          </p:cNvPr>
          <p:cNvSpPr/>
          <p:nvPr userDrawn="1"/>
        </p:nvSpPr>
        <p:spPr>
          <a:xfrm>
            <a:off x="8858788" y="2081881"/>
            <a:ext cx="6022" cy="8635"/>
          </a:xfrm>
          <a:custGeom>
            <a:avLst/>
            <a:gdLst>
              <a:gd name="connsiteX0" fmla="*/ 3089 w 6022"/>
              <a:gd name="connsiteY0" fmla="*/ 0 h 8635"/>
              <a:gd name="connsiteX1" fmla="*/ 6022 w 6022"/>
              <a:gd name="connsiteY1" fmla="*/ 2613 h 8635"/>
              <a:gd name="connsiteX2" fmla="*/ 0 w 6022"/>
              <a:gd name="connsiteY2" fmla="*/ 8635 h 8635"/>
              <a:gd name="connsiteX3" fmla="*/ 0 w 6022"/>
              <a:gd name="connsiteY3" fmla="*/ 4032 h 8635"/>
              <a:gd name="connsiteX4" fmla="*/ 2980 w 6022"/>
              <a:gd name="connsiteY4" fmla="*/ 110 h 8635"/>
              <a:gd name="connsiteX5" fmla="*/ 3089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89" y="0"/>
                </a:moveTo>
                <a:lnTo>
                  <a:pt x="6022" y="2613"/>
                </a:lnTo>
                <a:lnTo>
                  <a:pt x="0" y="8635"/>
                </a:lnTo>
                <a:lnTo>
                  <a:pt x="0" y="4032"/>
                </a:lnTo>
                <a:lnTo>
                  <a:pt x="2980" y="110"/>
                </a:lnTo>
                <a:lnTo>
                  <a:pt x="3089"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3" name="Freeform: Shape 12">
            <a:extLst>
              <a:ext uri="{FF2B5EF4-FFF2-40B4-BE49-F238E27FC236}">
                <a16:creationId xmlns:a16="http://schemas.microsoft.com/office/drawing/2014/main" id="{FE6FD458-7CC1-5363-6474-791605B40C0A}"/>
              </a:ext>
            </a:extLst>
          </p:cNvPr>
          <p:cNvSpPr/>
          <p:nvPr userDrawn="1"/>
        </p:nvSpPr>
        <p:spPr>
          <a:xfrm>
            <a:off x="8858788" y="2081991"/>
            <a:ext cx="2980" cy="3922"/>
          </a:xfrm>
          <a:custGeom>
            <a:avLst/>
            <a:gdLst>
              <a:gd name="connsiteX0" fmla="*/ 2980 w 2980"/>
              <a:gd name="connsiteY0" fmla="*/ 0 h 3922"/>
              <a:gd name="connsiteX1" fmla="*/ 0 w 2980"/>
              <a:gd name="connsiteY1" fmla="*/ 3922 h 3922"/>
              <a:gd name="connsiteX2" fmla="*/ 0 w 2980"/>
              <a:gd name="connsiteY2" fmla="*/ 2995 h 3922"/>
              <a:gd name="connsiteX3" fmla="*/ 2980 w 2980"/>
              <a:gd name="connsiteY3" fmla="*/ 0 h 3922"/>
            </a:gdLst>
            <a:ahLst/>
            <a:cxnLst>
              <a:cxn ang="0">
                <a:pos x="connsiteX0" y="connsiteY0"/>
              </a:cxn>
              <a:cxn ang="0">
                <a:pos x="connsiteX1" y="connsiteY1"/>
              </a:cxn>
              <a:cxn ang="0">
                <a:pos x="connsiteX2" y="connsiteY2"/>
              </a:cxn>
              <a:cxn ang="0">
                <a:pos x="connsiteX3" y="connsiteY3"/>
              </a:cxn>
            </a:cxnLst>
            <a:rect l="l" t="t" r="r" b="b"/>
            <a:pathLst>
              <a:path w="2980" h="3922">
                <a:moveTo>
                  <a:pt x="2980" y="0"/>
                </a:moveTo>
                <a:lnTo>
                  <a:pt x="0" y="3922"/>
                </a:lnTo>
                <a:lnTo>
                  <a:pt x="0" y="2995"/>
                </a:lnTo>
                <a:lnTo>
                  <a:pt x="298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4" name="Freeform: Shape 13">
            <a:extLst>
              <a:ext uri="{FF2B5EF4-FFF2-40B4-BE49-F238E27FC236}">
                <a16:creationId xmlns:a16="http://schemas.microsoft.com/office/drawing/2014/main" id="{FC7B1AAF-18D4-5316-A81D-D9D5DE1D792A}"/>
              </a:ext>
            </a:extLst>
          </p:cNvPr>
          <p:cNvSpPr/>
          <p:nvPr userDrawn="1"/>
        </p:nvSpPr>
        <p:spPr>
          <a:xfrm>
            <a:off x="8844236" y="2085913"/>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5" name="Freeform: Shape 14">
            <a:extLst>
              <a:ext uri="{FF2B5EF4-FFF2-40B4-BE49-F238E27FC236}">
                <a16:creationId xmlns:a16="http://schemas.microsoft.com/office/drawing/2014/main" id="{853C73B2-7A4D-134B-7C9D-091302B8BFB9}"/>
              </a:ext>
            </a:extLst>
          </p:cNvPr>
          <p:cNvSpPr/>
          <p:nvPr userDrawn="1"/>
        </p:nvSpPr>
        <p:spPr>
          <a:xfrm>
            <a:off x="8858788" y="2081995"/>
            <a:ext cx="2976" cy="3918"/>
          </a:xfrm>
          <a:custGeom>
            <a:avLst/>
            <a:gdLst>
              <a:gd name="connsiteX0" fmla="*/ 2976 w 2976"/>
              <a:gd name="connsiteY0" fmla="*/ 0 h 3918"/>
              <a:gd name="connsiteX1" fmla="*/ 0 w 2976"/>
              <a:gd name="connsiteY1" fmla="*/ 3918 h 3918"/>
              <a:gd name="connsiteX2" fmla="*/ 0 w 2976"/>
              <a:gd name="connsiteY2" fmla="*/ 2992 h 3918"/>
              <a:gd name="connsiteX3" fmla="*/ 2976 w 2976"/>
              <a:gd name="connsiteY3" fmla="*/ 0 h 3918"/>
            </a:gdLst>
            <a:ahLst/>
            <a:cxnLst>
              <a:cxn ang="0">
                <a:pos x="connsiteX0" y="connsiteY0"/>
              </a:cxn>
              <a:cxn ang="0">
                <a:pos x="connsiteX1" y="connsiteY1"/>
              </a:cxn>
              <a:cxn ang="0">
                <a:pos x="connsiteX2" y="connsiteY2"/>
              </a:cxn>
              <a:cxn ang="0">
                <a:pos x="connsiteX3" y="connsiteY3"/>
              </a:cxn>
            </a:cxnLst>
            <a:rect l="l" t="t" r="r" b="b"/>
            <a:pathLst>
              <a:path w="2976" h="3918">
                <a:moveTo>
                  <a:pt x="2976" y="0"/>
                </a:moveTo>
                <a:lnTo>
                  <a:pt x="0" y="3918"/>
                </a:lnTo>
                <a:lnTo>
                  <a:pt x="0" y="2992"/>
                </a:lnTo>
                <a:lnTo>
                  <a:pt x="2976"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6" name="Freeform: Shape 15">
            <a:extLst>
              <a:ext uri="{FF2B5EF4-FFF2-40B4-BE49-F238E27FC236}">
                <a16:creationId xmlns:a16="http://schemas.microsoft.com/office/drawing/2014/main" id="{75C404F9-94B7-8CF6-0750-76896E3FE8A2}"/>
              </a:ext>
            </a:extLst>
          </p:cNvPr>
          <p:cNvSpPr/>
          <p:nvPr userDrawn="1"/>
        </p:nvSpPr>
        <p:spPr>
          <a:xfrm>
            <a:off x="8844236" y="2085914"/>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7" name="Freeform: Shape 16">
            <a:extLst>
              <a:ext uri="{FF2B5EF4-FFF2-40B4-BE49-F238E27FC236}">
                <a16:creationId xmlns:a16="http://schemas.microsoft.com/office/drawing/2014/main" id="{5911F414-CE46-2A08-2211-5D19FE58E79D}"/>
              </a:ext>
            </a:extLst>
          </p:cNvPr>
          <p:cNvSpPr/>
          <p:nvPr userDrawn="1"/>
        </p:nvSpPr>
        <p:spPr>
          <a:xfrm>
            <a:off x="8858788" y="2071835"/>
            <a:ext cx="6244" cy="13153"/>
          </a:xfrm>
          <a:custGeom>
            <a:avLst/>
            <a:gdLst>
              <a:gd name="connsiteX0" fmla="*/ 0 w 6244"/>
              <a:gd name="connsiteY0" fmla="*/ 0 h 13153"/>
              <a:gd name="connsiteX1" fmla="*/ 6244 w 6244"/>
              <a:gd name="connsiteY1" fmla="*/ 5860 h 13153"/>
              <a:gd name="connsiteX2" fmla="*/ 2976 w 6244"/>
              <a:gd name="connsiteY2" fmla="*/ 10161 h 13153"/>
              <a:gd name="connsiteX3" fmla="*/ 0 w 6244"/>
              <a:gd name="connsiteY3" fmla="*/ 13153 h 13153"/>
              <a:gd name="connsiteX4" fmla="*/ 0 w 6244"/>
              <a:gd name="connsiteY4" fmla="*/ 0 h 1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3">
                <a:moveTo>
                  <a:pt x="0" y="0"/>
                </a:moveTo>
                <a:lnTo>
                  <a:pt x="6244" y="5860"/>
                </a:lnTo>
                <a:lnTo>
                  <a:pt x="2976" y="10161"/>
                </a:lnTo>
                <a:lnTo>
                  <a:pt x="0" y="13153"/>
                </a:lnTo>
                <a:lnTo>
                  <a:pt x="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0" name="Freeform: Shape 19">
            <a:extLst>
              <a:ext uri="{FF2B5EF4-FFF2-40B4-BE49-F238E27FC236}">
                <a16:creationId xmlns:a16="http://schemas.microsoft.com/office/drawing/2014/main" id="{B85A7D1A-35B8-1EA7-CCFD-B0C4E711CCEA}"/>
              </a:ext>
            </a:extLst>
          </p:cNvPr>
          <p:cNvSpPr/>
          <p:nvPr userDrawn="1"/>
        </p:nvSpPr>
        <p:spPr>
          <a:xfrm>
            <a:off x="8858788" y="2081882"/>
            <a:ext cx="6022" cy="8635"/>
          </a:xfrm>
          <a:custGeom>
            <a:avLst/>
            <a:gdLst>
              <a:gd name="connsiteX0" fmla="*/ 3090 w 6022"/>
              <a:gd name="connsiteY0" fmla="*/ 0 h 8635"/>
              <a:gd name="connsiteX1" fmla="*/ 6022 w 6022"/>
              <a:gd name="connsiteY1" fmla="*/ 2613 h 8635"/>
              <a:gd name="connsiteX2" fmla="*/ 0 w 6022"/>
              <a:gd name="connsiteY2" fmla="*/ 8635 h 8635"/>
              <a:gd name="connsiteX3" fmla="*/ 0 w 6022"/>
              <a:gd name="connsiteY3" fmla="*/ 4032 h 8635"/>
              <a:gd name="connsiteX4" fmla="*/ 2976 w 6022"/>
              <a:gd name="connsiteY4" fmla="*/ 114 h 8635"/>
              <a:gd name="connsiteX5" fmla="*/ 3090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90" y="0"/>
                </a:moveTo>
                <a:lnTo>
                  <a:pt x="6022" y="2613"/>
                </a:lnTo>
                <a:lnTo>
                  <a:pt x="0" y="8635"/>
                </a:lnTo>
                <a:lnTo>
                  <a:pt x="0" y="4032"/>
                </a:lnTo>
                <a:lnTo>
                  <a:pt x="2976" y="114"/>
                </a:lnTo>
                <a:lnTo>
                  <a:pt x="309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 name="Subtitle 2">
            <a:extLst>
              <a:ext uri="{FF2B5EF4-FFF2-40B4-BE49-F238E27FC236}">
                <a16:creationId xmlns:a16="http://schemas.microsoft.com/office/drawing/2014/main" id="{94B187C8-D76C-5855-FC9D-9C655B708737}"/>
              </a:ext>
            </a:extLst>
          </p:cNvPr>
          <p:cNvSpPr>
            <a:spLocks noGrp="1"/>
          </p:cNvSpPr>
          <p:nvPr>
            <p:ph type="subTitle" idx="1" hasCustomPrompt="1"/>
          </p:nvPr>
        </p:nvSpPr>
        <p:spPr>
          <a:xfrm>
            <a:off x="6588049" y="4597046"/>
            <a:ext cx="5016576" cy="769441"/>
          </a:xfrm>
          <a:noFill/>
        </p:spPr>
        <p:txBody>
          <a:bodyPr wrap="square" anchor="b" anchorCtr="0">
            <a:spAutoFit/>
          </a:bodyPr>
          <a:lstStyle>
            <a:lvl1pPr marL="0" indent="0" algn="l">
              <a:buNone/>
              <a:defRPr sz="50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Titel</a:t>
            </a:r>
          </a:p>
        </p:txBody>
      </p:sp>
      <p:grpSp>
        <p:nvGrpSpPr>
          <p:cNvPr id="6" name="Groep 5">
            <a:extLst>
              <a:ext uri="{FF2B5EF4-FFF2-40B4-BE49-F238E27FC236}">
                <a16:creationId xmlns:a16="http://schemas.microsoft.com/office/drawing/2014/main" id="{82F25620-92F9-FE65-DBAC-BFB8CD840156}"/>
              </a:ext>
            </a:extLst>
          </p:cNvPr>
          <p:cNvGrpSpPr/>
          <p:nvPr userDrawn="1"/>
        </p:nvGrpSpPr>
        <p:grpSpPr>
          <a:xfrm>
            <a:off x="10015200" y="5839200"/>
            <a:ext cx="1599388" cy="433809"/>
            <a:chOff x="3101010" y="1249096"/>
            <a:chExt cx="3978412" cy="1079079"/>
          </a:xfrm>
          <a:solidFill>
            <a:schemeClr val="bg1"/>
          </a:solidFill>
        </p:grpSpPr>
        <p:sp>
          <p:nvSpPr>
            <p:cNvPr id="7" name="Vrije vorm 6">
              <a:extLst>
                <a:ext uri="{FF2B5EF4-FFF2-40B4-BE49-F238E27FC236}">
                  <a16:creationId xmlns:a16="http://schemas.microsoft.com/office/drawing/2014/main" id="{EDE36C06-B42E-78AC-26A5-31C793D625C2}"/>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F65B218B-E388-13C1-A52F-C8A082DBFCF3}"/>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D884F65A-A165-975E-6A81-816F3397529C}"/>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1F7FBC55-6C23-ADFC-37E9-7AFEBFD55D6A}"/>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CCF20E36-DEB5-EA15-9175-5F026B5C99F0}"/>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25" name="Vrije vorm 24">
              <a:extLst>
                <a:ext uri="{FF2B5EF4-FFF2-40B4-BE49-F238E27FC236}">
                  <a16:creationId xmlns:a16="http://schemas.microsoft.com/office/drawing/2014/main" id="{86285824-6A6B-BE95-A7AA-5E4A53B080E7}"/>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6" name="Vrije vorm 25">
              <a:extLst>
                <a:ext uri="{FF2B5EF4-FFF2-40B4-BE49-F238E27FC236}">
                  <a16:creationId xmlns:a16="http://schemas.microsoft.com/office/drawing/2014/main" id="{95D37997-EC35-B73D-0A30-9633A9D04520}"/>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412A6705-D75C-672D-996B-DFE71D64AEA5}"/>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7243642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act / bee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74A6C65-F574-5A49-FF35-2AF79C74B3A9}"/>
              </a:ext>
            </a:extLst>
          </p:cNvPr>
          <p:cNvSpPr/>
          <p:nvPr userDrawn="1"/>
        </p:nvSpPr>
        <p:spPr>
          <a:xfrm>
            <a:off x="0" y="546736"/>
            <a:ext cx="8858789" cy="6311263"/>
          </a:xfrm>
          <a:custGeom>
            <a:avLst/>
            <a:gdLst>
              <a:gd name="connsiteX0" fmla="*/ 0 w 8858789"/>
              <a:gd name="connsiteY0" fmla="*/ 0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8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13" fmla="*/ 0 w 8858789"/>
              <a:gd name="connsiteY13" fmla="*/ 0 h 6858000"/>
              <a:gd name="connsiteX0" fmla="*/ 0 w 8858789"/>
              <a:gd name="connsiteY0" fmla="*/ 4342128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8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98900 w 8957689"/>
              <a:gd name="connsiteY0" fmla="*/ 3795391 h 6311263"/>
              <a:gd name="connsiteX1" fmla="*/ 98901 w 8957689"/>
              <a:gd name="connsiteY1" fmla="*/ 3780248 h 6311263"/>
              <a:gd name="connsiteX2" fmla="*/ 1434066 w 8957689"/>
              <a:gd name="connsiteY2" fmla="*/ 1712382 h 6311263"/>
              <a:gd name="connsiteX3" fmla="*/ 5386652 w 8957689"/>
              <a:gd name="connsiteY3" fmla="*/ 1066 h 6311263"/>
              <a:gd name="connsiteX4" fmla="*/ 6178418 w 8957689"/>
              <a:gd name="connsiteY4" fmla="*/ 48251 h 6311263"/>
              <a:gd name="connsiteX5" fmla="*/ 8925370 w 8957689"/>
              <a:gd name="connsiteY5" fmla="*/ 1494767 h 6311263"/>
              <a:gd name="connsiteX6" fmla="*/ 8957689 w 8957689"/>
              <a:gd name="connsiteY6" fmla="*/ 1525097 h 6311263"/>
              <a:gd name="connsiteX7" fmla="*/ 8957689 w 8957689"/>
              <a:gd name="connsiteY7" fmla="*/ 1538249 h 6311263"/>
              <a:gd name="connsiteX8" fmla="*/ 4208438 w 8957689"/>
              <a:gd name="connsiteY8" fmla="*/ 6311263 h 6311263"/>
              <a:gd name="connsiteX9" fmla="*/ 98901 w 8957689"/>
              <a:gd name="connsiteY9" fmla="*/ 6311263 h 6311263"/>
              <a:gd name="connsiteX10" fmla="*/ 98901 w 8957689"/>
              <a:gd name="connsiteY10" fmla="*/ 3795389 h 6311263"/>
              <a:gd name="connsiteX11" fmla="*/ 98900 w 8957689"/>
              <a:gd name="connsiteY11" fmla="*/ 3795391 h 6311263"/>
              <a:gd name="connsiteX0" fmla="*/ 0 w 8858789"/>
              <a:gd name="connsiteY0" fmla="*/ 3795391 h 6311263"/>
              <a:gd name="connsiteX1" fmla="*/ 1 w 8858789"/>
              <a:gd name="connsiteY1" fmla="*/ 3780248 h 6311263"/>
              <a:gd name="connsiteX2" fmla="*/ 1335166 w 8858789"/>
              <a:gd name="connsiteY2" fmla="*/ 1712382 h 6311263"/>
              <a:gd name="connsiteX3" fmla="*/ 5287752 w 8858789"/>
              <a:gd name="connsiteY3" fmla="*/ 1066 h 6311263"/>
              <a:gd name="connsiteX4" fmla="*/ 6079518 w 8858789"/>
              <a:gd name="connsiteY4" fmla="*/ 48251 h 6311263"/>
              <a:gd name="connsiteX5" fmla="*/ 8826470 w 8858789"/>
              <a:gd name="connsiteY5" fmla="*/ 1494767 h 6311263"/>
              <a:gd name="connsiteX6" fmla="*/ 8858789 w 8858789"/>
              <a:gd name="connsiteY6" fmla="*/ 1525097 h 6311263"/>
              <a:gd name="connsiteX7" fmla="*/ 8858789 w 8858789"/>
              <a:gd name="connsiteY7" fmla="*/ 1538249 h 6311263"/>
              <a:gd name="connsiteX8" fmla="*/ 4109538 w 8858789"/>
              <a:gd name="connsiteY8" fmla="*/ 6311263 h 6311263"/>
              <a:gd name="connsiteX9" fmla="*/ 1 w 8858789"/>
              <a:gd name="connsiteY9" fmla="*/ 6311263 h 6311263"/>
              <a:gd name="connsiteX10" fmla="*/ 1 w 8858789"/>
              <a:gd name="connsiteY10" fmla="*/ 3795389 h 6311263"/>
              <a:gd name="connsiteX11" fmla="*/ 0 w 8858789"/>
              <a:gd name="connsiteY11" fmla="*/ 3795391 h 63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789" h="6311263">
                <a:moveTo>
                  <a:pt x="0" y="3795391"/>
                </a:moveTo>
                <a:cubicBezTo>
                  <a:pt x="0" y="3790343"/>
                  <a:pt x="1" y="3785296"/>
                  <a:pt x="1" y="3780248"/>
                </a:cubicBezTo>
                <a:cubicBezTo>
                  <a:pt x="267925" y="3068601"/>
                  <a:pt x="696857" y="2353120"/>
                  <a:pt x="1335166" y="1712382"/>
                </a:cubicBezTo>
                <a:cubicBezTo>
                  <a:pt x="2563733" y="479137"/>
                  <a:pt x="4068321" y="25656"/>
                  <a:pt x="5287752" y="1066"/>
                </a:cubicBezTo>
                <a:cubicBezTo>
                  <a:pt x="5569159" y="-4609"/>
                  <a:pt x="5835380" y="12558"/>
                  <a:pt x="6079518" y="48251"/>
                </a:cubicBezTo>
                <a:cubicBezTo>
                  <a:pt x="6707087" y="137127"/>
                  <a:pt x="7661107" y="472509"/>
                  <a:pt x="8826470" y="1494767"/>
                </a:cubicBezTo>
                <a:lnTo>
                  <a:pt x="8858789" y="1525097"/>
                </a:lnTo>
                <a:lnTo>
                  <a:pt x="8858789" y="1538249"/>
                </a:lnTo>
                <a:lnTo>
                  <a:pt x="4109538" y="6311263"/>
                </a:lnTo>
                <a:lnTo>
                  <a:pt x="1" y="6311263"/>
                </a:lnTo>
                <a:lnTo>
                  <a:pt x="1" y="3795389"/>
                </a:lnTo>
                <a:cubicBezTo>
                  <a:pt x="1" y="3795390"/>
                  <a:pt x="0" y="3795390"/>
                  <a:pt x="0" y="3795391"/>
                </a:cubicBezTo>
                <a:close/>
              </a:path>
            </a:pathLst>
          </a:custGeom>
          <a:solidFill>
            <a:srgbClr val="7A3500"/>
          </a:solidFill>
          <a:ln w="12700" cap="flat">
            <a:solidFill>
              <a:srgbClr val="7A3500"/>
            </a:solidFill>
            <a:prstDash val="solid"/>
            <a:miter/>
          </a:ln>
        </p:spPr>
        <p:txBody>
          <a:bodyPr wrap="square" rtlCol="0" anchor="ctr">
            <a:noAutofit/>
          </a:bodyPr>
          <a:lstStyle/>
          <a:p>
            <a:endParaRPr lang="en-GB" dirty="0"/>
          </a:p>
        </p:txBody>
      </p:sp>
      <p:sp>
        <p:nvSpPr>
          <p:cNvPr id="8" name="Freeform: Shape 7">
            <a:extLst>
              <a:ext uri="{FF2B5EF4-FFF2-40B4-BE49-F238E27FC236}">
                <a16:creationId xmlns:a16="http://schemas.microsoft.com/office/drawing/2014/main" id="{0019CB90-A3E6-6CE0-8889-AF6353A3E372}"/>
              </a:ext>
            </a:extLst>
          </p:cNvPr>
          <p:cNvSpPr/>
          <p:nvPr userDrawn="1"/>
        </p:nvSpPr>
        <p:spPr>
          <a:xfrm>
            <a:off x="-1" y="0"/>
            <a:ext cx="10949305" cy="4342128"/>
          </a:xfrm>
          <a:custGeom>
            <a:avLst/>
            <a:gdLst>
              <a:gd name="connsiteX0" fmla="*/ 0 w 10949305"/>
              <a:gd name="connsiteY0" fmla="*/ 0 h 4342128"/>
              <a:gd name="connsiteX1" fmla="*/ 10949305 w 10949305"/>
              <a:gd name="connsiteY1" fmla="*/ 0 h 4342128"/>
              <a:gd name="connsiteX2" fmla="*/ 8844237 w 10949305"/>
              <a:gd name="connsiteY2" fmla="*/ 2105068 h 4342128"/>
              <a:gd name="connsiteX3" fmla="*/ 8840883 w 10949305"/>
              <a:gd name="connsiteY3" fmla="*/ 2101933 h 4342128"/>
              <a:gd name="connsiteX4" fmla="*/ 8865033 w 10949305"/>
              <a:gd name="connsiteY4" fmla="*/ 2077694 h 4342128"/>
              <a:gd name="connsiteX5" fmla="*/ 8826470 w 10949305"/>
              <a:gd name="connsiteY5" fmla="*/ 2041504 h 4342128"/>
              <a:gd name="connsiteX6" fmla="*/ 6079518 w 10949305"/>
              <a:gd name="connsiteY6" fmla="*/ 594988 h 4342128"/>
              <a:gd name="connsiteX7" fmla="*/ 5287752 w 10949305"/>
              <a:gd name="connsiteY7" fmla="*/ 547803 h 4342128"/>
              <a:gd name="connsiteX8" fmla="*/ 1335166 w 10949305"/>
              <a:gd name="connsiteY8" fmla="*/ 2259119 h 4342128"/>
              <a:gd name="connsiteX9" fmla="*/ 1 w 10949305"/>
              <a:gd name="connsiteY9" fmla="*/ 4326985 h 4342128"/>
              <a:gd name="connsiteX10" fmla="*/ 1 w 10949305"/>
              <a:gd name="connsiteY10" fmla="*/ 4342126 h 4342128"/>
              <a:gd name="connsiteX11" fmla="*/ 0 w 10949305"/>
              <a:gd name="connsiteY11" fmla="*/ 4342128 h 4342128"/>
              <a:gd name="connsiteX12" fmla="*/ 0 w 10949305"/>
              <a:gd name="connsiteY12" fmla="*/ 0 h 4342128"/>
              <a:gd name="connsiteX0" fmla="*/ 0 w 10949305"/>
              <a:gd name="connsiteY0" fmla="*/ 0 h 4342128"/>
              <a:gd name="connsiteX1" fmla="*/ 10949305 w 10949305"/>
              <a:gd name="connsiteY1" fmla="*/ 0 h 4342128"/>
              <a:gd name="connsiteX2" fmla="*/ 8844237 w 10949305"/>
              <a:gd name="connsiteY2" fmla="*/ 2105068 h 4342128"/>
              <a:gd name="connsiteX3" fmla="*/ 8865033 w 10949305"/>
              <a:gd name="connsiteY3" fmla="*/ 2077694 h 4342128"/>
              <a:gd name="connsiteX4" fmla="*/ 8826470 w 10949305"/>
              <a:gd name="connsiteY4" fmla="*/ 2041504 h 4342128"/>
              <a:gd name="connsiteX5" fmla="*/ 6079518 w 10949305"/>
              <a:gd name="connsiteY5" fmla="*/ 594988 h 4342128"/>
              <a:gd name="connsiteX6" fmla="*/ 5287752 w 10949305"/>
              <a:gd name="connsiteY6" fmla="*/ 547803 h 4342128"/>
              <a:gd name="connsiteX7" fmla="*/ 1335166 w 10949305"/>
              <a:gd name="connsiteY7" fmla="*/ 2259119 h 4342128"/>
              <a:gd name="connsiteX8" fmla="*/ 1 w 10949305"/>
              <a:gd name="connsiteY8" fmla="*/ 4326985 h 4342128"/>
              <a:gd name="connsiteX9" fmla="*/ 1 w 10949305"/>
              <a:gd name="connsiteY9" fmla="*/ 4342126 h 4342128"/>
              <a:gd name="connsiteX10" fmla="*/ 0 w 10949305"/>
              <a:gd name="connsiteY10" fmla="*/ 4342128 h 4342128"/>
              <a:gd name="connsiteX11" fmla="*/ 0 w 10949305"/>
              <a:gd name="connsiteY11" fmla="*/ 0 h 43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305" h="4342128">
                <a:moveTo>
                  <a:pt x="0" y="0"/>
                </a:moveTo>
                <a:lnTo>
                  <a:pt x="10949305" y="0"/>
                </a:lnTo>
                <a:lnTo>
                  <a:pt x="8844237" y="2105068"/>
                </a:lnTo>
                <a:lnTo>
                  <a:pt x="8865033" y="2077694"/>
                </a:lnTo>
                <a:lnTo>
                  <a:pt x="8826470" y="2041504"/>
                </a:lnTo>
                <a:cubicBezTo>
                  <a:pt x="7661107" y="1019246"/>
                  <a:pt x="6707087" y="683864"/>
                  <a:pt x="6079518" y="594988"/>
                </a:cubicBezTo>
                <a:cubicBezTo>
                  <a:pt x="5835380" y="559295"/>
                  <a:pt x="5569159" y="542128"/>
                  <a:pt x="5287752" y="547803"/>
                </a:cubicBezTo>
                <a:cubicBezTo>
                  <a:pt x="4068321" y="572393"/>
                  <a:pt x="2563733" y="1025874"/>
                  <a:pt x="1335166" y="2259119"/>
                </a:cubicBezTo>
                <a:cubicBezTo>
                  <a:pt x="696857" y="2899857"/>
                  <a:pt x="267925" y="3615338"/>
                  <a:pt x="1" y="4326985"/>
                </a:cubicBezTo>
                <a:lnTo>
                  <a:pt x="1" y="4342126"/>
                </a:lnTo>
                <a:cubicBezTo>
                  <a:pt x="1" y="4342127"/>
                  <a:pt x="0" y="4342127"/>
                  <a:pt x="0" y="4342128"/>
                </a:cubicBezTo>
                <a:lnTo>
                  <a:pt x="0" y="0"/>
                </a:lnTo>
                <a:close/>
              </a:path>
            </a:pathLst>
          </a:cu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Freeform: Shape 9">
            <a:extLst>
              <a:ext uri="{FF2B5EF4-FFF2-40B4-BE49-F238E27FC236}">
                <a16:creationId xmlns:a16="http://schemas.microsoft.com/office/drawing/2014/main" id="{E20172B7-39DA-FF71-2EA4-96F309218C44}"/>
              </a:ext>
            </a:extLst>
          </p:cNvPr>
          <p:cNvSpPr/>
          <p:nvPr userDrawn="1"/>
        </p:nvSpPr>
        <p:spPr>
          <a:xfrm>
            <a:off x="8864810" y="0"/>
            <a:ext cx="3327190" cy="5399115"/>
          </a:xfrm>
          <a:custGeom>
            <a:avLst/>
            <a:gdLst>
              <a:gd name="connsiteX0" fmla="*/ 2084494 w 3327190"/>
              <a:gd name="connsiteY0" fmla="*/ 0 h 5399115"/>
              <a:gd name="connsiteX1" fmla="*/ 3327190 w 3327190"/>
              <a:gd name="connsiteY1" fmla="*/ 0 h 5399115"/>
              <a:gd name="connsiteX2" fmla="*/ 3327190 w 3327190"/>
              <a:gd name="connsiteY2" fmla="*/ 5399115 h 5399115"/>
              <a:gd name="connsiteX3" fmla="*/ 469508 w 3327190"/>
              <a:gd name="connsiteY3" fmla="*/ 2526750 h 5399115"/>
              <a:gd name="connsiteX4" fmla="*/ 407278 w 3327190"/>
              <a:gd name="connsiteY4" fmla="*/ 2464839 h 5399115"/>
              <a:gd name="connsiteX5" fmla="*/ 380608 w 3327190"/>
              <a:gd name="connsiteY5" fmla="*/ 2438670 h 5399115"/>
              <a:gd name="connsiteX6" fmla="*/ 345684 w 3327190"/>
              <a:gd name="connsiteY6" fmla="*/ 2404841 h 5399115"/>
              <a:gd name="connsiteX7" fmla="*/ 310123 w 3327190"/>
              <a:gd name="connsiteY7" fmla="*/ 2371015 h 5399115"/>
              <a:gd name="connsiteX8" fmla="*/ 284723 w 3327190"/>
              <a:gd name="connsiteY8" fmla="*/ 2346760 h 5399115"/>
              <a:gd name="connsiteX9" fmla="*/ 244084 w 3327190"/>
              <a:gd name="connsiteY9" fmla="*/ 2307826 h 5399115"/>
              <a:gd name="connsiteX10" fmla="*/ 225668 w 3327190"/>
              <a:gd name="connsiteY10" fmla="*/ 2290593 h 5399115"/>
              <a:gd name="connsiteX11" fmla="*/ 180583 w 3327190"/>
              <a:gd name="connsiteY11" fmla="*/ 2247829 h 5399115"/>
              <a:gd name="connsiteX12" fmla="*/ 167248 w 3327190"/>
              <a:gd name="connsiteY12" fmla="*/ 2235702 h 5399115"/>
              <a:gd name="connsiteX13" fmla="*/ 117718 w 3327190"/>
              <a:gd name="connsiteY13" fmla="*/ 2190386 h 5399115"/>
              <a:gd name="connsiteX14" fmla="*/ 109462 w 3327190"/>
              <a:gd name="connsiteY14" fmla="*/ 2182726 h 5399115"/>
              <a:gd name="connsiteX15" fmla="*/ 56758 w 3327190"/>
              <a:gd name="connsiteY15" fmla="*/ 2134857 h 5399115"/>
              <a:gd name="connsiteX16" fmla="*/ 52948 w 3327190"/>
              <a:gd name="connsiteY16" fmla="*/ 2131665 h 5399115"/>
              <a:gd name="connsiteX17" fmla="*/ 0 w 3327190"/>
              <a:gd name="connsiteY17" fmla="*/ 2084494 h 5399115"/>
              <a:gd name="connsiteX18" fmla="*/ 2084494 w 3327190"/>
              <a:gd name="connsiteY18" fmla="*/ 0 h 539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27190" h="5399115">
                <a:moveTo>
                  <a:pt x="2084494" y="0"/>
                </a:moveTo>
                <a:lnTo>
                  <a:pt x="3327190" y="0"/>
                </a:lnTo>
                <a:lnTo>
                  <a:pt x="3327190" y="5399115"/>
                </a:lnTo>
                <a:lnTo>
                  <a:pt x="469508" y="2526750"/>
                </a:lnTo>
                <a:cubicBezTo>
                  <a:pt x="448554" y="2505688"/>
                  <a:pt x="427599" y="2485263"/>
                  <a:pt x="407278" y="2464839"/>
                </a:cubicBezTo>
                <a:cubicBezTo>
                  <a:pt x="398388" y="2455903"/>
                  <a:pt x="389498" y="2447605"/>
                  <a:pt x="380608" y="2438670"/>
                </a:cubicBezTo>
                <a:cubicBezTo>
                  <a:pt x="369178" y="2427182"/>
                  <a:pt x="357748" y="2415693"/>
                  <a:pt x="345684" y="2404841"/>
                </a:cubicBezTo>
                <a:cubicBezTo>
                  <a:pt x="333618" y="2393354"/>
                  <a:pt x="322188" y="2381865"/>
                  <a:pt x="310123" y="2371015"/>
                </a:cubicBezTo>
                <a:cubicBezTo>
                  <a:pt x="301868" y="2362717"/>
                  <a:pt x="293614" y="2355057"/>
                  <a:pt x="284723" y="2346760"/>
                </a:cubicBezTo>
                <a:cubicBezTo>
                  <a:pt x="270753" y="2333357"/>
                  <a:pt x="257418" y="2320591"/>
                  <a:pt x="244084" y="2307826"/>
                </a:cubicBezTo>
                <a:cubicBezTo>
                  <a:pt x="237734" y="2302082"/>
                  <a:pt x="232018" y="2296338"/>
                  <a:pt x="225668" y="2290593"/>
                </a:cubicBezTo>
                <a:cubicBezTo>
                  <a:pt x="210428" y="2276551"/>
                  <a:pt x="195188" y="2261871"/>
                  <a:pt x="180583" y="2247829"/>
                </a:cubicBezTo>
                <a:cubicBezTo>
                  <a:pt x="176138" y="2244000"/>
                  <a:pt x="171693" y="2239532"/>
                  <a:pt x="167248" y="2235702"/>
                </a:cubicBezTo>
                <a:cubicBezTo>
                  <a:pt x="150738" y="2220384"/>
                  <a:pt x="134228" y="2205066"/>
                  <a:pt x="117718" y="2190386"/>
                </a:cubicBezTo>
                <a:cubicBezTo>
                  <a:pt x="115178" y="2187832"/>
                  <a:pt x="112638" y="2185279"/>
                  <a:pt x="109462" y="2182726"/>
                </a:cubicBezTo>
                <a:cubicBezTo>
                  <a:pt x="91684" y="2166770"/>
                  <a:pt x="73903" y="2150814"/>
                  <a:pt x="56758" y="2134857"/>
                </a:cubicBezTo>
                <a:cubicBezTo>
                  <a:pt x="55488" y="2133581"/>
                  <a:pt x="54218" y="2132942"/>
                  <a:pt x="52948" y="2131665"/>
                </a:cubicBezTo>
                <a:lnTo>
                  <a:pt x="0" y="2084494"/>
                </a:lnTo>
                <a:lnTo>
                  <a:pt x="2084494" y="0"/>
                </a:lnTo>
                <a:close/>
              </a:path>
            </a:pathLst>
          </a:custGeom>
          <a:solidFill>
            <a:srgbClr val="7A3500"/>
          </a:solidFill>
          <a:ln w="12700">
            <a:solidFill>
              <a:srgbClr val="7A35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6" name="Freeform: Shape 5">
            <a:extLst>
              <a:ext uri="{FF2B5EF4-FFF2-40B4-BE49-F238E27FC236}">
                <a16:creationId xmlns:a16="http://schemas.microsoft.com/office/drawing/2014/main" id="{B93F6A57-A779-6046-0EB8-C09B5A1CF949}"/>
              </a:ext>
            </a:extLst>
          </p:cNvPr>
          <p:cNvSpPr/>
          <p:nvPr userDrawn="1"/>
        </p:nvSpPr>
        <p:spPr>
          <a:xfrm>
            <a:off x="4109538" y="2081881"/>
            <a:ext cx="8082463" cy="4776119"/>
          </a:xfrm>
          <a:custGeom>
            <a:avLst/>
            <a:gdLst>
              <a:gd name="connsiteX0" fmla="*/ 4752340 w 8082463"/>
              <a:gd name="connsiteY0" fmla="*/ 0 h 4776119"/>
              <a:gd name="connsiteX1" fmla="*/ 4808220 w 8082463"/>
              <a:gd name="connsiteY1" fmla="*/ 49784 h 4776119"/>
              <a:gd name="connsiteX2" fmla="*/ 4812030 w 8082463"/>
              <a:gd name="connsiteY2" fmla="*/ 52976 h 4776119"/>
              <a:gd name="connsiteX3" fmla="*/ 4864734 w 8082463"/>
              <a:gd name="connsiteY3" fmla="*/ 100845 h 4776119"/>
              <a:gd name="connsiteX4" fmla="*/ 4872990 w 8082463"/>
              <a:gd name="connsiteY4" fmla="*/ 108505 h 4776119"/>
              <a:gd name="connsiteX5" fmla="*/ 4922520 w 8082463"/>
              <a:gd name="connsiteY5" fmla="*/ 153821 h 4776119"/>
              <a:gd name="connsiteX6" fmla="*/ 4935855 w 8082463"/>
              <a:gd name="connsiteY6" fmla="*/ 165948 h 4776119"/>
              <a:gd name="connsiteX7" fmla="*/ 4980940 w 8082463"/>
              <a:gd name="connsiteY7" fmla="*/ 208712 h 4776119"/>
              <a:gd name="connsiteX8" fmla="*/ 4999356 w 8082463"/>
              <a:gd name="connsiteY8" fmla="*/ 225945 h 4776119"/>
              <a:gd name="connsiteX9" fmla="*/ 5039995 w 8082463"/>
              <a:gd name="connsiteY9" fmla="*/ 264879 h 4776119"/>
              <a:gd name="connsiteX10" fmla="*/ 5065395 w 8082463"/>
              <a:gd name="connsiteY10" fmla="*/ 289134 h 4776119"/>
              <a:gd name="connsiteX11" fmla="*/ 5100956 w 8082463"/>
              <a:gd name="connsiteY11" fmla="*/ 322960 h 4776119"/>
              <a:gd name="connsiteX12" fmla="*/ 5135880 w 8082463"/>
              <a:gd name="connsiteY12" fmla="*/ 356789 h 4776119"/>
              <a:gd name="connsiteX13" fmla="*/ 5162550 w 8082463"/>
              <a:gd name="connsiteY13" fmla="*/ 382958 h 4776119"/>
              <a:gd name="connsiteX14" fmla="*/ 5224780 w 8082463"/>
              <a:gd name="connsiteY14" fmla="*/ 444869 h 4776119"/>
              <a:gd name="connsiteX15" fmla="*/ 8082463 w 8082463"/>
              <a:gd name="connsiteY15" fmla="*/ 3317235 h 4776119"/>
              <a:gd name="connsiteX16" fmla="*/ 8082463 w 8082463"/>
              <a:gd name="connsiteY16" fmla="*/ 4776119 h 4776119"/>
              <a:gd name="connsiteX17" fmla="*/ 0 w 8082463"/>
              <a:gd name="connsiteY17" fmla="*/ 4776119 h 477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82463" h="4776119">
                <a:moveTo>
                  <a:pt x="4752340" y="0"/>
                </a:moveTo>
                <a:cubicBezTo>
                  <a:pt x="4770756" y="16595"/>
                  <a:pt x="4789805" y="33190"/>
                  <a:pt x="4808220" y="49784"/>
                </a:cubicBezTo>
                <a:cubicBezTo>
                  <a:pt x="4809490" y="51061"/>
                  <a:pt x="4810760" y="51700"/>
                  <a:pt x="4812030" y="52976"/>
                </a:cubicBezTo>
                <a:cubicBezTo>
                  <a:pt x="4829175" y="68933"/>
                  <a:pt x="4846956" y="84889"/>
                  <a:pt x="4864734" y="100845"/>
                </a:cubicBezTo>
                <a:cubicBezTo>
                  <a:pt x="4867910" y="103398"/>
                  <a:pt x="4870450" y="105951"/>
                  <a:pt x="4872990" y="108505"/>
                </a:cubicBezTo>
                <a:cubicBezTo>
                  <a:pt x="4889500" y="123185"/>
                  <a:pt x="4906010" y="138503"/>
                  <a:pt x="4922520" y="153821"/>
                </a:cubicBezTo>
                <a:cubicBezTo>
                  <a:pt x="4926965" y="157651"/>
                  <a:pt x="4931410" y="162119"/>
                  <a:pt x="4935855" y="165948"/>
                </a:cubicBezTo>
                <a:cubicBezTo>
                  <a:pt x="4950460" y="179990"/>
                  <a:pt x="4965700" y="194670"/>
                  <a:pt x="4980940" y="208712"/>
                </a:cubicBezTo>
                <a:cubicBezTo>
                  <a:pt x="4987290" y="214457"/>
                  <a:pt x="4993006" y="220201"/>
                  <a:pt x="4999356" y="225945"/>
                </a:cubicBezTo>
                <a:cubicBezTo>
                  <a:pt x="5012690" y="238710"/>
                  <a:pt x="5026025" y="251476"/>
                  <a:pt x="5039995" y="264879"/>
                </a:cubicBezTo>
                <a:cubicBezTo>
                  <a:pt x="5048886" y="273176"/>
                  <a:pt x="5057140" y="280836"/>
                  <a:pt x="5065395" y="289134"/>
                </a:cubicBezTo>
                <a:cubicBezTo>
                  <a:pt x="5077460" y="299984"/>
                  <a:pt x="5088890" y="311473"/>
                  <a:pt x="5100956" y="322960"/>
                </a:cubicBezTo>
                <a:cubicBezTo>
                  <a:pt x="5113020" y="333812"/>
                  <a:pt x="5124450" y="345301"/>
                  <a:pt x="5135880" y="356789"/>
                </a:cubicBezTo>
                <a:cubicBezTo>
                  <a:pt x="5144770" y="365724"/>
                  <a:pt x="5153660" y="374022"/>
                  <a:pt x="5162550" y="382958"/>
                </a:cubicBezTo>
                <a:cubicBezTo>
                  <a:pt x="5182871" y="403382"/>
                  <a:pt x="5203826" y="423807"/>
                  <a:pt x="5224780" y="444869"/>
                </a:cubicBezTo>
                <a:lnTo>
                  <a:pt x="8082463" y="3317235"/>
                </a:lnTo>
                <a:lnTo>
                  <a:pt x="8082463" y="4776119"/>
                </a:lnTo>
                <a:lnTo>
                  <a:pt x="0" y="4776119"/>
                </a:lnTo>
                <a:close/>
              </a:path>
            </a:pathLst>
          </a:custGeom>
          <a:solidFill>
            <a:schemeClr val="accent1"/>
          </a:solidFill>
          <a:ln w="12700" cap="flat">
            <a:solidFill>
              <a:schemeClr val="accent1"/>
            </a:solidFill>
            <a:prstDash val="solid"/>
            <a:miter/>
          </a:ln>
        </p:spPr>
        <p:txBody>
          <a:bodyPr wrap="square" rtlCol="0" anchor="ctr">
            <a:noAutofit/>
          </a:bodyPr>
          <a:lstStyle/>
          <a:p>
            <a:endParaRPr lang="en-GB"/>
          </a:p>
        </p:txBody>
      </p:sp>
      <p:sp>
        <p:nvSpPr>
          <p:cNvPr id="41" name="Title 1">
            <a:extLst>
              <a:ext uri="{FF2B5EF4-FFF2-40B4-BE49-F238E27FC236}">
                <a16:creationId xmlns:a16="http://schemas.microsoft.com/office/drawing/2014/main" id="{28CFD1A7-076B-DEF9-8D83-50E9E82FA68F}"/>
              </a:ext>
            </a:extLst>
          </p:cNvPr>
          <p:cNvSpPr>
            <a:spLocks noGrp="1"/>
          </p:cNvSpPr>
          <p:nvPr>
            <p:ph type="ctrTitle" hasCustomPrompt="1"/>
          </p:nvPr>
        </p:nvSpPr>
        <p:spPr>
          <a:xfrm>
            <a:off x="1137600" y="3207024"/>
            <a:ext cx="6812280" cy="449482"/>
          </a:xfrm>
          <a:noFill/>
        </p:spPr>
        <p:txBody>
          <a:bodyPr wrap="square" anchor="b">
            <a:spAutoFit/>
          </a:bodyPr>
          <a:lstStyle>
            <a:lvl1pPr algn="l">
              <a:lnSpc>
                <a:spcPct val="80000"/>
              </a:lnSpc>
              <a:defRPr sz="3600" b="1">
                <a:solidFill>
                  <a:schemeClr val="bg1"/>
                </a:solidFill>
              </a:defRPr>
            </a:lvl1pPr>
          </a:lstStyle>
          <a:p>
            <a:r>
              <a:rPr lang="nl-NL" noProof="0" dirty="0"/>
              <a:t>Naam</a:t>
            </a:r>
          </a:p>
        </p:txBody>
      </p:sp>
      <p:sp>
        <p:nvSpPr>
          <p:cNvPr id="42" name="Subtitle 2">
            <a:extLst>
              <a:ext uri="{FF2B5EF4-FFF2-40B4-BE49-F238E27FC236}">
                <a16:creationId xmlns:a16="http://schemas.microsoft.com/office/drawing/2014/main" id="{7FCF5694-9FEB-58DA-9F56-07296AE6C366}"/>
              </a:ext>
            </a:extLst>
          </p:cNvPr>
          <p:cNvSpPr>
            <a:spLocks noGrp="1"/>
          </p:cNvSpPr>
          <p:nvPr>
            <p:ph type="subTitle" idx="1" hasCustomPrompt="1"/>
          </p:nvPr>
        </p:nvSpPr>
        <p:spPr>
          <a:xfrm>
            <a:off x="1137600" y="3696048"/>
            <a:ext cx="6812280" cy="369332"/>
          </a:xfrm>
          <a:noFill/>
        </p:spPr>
        <p:txBody>
          <a:bodyPr wrap="square" anchor="t">
            <a:spAutoFit/>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Afdeling/Functie</a:t>
            </a:r>
          </a:p>
        </p:txBody>
      </p:sp>
      <p:sp>
        <p:nvSpPr>
          <p:cNvPr id="3" name="Tekstvak 2">
            <a:extLst>
              <a:ext uri="{FF2B5EF4-FFF2-40B4-BE49-F238E27FC236}">
                <a16:creationId xmlns:a16="http://schemas.microsoft.com/office/drawing/2014/main" id="{9806E908-3F22-CE3A-A292-6379B07428C1}"/>
              </a:ext>
            </a:extLst>
          </p:cNvPr>
          <p:cNvSpPr txBox="1"/>
          <p:nvPr userDrawn="1"/>
        </p:nvSpPr>
        <p:spPr>
          <a:xfrm>
            <a:off x="1137600" y="5870262"/>
            <a:ext cx="6102350" cy="276999"/>
          </a:xfrm>
          <a:prstGeom prst="rect">
            <a:avLst/>
          </a:prstGeom>
          <a:noFill/>
        </p:spPr>
        <p:txBody>
          <a:bodyPr wrap="square" lIns="0" tIns="0" rIns="0" bIns="0">
            <a:spAutoFit/>
          </a:bodyPr>
          <a:lstStyle/>
          <a:p>
            <a:r>
              <a:rPr lang="nl-NL" sz="1800" dirty="0">
                <a:solidFill>
                  <a:schemeClr val="bg1"/>
                </a:solidFill>
                <a:effectLst/>
                <a:latin typeface="+mn-lt"/>
              </a:rPr>
              <a:t>heartofhealth.com </a:t>
            </a:r>
            <a:endParaRPr lang="en-GB" dirty="0">
              <a:solidFill>
                <a:schemeClr val="bg1"/>
              </a:solidFill>
              <a:latin typeface="+mn-lt"/>
            </a:endParaRPr>
          </a:p>
        </p:txBody>
      </p:sp>
      <p:sp>
        <p:nvSpPr>
          <p:cNvPr id="5" name="Text Placeholder 4">
            <a:extLst>
              <a:ext uri="{FF2B5EF4-FFF2-40B4-BE49-F238E27FC236}">
                <a16:creationId xmlns:a16="http://schemas.microsoft.com/office/drawing/2014/main" id="{A9255E2B-5841-681C-09E3-97F577DF72BF}"/>
              </a:ext>
            </a:extLst>
          </p:cNvPr>
          <p:cNvSpPr>
            <a:spLocks noGrp="1"/>
          </p:cNvSpPr>
          <p:nvPr>
            <p:ph type="body" sz="quarter" idx="19" hasCustomPrompt="1"/>
          </p:nvPr>
        </p:nvSpPr>
        <p:spPr>
          <a:xfrm>
            <a:off x="1137600" y="4381670"/>
            <a:ext cx="6811962" cy="276999"/>
          </a:xfrm>
        </p:spPr>
        <p:txBody>
          <a:bodyPr>
            <a:spAutoFit/>
          </a:bodyPr>
          <a:lstStyle>
            <a:lvl1pPr>
              <a:defRPr sz="1800">
                <a:solidFill>
                  <a:schemeClr val="bg1"/>
                </a:solidFill>
              </a:defRPr>
            </a:lvl1pPr>
          </a:lstStyle>
          <a:p>
            <a:pPr lvl="0"/>
            <a:r>
              <a:rPr lang="nl-NL" noProof="0" dirty="0"/>
              <a:t>email</a:t>
            </a:r>
          </a:p>
        </p:txBody>
      </p:sp>
      <p:sp>
        <p:nvSpPr>
          <p:cNvPr id="11" name="Picture Placeholder 8">
            <a:extLst>
              <a:ext uri="{FF2B5EF4-FFF2-40B4-BE49-F238E27FC236}">
                <a16:creationId xmlns:a16="http://schemas.microsoft.com/office/drawing/2014/main" id="{3F035AA5-F14A-BEA7-72CD-B8BA66669A56}"/>
              </a:ext>
            </a:extLst>
          </p:cNvPr>
          <p:cNvSpPr>
            <a:spLocks noGrp="1"/>
          </p:cNvSpPr>
          <p:nvPr>
            <p:ph type="pic" sz="quarter" idx="20"/>
          </p:nvPr>
        </p:nvSpPr>
        <p:spPr>
          <a:xfrm>
            <a:off x="6808663" y="1514846"/>
            <a:ext cx="3845172" cy="3828308"/>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grpSp>
        <p:nvGrpSpPr>
          <p:cNvPr id="2" name="Groep 1">
            <a:extLst>
              <a:ext uri="{FF2B5EF4-FFF2-40B4-BE49-F238E27FC236}">
                <a16:creationId xmlns:a16="http://schemas.microsoft.com/office/drawing/2014/main" id="{87AE091C-B0D8-82B1-D994-76044ACB4B49}"/>
              </a:ext>
            </a:extLst>
          </p:cNvPr>
          <p:cNvGrpSpPr/>
          <p:nvPr userDrawn="1"/>
        </p:nvGrpSpPr>
        <p:grpSpPr>
          <a:xfrm>
            <a:off x="10014482" y="5839298"/>
            <a:ext cx="1599388" cy="433809"/>
            <a:chOff x="3101010" y="1249096"/>
            <a:chExt cx="3978412" cy="1079079"/>
          </a:xfrm>
          <a:solidFill>
            <a:schemeClr val="bg1"/>
          </a:solidFill>
        </p:grpSpPr>
        <p:sp>
          <p:nvSpPr>
            <p:cNvPr id="4" name="Vrije vorm 3">
              <a:extLst>
                <a:ext uri="{FF2B5EF4-FFF2-40B4-BE49-F238E27FC236}">
                  <a16:creationId xmlns:a16="http://schemas.microsoft.com/office/drawing/2014/main" id="{BE01A867-5351-DF72-BB40-A82EEC52CB0C}"/>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4377C5CF-E5BD-0B76-D8E3-0CD896700247}"/>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CBF666B4-2E7B-073A-79A1-152E4CB0DD3D}"/>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63B67466-CE83-044E-12EE-C5CB73A55FA4}"/>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E9AE048F-75FD-A6CB-21CF-9FB29108EBC3}"/>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72F64390-92C9-F155-EDBE-6D075CCC2B8B}"/>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E70A7D4C-5EC8-EE7F-6A5F-588F656DA118}"/>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58ACC5BB-9445-F131-D9EA-BD52D34AF0CA}"/>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8" name="Graphic 11">
            <a:extLst>
              <a:ext uri="{FF2B5EF4-FFF2-40B4-BE49-F238E27FC236}">
                <a16:creationId xmlns:a16="http://schemas.microsoft.com/office/drawing/2014/main" id="{BE269AB9-C9AE-CE1B-10CF-0EEB7434DF39}"/>
              </a:ext>
              <a:ext uri="{C183D7F6-B498-43B3-948B-1728B52AA6E4}">
                <adec:decorative xmlns:adec="http://schemas.microsoft.com/office/drawing/2017/decorative" val="0"/>
              </a:ext>
            </a:extLst>
          </p:cNvPr>
          <p:cNvSpPr/>
          <p:nvPr userDrawn="1"/>
        </p:nvSpPr>
        <p:spPr>
          <a:xfrm>
            <a:off x="1154113" y="4893269"/>
            <a:ext cx="366523" cy="366523"/>
          </a:xfrm>
          <a:custGeom>
            <a:avLst/>
            <a:gdLst>
              <a:gd name="connsiteX0" fmla="*/ 354337 w 382607"/>
              <a:gd name="connsiteY0" fmla="*/ 0 h 382607"/>
              <a:gd name="connsiteX1" fmla="*/ 28270 w 382607"/>
              <a:gd name="connsiteY1" fmla="*/ 0 h 382607"/>
              <a:gd name="connsiteX2" fmla="*/ 0 w 382607"/>
              <a:gd name="connsiteY2" fmla="*/ 27633 h 382607"/>
              <a:gd name="connsiteX3" fmla="*/ 0 w 382607"/>
              <a:gd name="connsiteY3" fmla="*/ 354974 h 382607"/>
              <a:gd name="connsiteX4" fmla="*/ 28270 w 382607"/>
              <a:gd name="connsiteY4" fmla="*/ 382607 h 382607"/>
              <a:gd name="connsiteX5" fmla="*/ 354337 w 382607"/>
              <a:gd name="connsiteY5" fmla="*/ 382607 h 382607"/>
              <a:gd name="connsiteX6" fmla="*/ 382607 w 382607"/>
              <a:gd name="connsiteY6" fmla="*/ 354974 h 382607"/>
              <a:gd name="connsiteX7" fmla="*/ 382607 w 382607"/>
              <a:gd name="connsiteY7" fmla="*/ 27633 h 382607"/>
              <a:gd name="connsiteX8" fmla="*/ 354337 w 382607"/>
              <a:gd name="connsiteY8" fmla="*/ 0 h 382607"/>
              <a:gd name="connsiteX9" fmla="*/ 113507 w 382607"/>
              <a:gd name="connsiteY9" fmla="*/ 326066 h 382607"/>
              <a:gd name="connsiteX10" fmla="*/ 56647 w 382607"/>
              <a:gd name="connsiteY10" fmla="*/ 326066 h 382607"/>
              <a:gd name="connsiteX11" fmla="*/ 56647 w 382607"/>
              <a:gd name="connsiteY11" fmla="*/ 143478 h 382607"/>
              <a:gd name="connsiteX12" fmla="*/ 113401 w 382607"/>
              <a:gd name="connsiteY12" fmla="*/ 143478 h 382607"/>
              <a:gd name="connsiteX13" fmla="*/ 113401 w 382607"/>
              <a:gd name="connsiteY13" fmla="*/ 326066 h 382607"/>
              <a:gd name="connsiteX14" fmla="*/ 85130 w 382607"/>
              <a:gd name="connsiteY14" fmla="*/ 118502 h 382607"/>
              <a:gd name="connsiteX15" fmla="*/ 52183 w 382607"/>
              <a:gd name="connsiteY15" fmla="*/ 85555 h 382607"/>
              <a:gd name="connsiteX16" fmla="*/ 85130 w 382607"/>
              <a:gd name="connsiteY16" fmla="*/ 52608 h 382607"/>
              <a:gd name="connsiteX17" fmla="*/ 117971 w 382607"/>
              <a:gd name="connsiteY17" fmla="*/ 85555 h 382607"/>
              <a:gd name="connsiteX18" fmla="*/ 85130 w 382607"/>
              <a:gd name="connsiteY18" fmla="*/ 118502 h 382607"/>
              <a:gd name="connsiteX19" fmla="*/ 326066 w 382607"/>
              <a:gd name="connsiteY19" fmla="*/ 326066 h 382607"/>
              <a:gd name="connsiteX20" fmla="*/ 269313 w 382607"/>
              <a:gd name="connsiteY20" fmla="*/ 326066 h 382607"/>
              <a:gd name="connsiteX21" fmla="*/ 269313 w 382607"/>
              <a:gd name="connsiteY21" fmla="*/ 237323 h 382607"/>
              <a:gd name="connsiteX22" fmla="*/ 239873 w 382607"/>
              <a:gd name="connsiteY22" fmla="*/ 188859 h 382607"/>
              <a:gd name="connsiteX23" fmla="*/ 205864 w 382607"/>
              <a:gd name="connsiteY23" fmla="*/ 235728 h 382607"/>
              <a:gd name="connsiteX24" fmla="*/ 205864 w 382607"/>
              <a:gd name="connsiteY24" fmla="*/ 326066 h 382607"/>
              <a:gd name="connsiteX25" fmla="*/ 149217 w 382607"/>
              <a:gd name="connsiteY25" fmla="*/ 326066 h 382607"/>
              <a:gd name="connsiteX26" fmla="*/ 149217 w 382607"/>
              <a:gd name="connsiteY26" fmla="*/ 143478 h 382607"/>
              <a:gd name="connsiteX27" fmla="*/ 203632 w 382607"/>
              <a:gd name="connsiteY27" fmla="*/ 143478 h 382607"/>
              <a:gd name="connsiteX28" fmla="*/ 203632 w 382607"/>
              <a:gd name="connsiteY28" fmla="*/ 168453 h 382607"/>
              <a:gd name="connsiteX29" fmla="*/ 204376 w 382607"/>
              <a:gd name="connsiteY29" fmla="*/ 168453 h 382607"/>
              <a:gd name="connsiteX30" fmla="*/ 258047 w 382607"/>
              <a:gd name="connsiteY30" fmla="*/ 139014 h 382607"/>
              <a:gd name="connsiteX31" fmla="*/ 326173 w 382607"/>
              <a:gd name="connsiteY31" fmla="*/ 225951 h 382607"/>
              <a:gd name="connsiteX32" fmla="*/ 326173 w 382607"/>
              <a:gd name="connsiteY32" fmla="*/ 326066 h 382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2607" h="382607">
                <a:moveTo>
                  <a:pt x="354337" y="0"/>
                </a:moveTo>
                <a:lnTo>
                  <a:pt x="28270" y="0"/>
                </a:lnTo>
                <a:cubicBezTo>
                  <a:pt x="12647" y="0"/>
                  <a:pt x="0" y="12328"/>
                  <a:pt x="0" y="27633"/>
                </a:cubicBezTo>
                <a:lnTo>
                  <a:pt x="0" y="354974"/>
                </a:lnTo>
                <a:cubicBezTo>
                  <a:pt x="0" y="370279"/>
                  <a:pt x="12647" y="382607"/>
                  <a:pt x="28270" y="382607"/>
                </a:cubicBezTo>
                <a:lnTo>
                  <a:pt x="354337" y="382607"/>
                </a:lnTo>
                <a:cubicBezTo>
                  <a:pt x="369854" y="382607"/>
                  <a:pt x="382607" y="370279"/>
                  <a:pt x="382607" y="354974"/>
                </a:cubicBezTo>
                <a:lnTo>
                  <a:pt x="382607" y="27633"/>
                </a:lnTo>
                <a:cubicBezTo>
                  <a:pt x="382607" y="12328"/>
                  <a:pt x="369854" y="0"/>
                  <a:pt x="354337" y="0"/>
                </a:cubicBezTo>
                <a:close/>
                <a:moveTo>
                  <a:pt x="113507" y="326066"/>
                </a:moveTo>
                <a:lnTo>
                  <a:pt x="56647" y="326066"/>
                </a:lnTo>
                <a:lnTo>
                  <a:pt x="56647" y="143478"/>
                </a:lnTo>
                <a:lnTo>
                  <a:pt x="113401" y="143478"/>
                </a:lnTo>
                <a:lnTo>
                  <a:pt x="113401" y="326066"/>
                </a:lnTo>
                <a:close/>
                <a:moveTo>
                  <a:pt x="85130" y="118502"/>
                </a:moveTo>
                <a:cubicBezTo>
                  <a:pt x="66956" y="118502"/>
                  <a:pt x="52183" y="103729"/>
                  <a:pt x="52183" y="85555"/>
                </a:cubicBezTo>
                <a:cubicBezTo>
                  <a:pt x="52183" y="67381"/>
                  <a:pt x="66850" y="52608"/>
                  <a:pt x="85130" y="52608"/>
                </a:cubicBezTo>
                <a:cubicBezTo>
                  <a:pt x="103304" y="52608"/>
                  <a:pt x="117971" y="67381"/>
                  <a:pt x="117971" y="85555"/>
                </a:cubicBezTo>
                <a:cubicBezTo>
                  <a:pt x="117971" y="103729"/>
                  <a:pt x="103304" y="118502"/>
                  <a:pt x="85130" y="118502"/>
                </a:cubicBezTo>
                <a:close/>
                <a:moveTo>
                  <a:pt x="326066" y="326066"/>
                </a:moveTo>
                <a:lnTo>
                  <a:pt x="269313" y="326066"/>
                </a:lnTo>
                <a:lnTo>
                  <a:pt x="269313" y="237323"/>
                </a:lnTo>
                <a:cubicBezTo>
                  <a:pt x="269313" y="216173"/>
                  <a:pt x="268994" y="188859"/>
                  <a:pt x="239873" y="188859"/>
                </a:cubicBezTo>
                <a:cubicBezTo>
                  <a:pt x="210328" y="188859"/>
                  <a:pt x="205864" y="211922"/>
                  <a:pt x="205864" y="235728"/>
                </a:cubicBezTo>
                <a:lnTo>
                  <a:pt x="205864" y="326066"/>
                </a:lnTo>
                <a:lnTo>
                  <a:pt x="149217" y="326066"/>
                </a:lnTo>
                <a:lnTo>
                  <a:pt x="149217" y="143478"/>
                </a:lnTo>
                <a:lnTo>
                  <a:pt x="203632" y="143478"/>
                </a:lnTo>
                <a:lnTo>
                  <a:pt x="203632" y="168453"/>
                </a:lnTo>
                <a:lnTo>
                  <a:pt x="204376" y="168453"/>
                </a:lnTo>
                <a:cubicBezTo>
                  <a:pt x="211922" y="154106"/>
                  <a:pt x="230415" y="139014"/>
                  <a:pt x="258047" y="139014"/>
                </a:cubicBezTo>
                <a:cubicBezTo>
                  <a:pt x="315545" y="139014"/>
                  <a:pt x="326173" y="176849"/>
                  <a:pt x="326173" y="225951"/>
                </a:cubicBezTo>
                <a:lnTo>
                  <a:pt x="326173" y="326066"/>
                </a:lnTo>
                <a:close/>
              </a:path>
            </a:pathLst>
          </a:custGeom>
          <a:solidFill>
            <a:schemeClr val="bg1"/>
          </a:solidFill>
          <a:ln w="10432" cap="flat">
            <a:noFill/>
            <a:prstDash val="solid"/>
            <a:miter/>
          </a:ln>
        </p:spPr>
        <p:txBody>
          <a:bodyPr rtlCol="0" anchor="ctr"/>
          <a:lstStyle/>
          <a:p>
            <a:endParaRPr lang="en-GB"/>
          </a:p>
        </p:txBody>
      </p:sp>
    </p:spTree>
    <p:extLst>
      <p:ext uri="{BB962C8B-B14F-4D97-AF65-F5344CB8AC3E}">
        <p14:creationId xmlns:p14="http://schemas.microsoft.com/office/powerpoint/2010/main" val="38300889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fsluiting / Beeld">
    <p:bg>
      <p:bgPr>
        <a:solidFill>
          <a:schemeClr val="accent1"/>
        </a:solidFill>
        <a:effectLst/>
      </p:bgPr>
    </p:bg>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750D8FE7-C87B-9F36-0BB1-F47746731658}"/>
              </a:ext>
            </a:extLst>
          </p:cNvPr>
          <p:cNvSpPr>
            <a:spLocks noGrp="1"/>
          </p:cNvSpPr>
          <p:nvPr>
            <p:ph type="pic" sz="quarter" idx="19"/>
          </p:nvPr>
        </p:nvSpPr>
        <p:spPr>
          <a:xfrm>
            <a:off x="0" y="-6038"/>
            <a:ext cx="6182350" cy="6216857"/>
          </a:xfrm>
          <a:custGeom>
            <a:avLst/>
            <a:gdLst>
              <a:gd name="connsiteX0" fmla="*/ 6182350 w 6182350"/>
              <a:gd name="connsiteY0" fmla="*/ 5672849 h 6216857"/>
              <a:gd name="connsiteX1" fmla="*/ 6182303 w 6182350"/>
              <a:gd name="connsiteY1" fmla="*/ 5672878 h 6216857"/>
              <a:gd name="connsiteX2" fmla="*/ 5983423 w 6182350"/>
              <a:gd name="connsiteY2" fmla="*/ 5779967 h 6216857"/>
              <a:gd name="connsiteX3" fmla="*/ 5983423 w 6182350"/>
              <a:gd name="connsiteY3" fmla="*/ 5779967 h 6216857"/>
              <a:gd name="connsiteX4" fmla="*/ 0 w 6182350"/>
              <a:gd name="connsiteY4" fmla="*/ 0 h 6216857"/>
              <a:gd name="connsiteX5" fmla="*/ 5983422 w 6182350"/>
              <a:gd name="connsiteY5" fmla="*/ 0 h 6216857"/>
              <a:gd name="connsiteX6" fmla="*/ 5983422 w 6182350"/>
              <a:gd name="connsiteY6" fmla="*/ 5779967 h 6216857"/>
              <a:gd name="connsiteX7" fmla="*/ 5811051 w 6182350"/>
              <a:gd name="connsiteY7" fmla="*/ 5863717 h 6216857"/>
              <a:gd name="connsiteX8" fmla="*/ 4806520 w 6182350"/>
              <a:gd name="connsiteY8" fmla="*/ 6172938 h 6216857"/>
              <a:gd name="connsiteX9" fmla="*/ 477737 w 6182350"/>
              <a:gd name="connsiteY9" fmla="*/ 4659542 h 6216857"/>
              <a:gd name="connsiteX10" fmla="*/ 226169 w 6182350"/>
              <a:gd name="connsiteY10" fmla="*/ 4390367 h 6216857"/>
              <a:gd name="connsiteX11" fmla="*/ 0 w 6182350"/>
              <a:gd name="connsiteY11" fmla="*/ 4113334 h 621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82350" h="6216857">
                <a:moveTo>
                  <a:pt x="6182350" y="5672849"/>
                </a:moveTo>
                <a:lnTo>
                  <a:pt x="6182303" y="5672878"/>
                </a:lnTo>
                <a:lnTo>
                  <a:pt x="5983423" y="5779967"/>
                </a:lnTo>
                <a:lnTo>
                  <a:pt x="5983423" y="5779967"/>
                </a:lnTo>
                <a:close/>
                <a:moveTo>
                  <a:pt x="0" y="0"/>
                </a:moveTo>
                <a:lnTo>
                  <a:pt x="5983422" y="0"/>
                </a:lnTo>
                <a:lnTo>
                  <a:pt x="5983422" y="5779967"/>
                </a:lnTo>
                <a:lnTo>
                  <a:pt x="5811051" y="5863717"/>
                </a:lnTo>
                <a:cubicBezTo>
                  <a:pt x="5416730" y="6045561"/>
                  <a:pt x="5078116" y="6134419"/>
                  <a:pt x="4806520" y="6172938"/>
                </a:cubicBezTo>
                <a:cubicBezTo>
                  <a:pt x="3618360" y="6346219"/>
                  <a:pt x="1857337" y="6039674"/>
                  <a:pt x="477737" y="4659542"/>
                </a:cubicBezTo>
                <a:cubicBezTo>
                  <a:pt x="389527" y="4571298"/>
                  <a:pt x="305732" y="4481488"/>
                  <a:pt x="226169" y="4390367"/>
                </a:cubicBezTo>
                <a:lnTo>
                  <a:pt x="0" y="4113334"/>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6" name="Vrije vorm 25">
            <a:extLst>
              <a:ext uri="{FF2B5EF4-FFF2-40B4-BE49-F238E27FC236}">
                <a16:creationId xmlns:a16="http://schemas.microsoft.com/office/drawing/2014/main" id="{0D2933BE-CBC4-6C62-C7C3-37ACB5A9EDAB}"/>
              </a:ext>
            </a:extLst>
          </p:cNvPr>
          <p:cNvSpPr/>
          <p:nvPr userDrawn="1"/>
        </p:nvSpPr>
        <p:spPr>
          <a:xfrm>
            <a:off x="5983422" y="-3841"/>
            <a:ext cx="6212267" cy="6868873"/>
          </a:xfrm>
          <a:custGeom>
            <a:avLst/>
            <a:gdLst>
              <a:gd name="connsiteX0" fmla="*/ 6212268 w 6212267"/>
              <a:gd name="connsiteY0" fmla="*/ 6868874 h 6868873"/>
              <a:gd name="connsiteX1" fmla="*/ 6212268 w 6212267"/>
              <a:gd name="connsiteY1" fmla="*/ 0 h 6868873"/>
              <a:gd name="connsiteX2" fmla="*/ 1796677 w 6212267"/>
              <a:gd name="connsiteY2" fmla="*/ 4417336 h 6868873"/>
              <a:gd name="connsiteX3" fmla="*/ 0 w 6212267"/>
              <a:gd name="connsiteY3" fmla="*/ 5777770 h 6868873"/>
              <a:gd name="connsiteX4" fmla="*/ 0 w 6212267"/>
              <a:gd name="connsiteY4" fmla="*/ 6868874 h 6868873"/>
              <a:gd name="connsiteX5" fmla="*/ 6212268 w 6212267"/>
              <a:gd name="connsiteY5" fmla="*/ 6868874 h 686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2267" h="6868873">
                <a:moveTo>
                  <a:pt x="6212268" y="6868874"/>
                </a:moveTo>
                <a:lnTo>
                  <a:pt x="6212268" y="0"/>
                </a:lnTo>
                <a:lnTo>
                  <a:pt x="1796677" y="4417336"/>
                </a:lnTo>
                <a:cubicBezTo>
                  <a:pt x="1126082" y="5088166"/>
                  <a:pt x="519608" y="5512547"/>
                  <a:pt x="0" y="5777770"/>
                </a:cubicBezTo>
                <a:lnTo>
                  <a:pt x="0" y="6868874"/>
                </a:lnTo>
                <a:lnTo>
                  <a:pt x="6212268" y="6868874"/>
                </a:lnTo>
                <a:close/>
              </a:path>
            </a:pathLst>
          </a:custGeom>
          <a:solidFill>
            <a:schemeClr val="accent1"/>
          </a:solidFill>
          <a:ln w="12700" cap="flat">
            <a:solidFill>
              <a:schemeClr val="accent1"/>
            </a:solid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1B4EB234-DB26-D2B9-6394-EA97F26864A6}"/>
              </a:ext>
            </a:extLst>
          </p:cNvPr>
          <p:cNvSpPr/>
          <p:nvPr userDrawn="1"/>
        </p:nvSpPr>
        <p:spPr>
          <a:xfrm>
            <a:off x="0" y="4107295"/>
            <a:ext cx="5983422" cy="2757736"/>
          </a:xfrm>
          <a:custGeom>
            <a:avLst/>
            <a:gdLst>
              <a:gd name="connsiteX0" fmla="*/ 0 w 5983422"/>
              <a:gd name="connsiteY0" fmla="*/ 0 h 2757736"/>
              <a:gd name="connsiteX1" fmla="*/ 0 w 5983422"/>
              <a:gd name="connsiteY1" fmla="*/ 2757736 h 2757736"/>
              <a:gd name="connsiteX2" fmla="*/ 5983423 w 5983422"/>
              <a:gd name="connsiteY2" fmla="*/ 2757736 h 2757736"/>
              <a:gd name="connsiteX3" fmla="*/ 5983423 w 5983422"/>
              <a:gd name="connsiteY3" fmla="*/ 1666633 h 2757736"/>
              <a:gd name="connsiteX4" fmla="*/ 4806520 w 5983422"/>
              <a:gd name="connsiteY4" fmla="*/ 2059605 h 2757736"/>
              <a:gd name="connsiteX5" fmla="*/ 477737 w 5983422"/>
              <a:gd name="connsiteY5" fmla="*/ 546209 h 2757736"/>
              <a:gd name="connsiteX6" fmla="*/ 0 w 5983422"/>
              <a:gd name="connsiteY6" fmla="*/ 0 h 275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3422" h="2757736">
                <a:moveTo>
                  <a:pt x="0" y="0"/>
                </a:moveTo>
                <a:lnTo>
                  <a:pt x="0" y="2757736"/>
                </a:lnTo>
                <a:lnTo>
                  <a:pt x="5983423" y="2757736"/>
                </a:lnTo>
                <a:lnTo>
                  <a:pt x="5983423" y="1666633"/>
                </a:lnTo>
                <a:cubicBezTo>
                  <a:pt x="5514844" y="1905813"/>
                  <a:pt x="5116915" y="2015583"/>
                  <a:pt x="4806520" y="2059605"/>
                </a:cubicBezTo>
                <a:cubicBezTo>
                  <a:pt x="3618360" y="2232886"/>
                  <a:pt x="1857337" y="1926341"/>
                  <a:pt x="477737" y="546209"/>
                </a:cubicBezTo>
                <a:cubicBezTo>
                  <a:pt x="301317" y="369721"/>
                  <a:pt x="142555" y="186966"/>
                  <a:pt x="0" y="0"/>
                </a:cubicBezTo>
              </a:path>
            </a:pathLst>
          </a:custGeom>
          <a:solidFill>
            <a:srgbClr val="7A3500"/>
          </a:solidFill>
          <a:ln w="12700" cap="flat">
            <a:solidFill>
              <a:srgbClr val="7A3500"/>
            </a:solidFill>
            <a:prstDash val="solid"/>
            <a:miter/>
          </a:ln>
        </p:spPr>
        <p:txBody>
          <a:bodyPr rtlCol="0" anchor="ctr"/>
          <a:lstStyle/>
          <a:p>
            <a:endParaRPr lang="nl-NL"/>
          </a:p>
        </p:txBody>
      </p:sp>
      <p:sp>
        <p:nvSpPr>
          <p:cNvPr id="28" name="Vrije vorm 27">
            <a:extLst>
              <a:ext uri="{FF2B5EF4-FFF2-40B4-BE49-F238E27FC236}">
                <a16:creationId xmlns:a16="http://schemas.microsoft.com/office/drawing/2014/main" id="{3658FEB1-68B3-77E1-5752-DAE16069FAC9}"/>
              </a:ext>
            </a:extLst>
          </p:cNvPr>
          <p:cNvSpPr/>
          <p:nvPr userDrawn="1"/>
        </p:nvSpPr>
        <p:spPr>
          <a:xfrm>
            <a:off x="5983422" y="-3848"/>
            <a:ext cx="6212267" cy="5777776"/>
          </a:xfrm>
          <a:custGeom>
            <a:avLst/>
            <a:gdLst>
              <a:gd name="connsiteX0" fmla="*/ 0 w 6212267"/>
              <a:gd name="connsiteY0" fmla="*/ 5777777 h 5777776"/>
              <a:gd name="connsiteX1" fmla="*/ 1796677 w 6212267"/>
              <a:gd name="connsiteY1" fmla="*/ 4417331 h 5777776"/>
              <a:gd name="connsiteX2" fmla="*/ 6212268 w 6212267"/>
              <a:gd name="connsiteY2" fmla="*/ 0 h 5777776"/>
              <a:gd name="connsiteX3" fmla="*/ 0 w 6212267"/>
              <a:gd name="connsiteY3" fmla="*/ 11 h 5777776"/>
              <a:gd name="connsiteX4" fmla="*/ 0 w 6212267"/>
              <a:gd name="connsiteY4" fmla="*/ 5777777 h 5777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2267" h="5777776">
                <a:moveTo>
                  <a:pt x="0" y="5777777"/>
                </a:moveTo>
                <a:cubicBezTo>
                  <a:pt x="519596" y="5512553"/>
                  <a:pt x="1126082" y="5088161"/>
                  <a:pt x="1796677" y="4417331"/>
                </a:cubicBezTo>
                <a:lnTo>
                  <a:pt x="6212268" y="0"/>
                </a:lnTo>
                <a:lnTo>
                  <a:pt x="0" y="11"/>
                </a:lnTo>
                <a:lnTo>
                  <a:pt x="0" y="5777777"/>
                </a:lnTo>
                <a:close/>
              </a:path>
            </a:pathLst>
          </a:custGeom>
          <a:solidFill>
            <a:srgbClr val="7A3500"/>
          </a:solidFill>
          <a:ln w="12700" cap="flat">
            <a:solidFill>
              <a:srgbClr val="7A3500"/>
            </a:solidFill>
            <a:prstDash val="solid"/>
            <a:miter/>
          </a:ln>
        </p:spPr>
        <p:txBody>
          <a:bodyPr rtlCol="0" anchor="ctr"/>
          <a:lstStyle/>
          <a:p>
            <a:endParaRPr lang="nl-NL"/>
          </a:p>
        </p:txBody>
      </p:sp>
      <p:sp>
        <p:nvSpPr>
          <p:cNvPr id="2" name="Titel 1">
            <a:extLst>
              <a:ext uri="{FF2B5EF4-FFF2-40B4-BE49-F238E27FC236}">
                <a16:creationId xmlns:a16="http://schemas.microsoft.com/office/drawing/2014/main" id="{9C22CEDD-0BA5-7B67-45FA-777969FEB4B5}"/>
              </a:ext>
            </a:extLst>
          </p:cNvPr>
          <p:cNvSpPr>
            <a:spLocks noGrp="1"/>
          </p:cNvSpPr>
          <p:nvPr>
            <p:ph type="title" hasCustomPrompt="1"/>
          </p:nvPr>
        </p:nvSpPr>
        <p:spPr>
          <a:xfrm>
            <a:off x="6588049" y="4936253"/>
            <a:ext cx="5016576" cy="692497"/>
          </a:xfrm>
        </p:spPr>
        <p:txBody>
          <a:bodyPr wrap="square" anchor="b" anchorCtr="0">
            <a:spAutoFit/>
          </a:bodyPr>
          <a:lstStyle>
            <a:lvl1pPr>
              <a:defRPr sz="5000">
                <a:solidFill>
                  <a:schemeClr val="bg1"/>
                </a:solidFill>
              </a:defRPr>
            </a:lvl1pPr>
          </a:lstStyle>
          <a:p>
            <a:r>
              <a:rPr lang="nl-NL" dirty="0"/>
              <a:t>Afsluiting</a:t>
            </a:r>
          </a:p>
        </p:txBody>
      </p:sp>
      <p:grpSp>
        <p:nvGrpSpPr>
          <p:cNvPr id="5" name="Groep 4">
            <a:extLst>
              <a:ext uri="{FF2B5EF4-FFF2-40B4-BE49-F238E27FC236}">
                <a16:creationId xmlns:a16="http://schemas.microsoft.com/office/drawing/2014/main" id="{82117802-456D-6AF4-E7D2-18FB3465A58A}"/>
              </a:ext>
            </a:extLst>
          </p:cNvPr>
          <p:cNvGrpSpPr/>
          <p:nvPr userDrawn="1"/>
        </p:nvGrpSpPr>
        <p:grpSpPr>
          <a:xfrm>
            <a:off x="9131077" y="510242"/>
            <a:ext cx="2473548" cy="670910"/>
            <a:chOff x="3101010" y="1249097"/>
            <a:chExt cx="3978412" cy="1079078"/>
          </a:xfrm>
          <a:solidFill>
            <a:schemeClr val="bg1"/>
          </a:solidFill>
        </p:grpSpPr>
        <p:sp>
          <p:nvSpPr>
            <p:cNvPr id="6" name="Vrije vorm 5">
              <a:extLst>
                <a:ext uri="{FF2B5EF4-FFF2-40B4-BE49-F238E27FC236}">
                  <a16:creationId xmlns:a16="http://schemas.microsoft.com/office/drawing/2014/main" id="{0FED2527-BEA9-7AF9-7316-311C3BF89D23}"/>
                </a:ext>
              </a:extLst>
            </p:cNvPr>
            <p:cNvSpPr/>
            <p:nvPr/>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1B541DF7-90F8-4878-482E-CC59764E06C7}"/>
                </a:ext>
              </a:extLst>
            </p:cNvPr>
            <p:cNvSpPr/>
            <p:nvPr/>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9733BCED-EAE3-C324-7205-D83F9338DEB0}"/>
                </a:ext>
              </a:extLst>
            </p:cNvPr>
            <p:cNvSpPr/>
            <p:nvPr/>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A8590B33-E181-BB42-A07C-965B75F49726}"/>
                </a:ext>
              </a:extLst>
            </p:cNvPr>
            <p:cNvSpPr/>
            <p:nvPr/>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D8B49135-7172-D2B7-4D24-88D7B3B3F609}"/>
                </a:ext>
              </a:extLst>
            </p:cNvPr>
            <p:cNvSpPr/>
            <p:nvPr/>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523CEF53-D3F5-3A4D-FD65-B951F455A647}"/>
                </a:ext>
              </a:extLst>
            </p:cNvPr>
            <p:cNvSpPr/>
            <p:nvPr/>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28721FAD-2360-9AB6-4B28-87610BC5E47C}"/>
                </a:ext>
              </a:extLst>
            </p:cNvPr>
            <p:cNvSpPr/>
            <p:nvPr/>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DA9B6AF1-3B48-8780-24BF-AC783FE8A52B}"/>
                </a:ext>
              </a:extLst>
            </p:cNvPr>
            <p:cNvSpPr/>
            <p:nvPr/>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5" name="Subtitle 2">
            <a:extLst>
              <a:ext uri="{FF2B5EF4-FFF2-40B4-BE49-F238E27FC236}">
                <a16:creationId xmlns:a16="http://schemas.microsoft.com/office/drawing/2014/main" id="{5FC5C1CF-68A8-8DCD-2F45-C441E28129A6}"/>
              </a:ext>
            </a:extLst>
          </p:cNvPr>
          <p:cNvSpPr>
            <a:spLocks noGrp="1"/>
          </p:cNvSpPr>
          <p:nvPr>
            <p:ph type="subTitle" idx="1" hasCustomPrompt="1"/>
          </p:nvPr>
        </p:nvSpPr>
        <p:spPr>
          <a:xfrm>
            <a:off x="6588049" y="5829147"/>
            <a:ext cx="5016576" cy="430887"/>
          </a:xfrm>
          <a:noFill/>
        </p:spPr>
        <p:txBody>
          <a:bodyPr wrap="square" anchor="b" anchorCtr="0">
            <a:spAutoFit/>
          </a:bodyPr>
          <a:lstStyle>
            <a:lvl1pPr marL="0" indent="0" algn="l">
              <a:buNone/>
              <a:defRPr sz="2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Subtitel</a:t>
            </a:r>
          </a:p>
        </p:txBody>
      </p:sp>
      <p:sp>
        <p:nvSpPr>
          <p:cNvPr id="16" name="Content Placeholder 2">
            <a:extLst>
              <a:ext uri="{FF2B5EF4-FFF2-40B4-BE49-F238E27FC236}">
                <a16:creationId xmlns:a16="http://schemas.microsoft.com/office/drawing/2014/main" id="{EFB7DEB3-7883-503E-2476-9B5D764EA356}"/>
              </a:ext>
            </a:extLst>
          </p:cNvPr>
          <p:cNvSpPr>
            <a:spLocks noGrp="1"/>
          </p:cNvSpPr>
          <p:nvPr>
            <p:ph idx="17" hasCustomPrompt="1"/>
          </p:nvPr>
        </p:nvSpPr>
        <p:spPr>
          <a:xfrm>
            <a:off x="587375" y="6044590"/>
            <a:ext cx="1428991" cy="215444"/>
          </a:xfrm>
          <a:noFill/>
        </p:spPr>
        <p:txBody>
          <a:bodyPr wrap="square" anchor="ctr">
            <a:spAutoFit/>
          </a:bodyPr>
          <a:lstStyle>
            <a:lvl1pPr>
              <a:defRPr sz="1400">
                <a:solidFill>
                  <a:schemeClr val="bg1"/>
                </a:solidFill>
              </a:defRPr>
            </a:lvl1pPr>
            <a:lvl2pPr marL="0" indent="0">
              <a:spcAft>
                <a:spcPts val="0"/>
              </a:spcAft>
              <a:buNone/>
              <a:defRPr sz="1400">
                <a:solidFill>
                  <a:schemeClr val="bg1"/>
                </a:solidFill>
              </a:defRPr>
            </a:lvl2pPr>
          </a:lstStyle>
          <a:p>
            <a:pPr lvl="0"/>
            <a:r>
              <a:rPr lang="nl-NL" noProof="0"/>
              <a:t>Datum </a:t>
            </a:r>
          </a:p>
        </p:txBody>
      </p:sp>
    </p:spTree>
    <p:extLst>
      <p:ext uri="{BB962C8B-B14F-4D97-AF65-F5344CB8AC3E}">
        <p14:creationId xmlns:p14="http://schemas.microsoft.com/office/powerpoint/2010/main" val="31451314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el I / Beeld">
    <p:bg>
      <p:bgPr>
        <a:solidFill>
          <a:schemeClr val="accent1"/>
        </a:solidFill>
        <a:effectLst/>
      </p:bgPr>
    </p:bg>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750D8FE7-C87B-9F36-0BB1-F47746731658}"/>
              </a:ext>
            </a:extLst>
          </p:cNvPr>
          <p:cNvSpPr>
            <a:spLocks noGrp="1"/>
          </p:cNvSpPr>
          <p:nvPr>
            <p:ph type="pic" sz="quarter" idx="19"/>
          </p:nvPr>
        </p:nvSpPr>
        <p:spPr>
          <a:xfrm>
            <a:off x="0" y="-6038"/>
            <a:ext cx="6182350" cy="6216857"/>
          </a:xfrm>
          <a:custGeom>
            <a:avLst/>
            <a:gdLst>
              <a:gd name="connsiteX0" fmla="*/ 6182350 w 6182350"/>
              <a:gd name="connsiteY0" fmla="*/ 5672849 h 6216857"/>
              <a:gd name="connsiteX1" fmla="*/ 6182303 w 6182350"/>
              <a:gd name="connsiteY1" fmla="*/ 5672878 h 6216857"/>
              <a:gd name="connsiteX2" fmla="*/ 5983423 w 6182350"/>
              <a:gd name="connsiteY2" fmla="*/ 5779967 h 6216857"/>
              <a:gd name="connsiteX3" fmla="*/ 5983423 w 6182350"/>
              <a:gd name="connsiteY3" fmla="*/ 5779967 h 6216857"/>
              <a:gd name="connsiteX4" fmla="*/ 0 w 6182350"/>
              <a:gd name="connsiteY4" fmla="*/ 0 h 6216857"/>
              <a:gd name="connsiteX5" fmla="*/ 5983422 w 6182350"/>
              <a:gd name="connsiteY5" fmla="*/ 0 h 6216857"/>
              <a:gd name="connsiteX6" fmla="*/ 5983422 w 6182350"/>
              <a:gd name="connsiteY6" fmla="*/ 5779967 h 6216857"/>
              <a:gd name="connsiteX7" fmla="*/ 5811051 w 6182350"/>
              <a:gd name="connsiteY7" fmla="*/ 5863717 h 6216857"/>
              <a:gd name="connsiteX8" fmla="*/ 4806520 w 6182350"/>
              <a:gd name="connsiteY8" fmla="*/ 6172938 h 6216857"/>
              <a:gd name="connsiteX9" fmla="*/ 477737 w 6182350"/>
              <a:gd name="connsiteY9" fmla="*/ 4659542 h 6216857"/>
              <a:gd name="connsiteX10" fmla="*/ 226169 w 6182350"/>
              <a:gd name="connsiteY10" fmla="*/ 4390367 h 6216857"/>
              <a:gd name="connsiteX11" fmla="*/ 0 w 6182350"/>
              <a:gd name="connsiteY11" fmla="*/ 4113334 h 621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82350" h="6216857">
                <a:moveTo>
                  <a:pt x="6182350" y="5672849"/>
                </a:moveTo>
                <a:lnTo>
                  <a:pt x="6182303" y="5672878"/>
                </a:lnTo>
                <a:lnTo>
                  <a:pt x="5983423" y="5779967"/>
                </a:lnTo>
                <a:lnTo>
                  <a:pt x="5983423" y="5779967"/>
                </a:lnTo>
                <a:close/>
                <a:moveTo>
                  <a:pt x="0" y="0"/>
                </a:moveTo>
                <a:lnTo>
                  <a:pt x="5983422" y="0"/>
                </a:lnTo>
                <a:lnTo>
                  <a:pt x="5983422" y="5779967"/>
                </a:lnTo>
                <a:lnTo>
                  <a:pt x="5811051" y="5863717"/>
                </a:lnTo>
                <a:cubicBezTo>
                  <a:pt x="5416730" y="6045561"/>
                  <a:pt x="5078116" y="6134419"/>
                  <a:pt x="4806520" y="6172938"/>
                </a:cubicBezTo>
                <a:cubicBezTo>
                  <a:pt x="3618360" y="6346219"/>
                  <a:pt x="1857337" y="6039674"/>
                  <a:pt x="477737" y="4659542"/>
                </a:cubicBezTo>
                <a:cubicBezTo>
                  <a:pt x="389527" y="4571298"/>
                  <a:pt x="305732" y="4481488"/>
                  <a:pt x="226169" y="4390367"/>
                </a:cubicBezTo>
                <a:lnTo>
                  <a:pt x="0" y="4113334"/>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6" name="Vrije vorm 25">
            <a:extLst>
              <a:ext uri="{FF2B5EF4-FFF2-40B4-BE49-F238E27FC236}">
                <a16:creationId xmlns:a16="http://schemas.microsoft.com/office/drawing/2014/main" id="{0D2933BE-CBC4-6C62-C7C3-37ACB5A9EDAB}"/>
              </a:ext>
            </a:extLst>
          </p:cNvPr>
          <p:cNvSpPr/>
          <p:nvPr userDrawn="1"/>
        </p:nvSpPr>
        <p:spPr>
          <a:xfrm>
            <a:off x="5983422" y="-3841"/>
            <a:ext cx="6212267" cy="6868873"/>
          </a:xfrm>
          <a:custGeom>
            <a:avLst/>
            <a:gdLst>
              <a:gd name="connsiteX0" fmla="*/ 6212268 w 6212267"/>
              <a:gd name="connsiteY0" fmla="*/ 6868874 h 6868873"/>
              <a:gd name="connsiteX1" fmla="*/ 6212268 w 6212267"/>
              <a:gd name="connsiteY1" fmla="*/ 0 h 6868873"/>
              <a:gd name="connsiteX2" fmla="*/ 1796677 w 6212267"/>
              <a:gd name="connsiteY2" fmla="*/ 4417336 h 6868873"/>
              <a:gd name="connsiteX3" fmla="*/ 0 w 6212267"/>
              <a:gd name="connsiteY3" fmla="*/ 5777770 h 6868873"/>
              <a:gd name="connsiteX4" fmla="*/ 0 w 6212267"/>
              <a:gd name="connsiteY4" fmla="*/ 6868874 h 6868873"/>
              <a:gd name="connsiteX5" fmla="*/ 6212268 w 6212267"/>
              <a:gd name="connsiteY5" fmla="*/ 6868874 h 686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2267" h="6868873">
                <a:moveTo>
                  <a:pt x="6212268" y="6868874"/>
                </a:moveTo>
                <a:lnTo>
                  <a:pt x="6212268" y="0"/>
                </a:lnTo>
                <a:lnTo>
                  <a:pt x="1796677" y="4417336"/>
                </a:lnTo>
                <a:cubicBezTo>
                  <a:pt x="1126082" y="5088166"/>
                  <a:pt x="519608" y="5512547"/>
                  <a:pt x="0" y="5777770"/>
                </a:cubicBezTo>
                <a:lnTo>
                  <a:pt x="0" y="6868874"/>
                </a:lnTo>
                <a:lnTo>
                  <a:pt x="6212268" y="6868874"/>
                </a:lnTo>
                <a:close/>
              </a:path>
            </a:pathLst>
          </a:custGeom>
          <a:solidFill>
            <a:schemeClr val="accent3"/>
          </a:solidFill>
          <a:ln w="11535" cap="flat">
            <a:solidFill>
              <a:schemeClr val="accent3"/>
            </a:solid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1B4EB234-DB26-D2B9-6394-EA97F26864A6}"/>
              </a:ext>
            </a:extLst>
          </p:cNvPr>
          <p:cNvSpPr/>
          <p:nvPr userDrawn="1"/>
        </p:nvSpPr>
        <p:spPr>
          <a:xfrm>
            <a:off x="0" y="4107295"/>
            <a:ext cx="5983422" cy="2757736"/>
          </a:xfrm>
          <a:custGeom>
            <a:avLst/>
            <a:gdLst>
              <a:gd name="connsiteX0" fmla="*/ 0 w 5983422"/>
              <a:gd name="connsiteY0" fmla="*/ 0 h 2757736"/>
              <a:gd name="connsiteX1" fmla="*/ 0 w 5983422"/>
              <a:gd name="connsiteY1" fmla="*/ 2757736 h 2757736"/>
              <a:gd name="connsiteX2" fmla="*/ 5983423 w 5983422"/>
              <a:gd name="connsiteY2" fmla="*/ 2757736 h 2757736"/>
              <a:gd name="connsiteX3" fmla="*/ 5983423 w 5983422"/>
              <a:gd name="connsiteY3" fmla="*/ 1666633 h 2757736"/>
              <a:gd name="connsiteX4" fmla="*/ 4806520 w 5983422"/>
              <a:gd name="connsiteY4" fmla="*/ 2059605 h 2757736"/>
              <a:gd name="connsiteX5" fmla="*/ 477737 w 5983422"/>
              <a:gd name="connsiteY5" fmla="*/ 546209 h 2757736"/>
              <a:gd name="connsiteX6" fmla="*/ 0 w 5983422"/>
              <a:gd name="connsiteY6" fmla="*/ 0 h 275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3422" h="2757736">
                <a:moveTo>
                  <a:pt x="0" y="0"/>
                </a:moveTo>
                <a:lnTo>
                  <a:pt x="0" y="2757736"/>
                </a:lnTo>
                <a:lnTo>
                  <a:pt x="5983423" y="2757736"/>
                </a:lnTo>
                <a:lnTo>
                  <a:pt x="5983423" y="1666633"/>
                </a:lnTo>
                <a:cubicBezTo>
                  <a:pt x="5514844" y="1905813"/>
                  <a:pt x="5116915" y="2015583"/>
                  <a:pt x="4806520" y="2059605"/>
                </a:cubicBezTo>
                <a:cubicBezTo>
                  <a:pt x="3618360" y="2232886"/>
                  <a:pt x="1857337" y="1926341"/>
                  <a:pt x="477737" y="546209"/>
                </a:cubicBezTo>
                <a:cubicBezTo>
                  <a:pt x="301317" y="369721"/>
                  <a:pt x="142555" y="186966"/>
                  <a:pt x="0" y="0"/>
                </a:cubicBezTo>
              </a:path>
            </a:pathLst>
          </a:custGeom>
          <a:solidFill>
            <a:srgbClr val="007D7D"/>
          </a:solidFill>
          <a:ln w="11535" cap="flat">
            <a:solidFill>
              <a:srgbClr val="007D7D"/>
            </a:solidFill>
            <a:prstDash val="solid"/>
            <a:miter/>
          </a:ln>
        </p:spPr>
        <p:txBody>
          <a:bodyPr rtlCol="0" anchor="ctr"/>
          <a:lstStyle/>
          <a:p>
            <a:endParaRPr lang="nl-NL"/>
          </a:p>
        </p:txBody>
      </p:sp>
      <p:sp>
        <p:nvSpPr>
          <p:cNvPr id="28" name="Vrije vorm 27">
            <a:extLst>
              <a:ext uri="{FF2B5EF4-FFF2-40B4-BE49-F238E27FC236}">
                <a16:creationId xmlns:a16="http://schemas.microsoft.com/office/drawing/2014/main" id="{3658FEB1-68B3-77E1-5752-DAE16069FAC9}"/>
              </a:ext>
            </a:extLst>
          </p:cNvPr>
          <p:cNvSpPr/>
          <p:nvPr userDrawn="1"/>
        </p:nvSpPr>
        <p:spPr>
          <a:xfrm>
            <a:off x="5983422" y="-3848"/>
            <a:ext cx="6212267" cy="5777776"/>
          </a:xfrm>
          <a:custGeom>
            <a:avLst/>
            <a:gdLst>
              <a:gd name="connsiteX0" fmla="*/ 0 w 6212267"/>
              <a:gd name="connsiteY0" fmla="*/ 5777777 h 5777776"/>
              <a:gd name="connsiteX1" fmla="*/ 1796677 w 6212267"/>
              <a:gd name="connsiteY1" fmla="*/ 4417331 h 5777776"/>
              <a:gd name="connsiteX2" fmla="*/ 6212268 w 6212267"/>
              <a:gd name="connsiteY2" fmla="*/ 0 h 5777776"/>
              <a:gd name="connsiteX3" fmla="*/ 0 w 6212267"/>
              <a:gd name="connsiteY3" fmla="*/ 11 h 5777776"/>
              <a:gd name="connsiteX4" fmla="*/ 0 w 6212267"/>
              <a:gd name="connsiteY4" fmla="*/ 5777777 h 5777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2267" h="5777776">
                <a:moveTo>
                  <a:pt x="0" y="5777777"/>
                </a:moveTo>
                <a:cubicBezTo>
                  <a:pt x="519596" y="5512553"/>
                  <a:pt x="1126082" y="5088161"/>
                  <a:pt x="1796677" y="4417331"/>
                </a:cubicBezTo>
                <a:lnTo>
                  <a:pt x="6212268" y="0"/>
                </a:lnTo>
                <a:lnTo>
                  <a:pt x="0" y="11"/>
                </a:lnTo>
                <a:lnTo>
                  <a:pt x="0" y="5777777"/>
                </a:lnTo>
                <a:close/>
              </a:path>
            </a:pathLst>
          </a:custGeom>
          <a:solidFill>
            <a:srgbClr val="007D7D"/>
          </a:solidFill>
          <a:ln w="11535" cap="flat">
            <a:solidFill>
              <a:srgbClr val="007D7D"/>
            </a:solidFill>
            <a:prstDash val="solid"/>
            <a:miter/>
          </a:ln>
        </p:spPr>
        <p:txBody>
          <a:bodyPr rtlCol="0" anchor="ctr"/>
          <a:lstStyle/>
          <a:p>
            <a:endParaRPr lang="nl-NL"/>
          </a:p>
        </p:txBody>
      </p:sp>
      <p:sp>
        <p:nvSpPr>
          <p:cNvPr id="2" name="Titel 1">
            <a:extLst>
              <a:ext uri="{FF2B5EF4-FFF2-40B4-BE49-F238E27FC236}">
                <a16:creationId xmlns:a16="http://schemas.microsoft.com/office/drawing/2014/main" id="{9C22CEDD-0BA5-7B67-45FA-777969FEB4B5}"/>
              </a:ext>
            </a:extLst>
          </p:cNvPr>
          <p:cNvSpPr>
            <a:spLocks noGrp="1"/>
          </p:cNvSpPr>
          <p:nvPr>
            <p:ph type="title" hasCustomPrompt="1"/>
          </p:nvPr>
        </p:nvSpPr>
        <p:spPr>
          <a:xfrm>
            <a:off x="6588049" y="4936253"/>
            <a:ext cx="5016576" cy="692497"/>
          </a:xfrm>
        </p:spPr>
        <p:txBody>
          <a:bodyPr wrap="square" anchor="b" anchorCtr="0">
            <a:spAutoFit/>
          </a:bodyPr>
          <a:lstStyle>
            <a:lvl1pPr>
              <a:defRPr sz="5000">
                <a:solidFill>
                  <a:schemeClr val="bg1"/>
                </a:solidFill>
              </a:defRPr>
            </a:lvl1pPr>
          </a:lstStyle>
          <a:p>
            <a:r>
              <a:rPr lang="nl-NL" dirty="0"/>
              <a:t>Titel</a:t>
            </a:r>
          </a:p>
        </p:txBody>
      </p:sp>
      <p:grpSp>
        <p:nvGrpSpPr>
          <p:cNvPr id="5" name="Groep 4">
            <a:extLst>
              <a:ext uri="{FF2B5EF4-FFF2-40B4-BE49-F238E27FC236}">
                <a16:creationId xmlns:a16="http://schemas.microsoft.com/office/drawing/2014/main" id="{82117802-456D-6AF4-E7D2-18FB3465A58A}"/>
              </a:ext>
            </a:extLst>
          </p:cNvPr>
          <p:cNvGrpSpPr/>
          <p:nvPr userDrawn="1"/>
        </p:nvGrpSpPr>
        <p:grpSpPr>
          <a:xfrm>
            <a:off x="9131077" y="510242"/>
            <a:ext cx="2473548" cy="670910"/>
            <a:chOff x="3101010" y="1249097"/>
            <a:chExt cx="3978412" cy="1079078"/>
          </a:xfrm>
          <a:solidFill>
            <a:schemeClr val="bg1"/>
          </a:solidFill>
        </p:grpSpPr>
        <p:sp>
          <p:nvSpPr>
            <p:cNvPr id="6" name="Vrije vorm 5">
              <a:extLst>
                <a:ext uri="{FF2B5EF4-FFF2-40B4-BE49-F238E27FC236}">
                  <a16:creationId xmlns:a16="http://schemas.microsoft.com/office/drawing/2014/main" id="{0FED2527-BEA9-7AF9-7316-311C3BF89D23}"/>
                </a:ext>
              </a:extLst>
            </p:cNvPr>
            <p:cNvSpPr/>
            <p:nvPr/>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1B541DF7-90F8-4878-482E-CC59764E06C7}"/>
                </a:ext>
              </a:extLst>
            </p:cNvPr>
            <p:cNvSpPr/>
            <p:nvPr/>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9733BCED-EAE3-C324-7205-D83F9338DEB0}"/>
                </a:ext>
              </a:extLst>
            </p:cNvPr>
            <p:cNvSpPr/>
            <p:nvPr/>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A8590B33-E181-BB42-A07C-965B75F49726}"/>
                </a:ext>
              </a:extLst>
            </p:cNvPr>
            <p:cNvSpPr/>
            <p:nvPr/>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D8B49135-7172-D2B7-4D24-88D7B3B3F609}"/>
                </a:ext>
              </a:extLst>
            </p:cNvPr>
            <p:cNvSpPr/>
            <p:nvPr/>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523CEF53-D3F5-3A4D-FD65-B951F455A647}"/>
                </a:ext>
              </a:extLst>
            </p:cNvPr>
            <p:cNvSpPr/>
            <p:nvPr/>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28721FAD-2360-9AB6-4B28-87610BC5E47C}"/>
                </a:ext>
              </a:extLst>
            </p:cNvPr>
            <p:cNvSpPr/>
            <p:nvPr/>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DA9B6AF1-3B48-8780-24BF-AC783FE8A52B}"/>
                </a:ext>
              </a:extLst>
            </p:cNvPr>
            <p:cNvSpPr/>
            <p:nvPr/>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5" name="Subtitle 2">
            <a:extLst>
              <a:ext uri="{FF2B5EF4-FFF2-40B4-BE49-F238E27FC236}">
                <a16:creationId xmlns:a16="http://schemas.microsoft.com/office/drawing/2014/main" id="{5FC5C1CF-68A8-8DCD-2F45-C441E28129A6}"/>
              </a:ext>
            </a:extLst>
          </p:cNvPr>
          <p:cNvSpPr>
            <a:spLocks noGrp="1"/>
          </p:cNvSpPr>
          <p:nvPr>
            <p:ph type="subTitle" idx="1" hasCustomPrompt="1"/>
          </p:nvPr>
        </p:nvSpPr>
        <p:spPr>
          <a:xfrm>
            <a:off x="6588049" y="5829147"/>
            <a:ext cx="5016576" cy="430887"/>
          </a:xfrm>
          <a:noFill/>
        </p:spPr>
        <p:txBody>
          <a:bodyPr wrap="square" anchor="b" anchorCtr="0">
            <a:spAutoFit/>
          </a:bodyPr>
          <a:lstStyle>
            <a:lvl1pPr marL="0" indent="0" algn="l">
              <a:buNone/>
              <a:defRPr sz="2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a:t>Subtitel</a:t>
            </a:r>
          </a:p>
        </p:txBody>
      </p:sp>
      <p:sp>
        <p:nvSpPr>
          <p:cNvPr id="16" name="Content Placeholder 2">
            <a:extLst>
              <a:ext uri="{FF2B5EF4-FFF2-40B4-BE49-F238E27FC236}">
                <a16:creationId xmlns:a16="http://schemas.microsoft.com/office/drawing/2014/main" id="{EFB7DEB3-7883-503E-2476-9B5D764EA356}"/>
              </a:ext>
            </a:extLst>
          </p:cNvPr>
          <p:cNvSpPr>
            <a:spLocks noGrp="1"/>
          </p:cNvSpPr>
          <p:nvPr>
            <p:ph idx="17" hasCustomPrompt="1"/>
          </p:nvPr>
        </p:nvSpPr>
        <p:spPr>
          <a:xfrm>
            <a:off x="587375" y="6044590"/>
            <a:ext cx="1428991" cy="215444"/>
          </a:xfrm>
          <a:noFill/>
        </p:spPr>
        <p:txBody>
          <a:bodyPr wrap="square" anchor="ctr">
            <a:spAutoFit/>
          </a:bodyPr>
          <a:lstStyle>
            <a:lvl1pPr>
              <a:defRPr sz="1400">
                <a:solidFill>
                  <a:schemeClr val="bg1"/>
                </a:solidFill>
              </a:defRPr>
            </a:lvl1pPr>
            <a:lvl2pPr marL="0" indent="0">
              <a:spcAft>
                <a:spcPts val="0"/>
              </a:spcAft>
              <a:buNone/>
              <a:defRPr sz="1400">
                <a:solidFill>
                  <a:schemeClr val="bg1"/>
                </a:solidFill>
              </a:defRPr>
            </a:lvl2pPr>
          </a:lstStyle>
          <a:p>
            <a:pPr lvl="0"/>
            <a:r>
              <a:rPr lang="nl-NL" noProof="0"/>
              <a:t>Datum </a:t>
            </a:r>
          </a:p>
        </p:txBody>
      </p:sp>
    </p:spTree>
    <p:extLst>
      <p:ext uri="{BB962C8B-B14F-4D97-AF65-F5344CB8AC3E}">
        <p14:creationId xmlns:p14="http://schemas.microsoft.com/office/powerpoint/2010/main" val="166709100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el II / Geen beeld">
    <p:bg>
      <p:bgPr>
        <a:solidFill>
          <a:srgbClr val="007D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22CEDD-0BA5-7B67-45FA-777969FEB4B5}"/>
              </a:ext>
            </a:extLst>
          </p:cNvPr>
          <p:cNvSpPr>
            <a:spLocks noGrp="1"/>
          </p:cNvSpPr>
          <p:nvPr>
            <p:ph type="title" hasCustomPrompt="1"/>
          </p:nvPr>
        </p:nvSpPr>
        <p:spPr>
          <a:xfrm>
            <a:off x="1137600" y="4026980"/>
            <a:ext cx="5292000" cy="692497"/>
          </a:xfrm>
        </p:spPr>
        <p:txBody>
          <a:bodyPr wrap="square" anchor="b" anchorCtr="0">
            <a:spAutoFit/>
          </a:bodyPr>
          <a:lstStyle>
            <a:lvl1pPr>
              <a:defRPr sz="5000">
                <a:solidFill>
                  <a:schemeClr val="bg1"/>
                </a:solidFill>
              </a:defRPr>
            </a:lvl1pPr>
          </a:lstStyle>
          <a:p>
            <a:r>
              <a:rPr lang="nl-NL" dirty="0"/>
              <a:t>Titel</a:t>
            </a:r>
          </a:p>
        </p:txBody>
      </p:sp>
      <p:grpSp>
        <p:nvGrpSpPr>
          <p:cNvPr id="5" name="Groep 4">
            <a:extLst>
              <a:ext uri="{FF2B5EF4-FFF2-40B4-BE49-F238E27FC236}">
                <a16:creationId xmlns:a16="http://schemas.microsoft.com/office/drawing/2014/main" id="{82117802-456D-6AF4-E7D2-18FB3465A58A}"/>
              </a:ext>
            </a:extLst>
          </p:cNvPr>
          <p:cNvGrpSpPr/>
          <p:nvPr userDrawn="1"/>
        </p:nvGrpSpPr>
        <p:grpSpPr>
          <a:xfrm>
            <a:off x="9131077" y="510242"/>
            <a:ext cx="2473548" cy="670910"/>
            <a:chOff x="3101010" y="1249097"/>
            <a:chExt cx="3978412" cy="1079078"/>
          </a:xfrm>
          <a:solidFill>
            <a:schemeClr val="bg1"/>
          </a:solidFill>
        </p:grpSpPr>
        <p:sp>
          <p:nvSpPr>
            <p:cNvPr id="6" name="Vrije vorm 5">
              <a:extLst>
                <a:ext uri="{FF2B5EF4-FFF2-40B4-BE49-F238E27FC236}">
                  <a16:creationId xmlns:a16="http://schemas.microsoft.com/office/drawing/2014/main" id="{0FED2527-BEA9-7AF9-7316-311C3BF89D23}"/>
                </a:ext>
              </a:extLst>
            </p:cNvPr>
            <p:cNvSpPr/>
            <p:nvPr/>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1B541DF7-90F8-4878-482E-CC59764E06C7}"/>
                </a:ext>
              </a:extLst>
            </p:cNvPr>
            <p:cNvSpPr/>
            <p:nvPr/>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9733BCED-EAE3-C324-7205-D83F9338DEB0}"/>
                </a:ext>
              </a:extLst>
            </p:cNvPr>
            <p:cNvSpPr/>
            <p:nvPr/>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A8590B33-E181-BB42-A07C-965B75F49726}"/>
                </a:ext>
              </a:extLst>
            </p:cNvPr>
            <p:cNvSpPr/>
            <p:nvPr/>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D8B49135-7172-D2B7-4D24-88D7B3B3F609}"/>
                </a:ext>
              </a:extLst>
            </p:cNvPr>
            <p:cNvSpPr/>
            <p:nvPr/>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523CEF53-D3F5-3A4D-FD65-B951F455A647}"/>
                </a:ext>
              </a:extLst>
            </p:cNvPr>
            <p:cNvSpPr/>
            <p:nvPr/>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28721FAD-2360-9AB6-4B28-87610BC5E47C}"/>
                </a:ext>
              </a:extLst>
            </p:cNvPr>
            <p:cNvSpPr/>
            <p:nvPr/>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DA9B6AF1-3B48-8780-24BF-AC783FE8A52B}"/>
                </a:ext>
              </a:extLst>
            </p:cNvPr>
            <p:cNvSpPr/>
            <p:nvPr/>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5" name="Subtitle 2">
            <a:extLst>
              <a:ext uri="{FF2B5EF4-FFF2-40B4-BE49-F238E27FC236}">
                <a16:creationId xmlns:a16="http://schemas.microsoft.com/office/drawing/2014/main" id="{5FC5C1CF-68A8-8DCD-2F45-C441E28129A6}"/>
              </a:ext>
            </a:extLst>
          </p:cNvPr>
          <p:cNvSpPr>
            <a:spLocks noGrp="1"/>
          </p:cNvSpPr>
          <p:nvPr>
            <p:ph type="subTitle" idx="1" hasCustomPrompt="1"/>
          </p:nvPr>
        </p:nvSpPr>
        <p:spPr>
          <a:xfrm>
            <a:off x="1137600" y="4919874"/>
            <a:ext cx="5292000" cy="430887"/>
          </a:xfrm>
          <a:noFill/>
        </p:spPr>
        <p:txBody>
          <a:bodyPr wrap="square" anchor="t">
            <a:spAutoFit/>
          </a:bodyPr>
          <a:lstStyle>
            <a:lvl1pPr marL="0" indent="0" algn="l">
              <a:buNone/>
              <a:defRPr sz="2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a:t>Subtitel</a:t>
            </a:r>
          </a:p>
        </p:txBody>
      </p:sp>
      <p:pic>
        <p:nvPicPr>
          <p:cNvPr id="4" name="Graphic 3">
            <a:extLst>
              <a:ext uri="{FF2B5EF4-FFF2-40B4-BE49-F238E27FC236}">
                <a16:creationId xmlns:a16="http://schemas.microsoft.com/office/drawing/2014/main" id="{A4F941E7-99FA-D165-BC53-505DF5EF9F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 y="0"/>
            <a:ext cx="11129555" cy="6858000"/>
          </a:xfrm>
          <a:prstGeom prst="rect">
            <a:avLst/>
          </a:prstGeom>
        </p:spPr>
      </p:pic>
      <p:sp>
        <p:nvSpPr>
          <p:cNvPr id="3" name="Content Placeholder 2">
            <a:extLst>
              <a:ext uri="{FF2B5EF4-FFF2-40B4-BE49-F238E27FC236}">
                <a16:creationId xmlns:a16="http://schemas.microsoft.com/office/drawing/2014/main" id="{B23DEBED-4FB8-EE29-CE1E-3BC16415B8A6}"/>
              </a:ext>
            </a:extLst>
          </p:cNvPr>
          <p:cNvSpPr>
            <a:spLocks noGrp="1"/>
          </p:cNvSpPr>
          <p:nvPr>
            <p:ph idx="17" hasCustomPrompt="1"/>
          </p:nvPr>
        </p:nvSpPr>
        <p:spPr>
          <a:xfrm>
            <a:off x="1137600" y="6049730"/>
            <a:ext cx="5292000" cy="215444"/>
          </a:xfrm>
          <a:noFill/>
        </p:spPr>
        <p:txBody>
          <a:bodyPr wrap="square" anchor="ctr">
            <a:spAutoFit/>
          </a:bodyPr>
          <a:lstStyle>
            <a:lvl1pPr>
              <a:defRPr sz="1400">
                <a:solidFill>
                  <a:schemeClr val="bg1"/>
                </a:solidFill>
              </a:defRPr>
            </a:lvl1pPr>
            <a:lvl2pPr marL="0" indent="0">
              <a:spcAft>
                <a:spcPts val="0"/>
              </a:spcAft>
              <a:buNone/>
              <a:defRPr sz="1400">
                <a:solidFill>
                  <a:schemeClr val="bg1"/>
                </a:solidFill>
              </a:defRPr>
            </a:lvl2pPr>
          </a:lstStyle>
          <a:p>
            <a:pPr lvl="0"/>
            <a:r>
              <a:rPr lang="nl-NL" noProof="0"/>
              <a:t>Datum </a:t>
            </a:r>
          </a:p>
        </p:txBody>
      </p:sp>
    </p:spTree>
    <p:extLst>
      <p:ext uri="{BB962C8B-B14F-4D97-AF65-F5344CB8AC3E}">
        <p14:creationId xmlns:p14="http://schemas.microsoft.com/office/powerpoint/2010/main" val="18672960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ussenslide I">
    <p:bg>
      <p:bgPr>
        <a:solidFill>
          <a:schemeClr val="accent2"/>
        </a:solidFill>
        <a:effectLst/>
      </p:bgPr>
    </p:bg>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52194ED2-1E66-F63A-7D0B-3BC47230579C}"/>
              </a:ext>
            </a:extLst>
          </p:cNvPr>
          <p:cNvSpPr/>
          <p:nvPr userDrawn="1"/>
        </p:nvSpPr>
        <p:spPr>
          <a:xfrm>
            <a:off x="6096000"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chemeClr val="accent3"/>
          </a:solidFill>
          <a:ln w="12700"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11" name="Freeform: Shape 10">
            <a:extLst>
              <a:ext uri="{FF2B5EF4-FFF2-40B4-BE49-F238E27FC236}">
                <a16:creationId xmlns:a16="http://schemas.microsoft.com/office/drawing/2014/main" id="{CE230D00-821E-A97C-3C64-78835ACBF57E}"/>
              </a:ext>
            </a:extLst>
          </p:cNvPr>
          <p:cNvSpPr/>
          <p:nvPr userDrawn="1"/>
        </p:nvSpPr>
        <p:spPr>
          <a:xfrm>
            <a:off x="0" y="585773"/>
            <a:ext cx="6096000" cy="6272226"/>
          </a:xfrm>
          <a:custGeom>
            <a:avLst/>
            <a:gdLst>
              <a:gd name="connsiteX0" fmla="*/ 4998000 w 6096000"/>
              <a:gd name="connsiteY0" fmla="*/ 1045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272226">
                <a:moveTo>
                  <a:pt x="4998000" y="1045"/>
                </a:moveTo>
                <a:cubicBezTo>
                  <a:pt x="5278788" y="-4567"/>
                  <a:pt x="5544424" y="12614"/>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lose/>
              </a:path>
            </a:pathLst>
          </a:custGeom>
          <a:solidFill>
            <a:srgbClr val="007D7D"/>
          </a:solidFill>
          <a:ln w="12700">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3" name="Freeform: Shape 12">
            <a:extLst>
              <a:ext uri="{FF2B5EF4-FFF2-40B4-BE49-F238E27FC236}">
                <a16:creationId xmlns:a16="http://schemas.microsoft.com/office/drawing/2014/main" id="{0CAF0B02-B07D-6CBB-91CE-6DF133882610}"/>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chemeClr val="accent3"/>
          </a:solidFill>
          <a:ln w="12700"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4" name="Freeform: Shape 3">
            <a:extLst>
              <a:ext uri="{FF2B5EF4-FFF2-40B4-BE49-F238E27FC236}">
                <a16:creationId xmlns:a16="http://schemas.microsoft.com/office/drawing/2014/main" id="{F9643337-EDA8-DCC2-5C96-060ED8196F27}"/>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E2391183-0B13-93D9-5DC9-1F76830F77F4}"/>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2" name="Title 1">
            <a:extLst>
              <a:ext uri="{FF2B5EF4-FFF2-40B4-BE49-F238E27FC236}">
                <a16:creationId xmlns:a16="http://schemas.microsoft.com/office/drawing/2014/main" id="{C2AF113C-2F48-BD5F-C395-C449D5F33877}"/>
              </a:ext>
            </a:extLst>
          </p:cNvPr>
          <p:cNvSpPr>
            <a:spLocks noGrp="1"/>
          </p:cNvSpPr>
          <p:nvPr>
            <p:ph type="ctrTitle" hasCustomPrompt="1"/>
          </p:nvPr>
        </p:nvSpPr>
        <p:spPr>
          <a:xfrm>
            <a:off x="1137600" y="4218920"/>
            <a:ext cx="6812280" cy="874022"/>
          </a:xfrm>
          <a:noFill/>
        </p:spPr>
        <p:txBody>
          <a:bodyPr wrap="square" anchor="b">
            <a:spAutoFit/>
          </a:bodyPr>
          <a:lstStyle>
            <a:lvl1pPr algn="l">
              <a:lnSpc>
                <a:spcPct val="80000"/>
              </a:lnSpc>
              <a:defRPr sz="7000" b="1">
                <a:solidFill>
                  <a:schemeClr val="bg1"/>
                </a:solidFill>
                <a:latin typeface="+mj-lt"/>
              </a:defRPr>
            </a:lvl1pPr>
          </a:lstStyle>
          <a:p>
            <a:r>
              <a:rPr lang="nl-NL" noProof="0" dirty="0"/>
              <a:t>Tekst</a:t>
            </a:r>
          </a:p>
        </p:txBody>
      </p:sp>
      <p:grpSp>
        <p:nvGrpSpPr>
          <p:cNvPr id="16" name="Group 15">
            <a:extLst>
              <a:ext uri="{FF2B5EF4-FFF2-40B4-BE49-F238E27FC236}">
                <a16:creationId xmlns:a16="http://schemas.microsoft.com/office/drawing/2014/main" id="{C0E06EFE-A610-BA6D-483F-746DFC2BA8BA}"/>
              </a:ext>
            </a:extLst>
          </p:cNvPr>
          <p:cNvGrpSpPr/>
          <p:nvPr userDrawn="1"/>
        </p:nvGrpSpPr>
        <p:grpSpPr>
          <a:xfrm>
            <a:off x="2335919" y="-761999"/>
            <a:ext cx="7122406" cy="608276"/>
            <a:chOff x="2335919" y="-761999"/>
            <a:chExt cx="7122406" cy="608276"/>
          </a:xfrm>
        </p:grpSpPr>
        <p:sp>
          <p:nvSpPr>
            <p:cNvPr id="17" name="Rectangle 16">
              <a:extLst>
                <a:ext uri="{FF2B5EF4-FFF2-40B4-BE49-F238E27FC236}">
                  <a16:creationId xmlns:a16="http://schemas.microsoft.com/office/drawing/2014/main" id="{AD8974B7-DF5D-E351-AA6A-652426C70EF6}"/>
                </a:ext>
              </a:extLst>
            </p:cNvPr>
            <p:cNvSpPr/>
            <p:nvPr userDrawn="1"/>
          </p:nvSpPr>
          <p:spPr>
            <a:xfrm>
              <a:off x="2733675" y="-761999"/>
              <a:ext cx="6724650" cy="608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20" name="TextBox 19">
              <a:extLst>
                <a:ext uri="{FF2B5EF4-FFF2-40B4-BE49-F238E27FC236}">
                  <a16:creationId xmlns:a16="http://schemas.microsoft.com/office/drawing/2014/main" id="{0E88B590-2DC6-E424-4C9A-67F70CE0DCCB}"/>
                </a:ext>
              </a:extLst>
            </p:cNvPr>
            <p:cNvSpPr txBox="1"/>
            <p:nvPr userDrawn="1"/>
          </p:nvSpPr>
          <p:spPr>
            <a:xfrm>
              <a:off x="2335919" y="-581676"/>
              <a:ext cx="6337430" cy="261610"/>
            </a:xfrm>
            <a:prstGeom prst="rect">
              <a:avLst/>
            </a:prstGeom>
            <a:noFill/>
          </p:spPr>
          <p:txBody>
            <a:bodyPr wrap="square" rtlCol="0">
              <a:spAutoFit/>
            </a:bodyPr>
            <a:lstStyle/>
            <a:p>
              <a:pPr algn="ctr"/>
              <a:r>
                <a:rPr lang="nl-NL" sz="1100" noProof="1">
                  <a:solidFill>
                    <a:schemeClr val="tx1"/>
                  </a:solidFill>
                </a:rPr>
                <a:t>1 var. kleurvlak (accentkleur) via wijzigen achtergrond / kies alleen deze accentkleuren</a:t>
              </a:r>
            </a:p>
          </p:txBody>
        </p:sp>
        <p:grpSp>
          <p:nvGrpSpPr>
            <p:cNvPr id="21" name="Group 20">
              <a:extLst>
                <a:ext uri="{FF2B5EF4-FFF2-40B4-BE49-F238E27FC236}">
                  <a16:creationId xmlns:a16="http://schemas.microsoft.com/office/drawing/2014/main" id="{2C18DEE8-6CD6-6589-168C-9BAFD1A93A58}"/>
                </a:ext>
              </a:extLst>
            </p:cNvPr>
            <p:cNvGrpSpPr/>
            <p:nvPr userDrawn="1"/>
          </p:nvGrpSpPr>
          <p:grpSpPr>
            <a:xfrm>
              <a:off x="8550833" y="-543417"/>
              <a:ext cx="743864" cy="176763"/>
              <a:chOff x="4205004" y="-519709"/>
              <a:chExt cx="1108072" cy="263308"/>
            </a:xfrm>
          </p:grpSpPr>
          <p:sp>
            <p:nvSpPr>
              <p:cNvPr id="23" name="Rectangle 22">
                <a:extLst>
                  <a:ext uri="{FF2B5EF4-FFF2-40B4-BE49-F238E27FC236}">
                    <a16:creationId xmlns:a16="http://schemas.microsoft.com/office/drawing/2014/main" id="{E22D231A-8D12-29DD-E039-2CFF028FF8C8}"/>
                  </a:ext>
                </a:extLst>
              </p:cNvPr>
              <p:cNvSpPr/>
              <p:nvPr userDrawn="1"/>
            </p:nvSpPr>
            <p:spPr>
              <a:xfrm>
                <a:off x="4205004" y="-519709"/>
                <a:ext cx="276225" cy="26330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24" name="Rectangle 23">
                <a:extLst>
                  <a:ext uri="{FF2B5EF4-FFF2-40B4-BE49-F238E27FC236}">
                    <a16:creationId xmlns:a16="http://schemas.microsoft.com/office/drawing/2014/main" id="{AD916594-0ECB-32C9-CF69-837A00B0A3E9}"/>
                  </a:ext>
                </a:extLst>
              </p:cNvPr>
              <p:cNvSpPr/>
              <p:nvPr userDrawn="1"/>
            </p:nvSpPr>
            <p:spPr>
              <a:xfrm>
                <a:off x="5036851" y="-519709"/>
                <a:ext cx="276225" cy="263308"/>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25" name="Rectangle 24">
                <a:extLst>
                  <a:ext uri="{FF2B5EF4-FFF2-40B4-BE49-F238E27FC236}">
                    <a16:creationId xmlns:a16="http://schemas.microsoft.com/office/drawing/2014/main" id="{D27A1A8C-95D2-158A-175B-CAACBC090CBF}"/>
                  </a:ext>
                </a:extLst>
              </p:cNvPr>
              <p:cNvSpPr/>
              <p:nvPr userDrawn="1"/>
            </p:nvSpPr>
            <p:spPr>
              <a:xfrm>
                <a:off x="4631249" y="-519709"/>
                <a:ext cx="276225" cy="263308"/>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cxnSp>
          <p:nvCxnSpPr>
            <p:cNvPr id="22" name="Straight Connector 21">
              <a:extLst>
                <a:ext uri="{FF2B5EF4-FFF2-40B4-BE49-F238E27FC236}">
                  <a16:creationId xmlns:a16="http://schemas.microsoft.com/office/drawing/2014/main" id="{5C80E51E-E940-C170-98D0-BB6CA635E4A3}"/>
                </a:ext>
              </a:extLst>
            </p:cNvPr>
            <p:cNvCxnSpPr>
              <a:cxnSpLocks/>
            </p:cNvCxnSpPr>
            <p:nvPr userDrawn="1"/>
          </p:nvCxnSpPr>
          <p:spPr>
            <a:xfrm>
              <a:off x="2657475" y="-255323"/>
              <a:ext cx="67625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ep 4">
            <a:extLst>
              <a:ext uri="{FF2B5EF4-FFF2-40B4-BE49-F238E27FC236}">
                <a16:creationId xmlns:a16="http://schemas.microsoft.com/office/drawing/2014/main" id="{634E4C8B-A135-0829-2109-6ED86928FCC6}"/>
              </a:ext>
            </a:extLst>
          </p:cNvPr>
          <p:cNvGrpSpPr/>
          <p:nvPr userDrawn="1"/>
        </p:nvGrpSpPr>
        <p:grpSpPr>
          <a:xfrm>
            <a:off x="10014482" y="5839298"/>
            <a:ext cx="1599388" cy="433809"/>
            <a:chOff x="3101010" y="1249096"/>
            <a:chExt cx="3978412" cy="1079079"/>
          </a:xfrm>
          <a:solidFill>
            <a:schemeClr val="bg1"/>
          </a:solidFill>
        </p:grpSpPr>
        <p:sp>
          <p:nvSpPr>
            <p:cNvPr id="7" name="Vrije vorm 6">
              <a:extLst>
                <a:ext uri="{FF2B5EF4-FFF2-40B4-BE49-F238E27FC236}">
                  <a16:creationId xmlns:a16="http://schemas.microsoft.com/office/drawing/2014/main" id="{764E17BB-0466-62C1-AA12-4373A279DB70}"/>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662147A3-81AE-7CDA-06DF-FF1E8DF73402}"/>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70AC099C-7523-D2CF-3795-18329AD08DA7}"/>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B9FD0D2E-56C9-CF2A-8170-D87C44F823C8}"/>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459E4B52-8C3D-4338-B9F8-FD503BFDB89D}"/>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A6D01950-9A65-3957-375E-DF7560CF4701}"/>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59E4B37D-54B5-22BE-7E03-31D3562EBF36}"/>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14D952A8-2334-0AD0-33F3-1E0F3DBD04F4}"/>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79257591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ussenslide II">
    <p:bg>
      <p:bgPr>
        <a:solidFill>
          <a:schemeClr val="accent2"/>
        </a:solidFill>
        <a:effectLst/>
      </p:bgPr>
    </p:bg>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570DB4A5-F388-FFFE-238D-09A1BEFC508A}"/>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chemeClr val="accent3"/>
          </a:solidFill>
          <a:ln w="12700" cap="flat">
            <a:solidFill>
              <a:schemeClr val="accent3"/>
            </a:solidFill>
            <a:prstDash val="solid"/>
            <a:miter/>
          </a:ln>
        </p:spPr>
        <p:txBody>
          <a:bodyPr rtlCol="0" anchor="ctr"/>
          <a:lstStyle/>
          <a:p>
            <a:pPr lvl="0"/>
            <a:endParaRPr lang="en-GB"/>
          </a:p>
        </p:txBody>
      </p:sp>
      <p:sp>
        <p:nvSpPr>
          <p:cNvPr id="35" name="Freeform: Shape 34">
            <a:extLst>
              <a:ext uri="{FF2B5EF4-FFF2-40B4-BE49-F238E27FC236}">
                <a16:creationId xmlns:a16="http://schemas.microsoft.com/office/drawing/2014/main" id="{3F37BB5F-029B-9E59-4213-29E645BA78DD}"/>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rgbClr val="007D7D"/>
          </a:solidFill>
          <a:ln>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26" name="Freeform: Shape 25">
            <a:extLst>
              <a:ext uri="{FF2B5EF4-FFF2-40B4-BE49-F238E27FC236}">
                <a16:creationId xmlns:a16="http://schemas.microsoft.com/office/drawing/2014/main" id="{7F177631-B9E3-2DA4-BF3D-A3A874A04D48}"/>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rgbClr val="007D7D"/>
          </a:solidFill>
          <a:ln w="12700">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2" name="Freeform: Shape 1">
            <a:extLst>
              <a:ext uri="{FF2B5EF4-FFF2-40B4-BE49-F238E27FC236}">
                <a16:creationId xmlns:a16="http://schemas.microsoft.com/office/drawing/2014/main" id="{344E64F0-C52E-6D68-BE3C-A79D8444EEA7}"/>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17092A19-1FCC-AF48-28F7-DA5AD293FD99}"/>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chemeClr val="accent3"/>
          </a:solidFill>
          <a:ln w="12700" cap="flat">
            <a:solidFill>
              <a:schemeClr val="accent3"/>
            </a:solidFill>
            <a:prstDash val="solid"/>
            <a:miter/>
          </a:ln>
        </p:spPr>
        <p:txBody>
          <a:bodyPr rtlCol="0" anchor="ctr"/>
          <a:lstStyle/>
          <a:p>
            <a:pPr lvl="0"/>
            <a:endParaRPr lang="en-GB"/>
          </a:p>
        </p:txBody>
      </p:sp>
      <p:sp>
        <p:nvSpPr>
          <p:cNvPr id="3" name="Title 1">
            <a:extLst>
              <a:ext uri="{FF2B5EF4-FFF2-40B4-BE49-F238E27FC236}">
                <a16:creationId xmlns:a16="http://schemas.microsoft.com/office/drawing/2014/main" id="{99B2A88E-AE50-56F9-5726-A94E90D792FB}"/>
              </a:ext>
            </a:extLst>
          </p:cNvPr>
          <p:cNvSpPr>
            <a:spLocks noGrp="1"/>
          </p:cNvSpPr>
          <p:nvPr>
            <p:ph type="ctrTitle" hasCustomPrompt="1"/>
          </p:nvPr>
        </p:nvSpPr>
        <p:spPr>
          <a:xfrm>
            <a:off x="1137600" y="4218920"/>
            <a:ext cx="6812280" cy="874022"/>
          </a:xfrm>
          <a:noFill/>
        </p:spPr>
        <p:txBody>
          <a:bodyPr wrap="square" anchor="b">
            <a:spAutoFit/>
          </a:bodyPr>
          <a:lstStyle>
            <a:lvl1pPr algn="l">
              <a:lnSpc>
                <a:spcPct val="80000"/>
              </a:lnSpc>
              <a:defRPr sz="7000" b="1">
                <a:solidFill>
                  <a:schemeClr val="bg1"/>
                </a:solidFill>
              </a:defRPr>
            </a:lvl1pPr>
          </a:lstStyle>
          <a:p>
            <a:r>
              <a:rPr lang="nl-NL" noProof="0" dirty="0"/>
              <a:t>Tekst</a:t>
            </a:r>
          </a:p>
        </p:txBody>
      </p:sp>
      <p:grpSp>
        <p:nvGrpSpPr>
          <p:cNvPr id="13" name="Group 12">
            <a:extLst>
              <a:ext uri="{FF2B5EF4-FFF2-40B4-BE49-F238E27FC236}">
                <a16:creationId xmlns:a16="http://schemas.microsoft.com/office/drawing/2014/main" id="{D8E95096-B3D2-B704-DAAC-27A438877F65}"/>
              </a:ext>
            </a:extLst>
          </p:cNvPr>
          <p:cNvGrpSpPr/>
          <p:nvPr userDrawn="1"/>
        </p:nvGrpSpPr>
        <p:grpSpPr>
          <a:xfrm>
            <a:off x="2335919" y="-761999"/>
            <a:ext cx="7122406" cy="608276"/>
            <a:chOff x="2335919" y="-761999"/>
            <a:chExt cx="7122406" cy="608276"/>
          </a:xfrm>
        </p:grpSpPr>
        <p:sp>
          <p:nvSpPr>
            <p:cNvPr id="14" name="Rectangle 13">
              <a:extLst>
                <a:ext uri="{FF2B5EF4-FFF2-40B4-BE49-F238E27FC236}">
                  <a16:creationId xmlns:a16="http://schemas.microsoft.com/office/drawing/2014/main" id="{E121C80F-FE36-A682-5813-199292F22447}"/>
                </a:ext>
              </a:extLst>
            </p:cNvPr>
            <p:cNvSpPr/>
            <p:nvPr userDrawn="1"/>
          </p:nvSpPr>
          <p:spPr>
            <a:xfrm>
              <a:off x="2733675" y="-761999"/>
              <a:ext cx="6724650" cy="608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5" name="TextBox 14">
              <a:extLst>
                <a:ext uri="{FF2B5EF4-FFF2-40B4-BE49-F238E27FC236}">
                  <a16:creationId xmlns:a16="http://schemas.microsoft.com/office/drawing/2014/main" id="{18AC0A05-C28F-EED5-FD34-3A2E06D616C8}"/>
                </a:ext>
              </a:extLst>
            </p:cNvPr>
            <p:cNvSpPr txBox="1"/>
            <p:nvPr userDrawn="1"/>
          </p:nvSpPr>
          <p:spPr>
            <a:xfrm>
              <a:off x="2335919" y="-581676"/>
              <a:ext cx="6337430" cy="261610"/>
            </a:xfrm>
            <a:prstGeom prst="rect">
              <a:avLst/>
            </a:prstGeom>
            <a:noFill/>
          </p:spPr>
          <p:txBody>
            <a:bodyPr wrap="square" rtlCol="0">
              <a:spAutoFit/>
            </a:bodyPr>
            <a:lstStyle/>
            <a:p>
              <a:pPr algn="ctr"/>
              <a:r>
                <a:rPr lang="nl-NL" sz="1100" noProof="1">
                  <a:solidFill>
                    <a:schemeClr val="tx1"/>
                  </a:solidFill>
                </a:rPr>
                <a:t>1 var. kleurvlak (accentkleur) via wijzigen achtergrond / kies alleen deze accentkleuren</a:t>
              </a:r>
            </a:p>
          </p:txBody>
        </p:sp>
        <p:grpSp>
          <p:nvGrpSpPr>
            <p:cNvPr id="16" name="Group 15">
              <a:extLst>
                <a:ext uri="{FF2B5EF4-FFF2-40B4-BE49-F238E27FC236}">
                  <a16:creationId xmlns:a16="http://schemas.microsoft.com/office/drawing/2014/main" id="{4EF06AD4-E02D-64D2-9FD9-656CA3EC42F1}"/>
                </a:ext>
              </a:extLst>
            </p:cNvPr>
            <p:cNvGrpSpPr/>
            <p:nvPr userDrawn="1"/>
          </p:nvGrpSpPr>
          <p:grpSpPr>
            <a:xfrm>
              <a:off x="8550833" y="-543417"/>
              <a:ext cx="743864" cy="176763"/>
              <a:chOff x="4205004" y="-519709"/>
              <a:chExt cx="1108072" cy="263308"/>
            </a:xfrm>
          </p:grpSpPr>
          <p:sp>
            <p:nvSpPr>
              <p:cNvPr id="18" name="Rectangle 17">
                <a:extLst>
                  <a:ext uri="{FF2B5EF4-FFF2-40B4-BE49-F238E27FC236}">
                    <a16:creationId xmlns:a16="http://schemas.microsoft.com/office/drawing/2014/main" id="{78419F8C-9BB5-C6C5-C125-116CB9232324}"/>
                  </a:ext>
                </a:extLst>
              </p:cNvPr>
              <p:cNvSpPr/>
              <p:nvPr userDrawn="1"/>
            </p:nvSpPr>
            <p:spPr>
              <a:xfrm>
                <a:off x="4205004" y="-519709"/>
                <a:ext cx="276225" cy="26330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9" name="Rectangle 18">
                <a:extLst>
                  <a:ext uri="{FF2B5EF4-FFF2-40B4-BE49-F238E27FC236}">
                    <a16:creationId xmlns:a16="http://schemas.microsoft.com/office/drawing/2014/main" id="{10357DB7-0F81-53A1-4D5F-16E577D70A14}"/>
                  </a:ext>
                </a:extLst>
              </p:cNvPr>
              <p:cNvSpPr/>
              <p:nvPr userDrawn="1"/>
            </p:nvSpPr>
            <p:spPr>
              <a:xfrm>
                <a:off x="5036851" y="-519709"/>
                <a:ext cx="276225" cy="263308"/>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20" name="Rectangle 19">
                <a:extLst>
                  <a:ext uri="{FF2B5EF4-FFF2-40B4-BE49-F238E27FC236}">
                    <a16:creationId xmlns:a16="http://schemas.microsoft.com/office/drawing/2014/main" id="{B3E7BA36-9016-6AA1-A11B-A5505EDABA60}"/>
                  </a:ext>
                </a:extLst>
              </p:cNvPr>
              <p:cNvSpPr/>
              <p:nvPr userDrawn="1"/>
            </p:nvSpPr>
            <p:spPr>
              <a:xfrm>
                <a:off x="4631249" y="-519709"/>
                <a:ext cx="276225" cy="263308"/>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cxnSp>
          <p:nvCxnSpPr>
            <p:cNvPr id="17" name="Straight Connector 16">
              <a:extLst>
                <a:ext uri="{FF2B5EF4-FFF2-40B4-BE49-F238E27FC236}">
                  <a16:creationId xmlns:a16="http://schemas.microsoft.com/office/drawing/2014/main" id="{83B9FEE8-4684-B307-097D-71684E5D7CAA}"/>
                </a:ext>
              </a:extLst>
            </p:cNvPr>
            <p:cNvCxnSpPr>
              <a:cxnSpLocks/>
            </p:cNvCxnSpPr>
            <p:nvPr userDrawn="1"/>
          </p:nvCxnSpPr>
          <p:spPr>
            <a:xfrm>
              <a:off x="2657475" y="-255323"/>
              <a:ext cx="67625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ep 4">
            <a:extLst>
              <a:ext uri="{FF2B5EF4-FFF2-40B4-BE49-F238E27FC236}">
                <a16:creationId xmlns:a16="http://schemas.microsoft.com/office/drawing/2014/main" id="{2EA48A7E-C890-1C30-5542-2ABF3EB38E30}"/>
              </a:ext>
            </a:extLst>
          </p:cNvPr>
          <p:cNvGrpSpPr/>
          <p:nvPr userDrawn="1"/>
        </p:nvGrpSpPr>
        <p:grpSpPr>
          <a:xfrm>
            <a:off x="10014482" y="5839298"/>
            <a:ext cx="1599388" cy="433809"/>
            <a:chOff x="3101010" y="1249096"/>
            <a:chExt cx="3978412" cy="1079079"/>
          </a:xfrm>
          <a:solidFill>
            <a:schemeClr val="bg1"/>
          </a:solidFill>
        </p:grpSpPr>
        <p:sp>
          <p:nvSpPr>
            <p:cNvPr id="6" name="Vrije vorm 5">
              <a:extLst>
                <a:ext uri="{FF2B5EF4-FFF2-40B4-BE49-F238E27FC236}">
                  <a16:creationId xmlns:a16="http://schemas.microsoft.com/office/drawing/2014/main" id="{A7698500-218F-50F0-7639-29D99540DCA7}"/>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D18A819F-FC99-F708-2D8A-93E9662C5A92}"/>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00654F9F-F8B2-B114-F165-BB6D3CEC44B1}"/>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8FB0A79E-E8E1-1404-C358-B175D5770F05}"/>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C1997265-4383-EE97-33FE-DB7944379496}"/>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2C2D90E2-406A-DA66-7BDD-AF42AF83A3EF}"/>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0C72F90A-E733-A1B8-306C-5826FEFEFF3C}"/>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B9051CE8-CDDA-8A5A-4351-C22332795071}"/>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3082793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ussenslide III">
    <p:bg>
      <p:bgPr>
        <a:solidFill>
          <a:schemeClr val="accent2"/>
        </a:solidFill>
        <a:effectLst/>
      </p:bgPr>
    </p:bg>
    <p:spTree>
      <p:nvGrpSpPr>
        <p:cNvPr id="1" name=""/>
        <p:cNvGrpSpPr/>
        <p:nvPr/>
      </p:nvGrpSpPr>
      <p:grpSpPr>
        <a:xfrm>
          <a:off x="0" y="0"/>
          <a:ext cx="0" cy="0"/>
          <a:chOff x="0" y="0"/>
          <a:chExt cx="0" cy="0"/>
        </a:xfrm>
      </p:grpSpPr>
      <p:sp>
        <p:nvSpPr>
          <p:cNvPr id="42" name="Freeform: Shape 41">
            <a:extLst>
              <a:ext uri="{FF2B5EF4-FFF2-40B4-BE49-F238E27FC236}">
                <a16:creationId xmlns:a16="http://schemas.microsoft.com/office/drawing/2014/main" id="{C3A33F2F-6697-E0E3-DAC0-E8C76F4FB609}"/>
              </a:ext>
            </a:extLst>
          </p:cNvPr>
          <p:cNvSpPr/>
          <p:nvPr userDrawn="1"/>
        </p:nvSpPr>
        <p:spPr>
          <a:xfrm>
            <a:off x="4109538" y="2081881"/>
            <a:ext cx="8082463" cy="4776119"/>
          </a:xfrm>
          <a:custGeom>
            <a:avLst/>
            <a:gdLst>
              <a:gd name="connsiteX0" fmla="*/ 4752340 w 8082463"/>
              <a:gd name="connsiteY0" fmla="*/ 0 h 4776119"/>
              <a:gd name="connsiteX1" fmla="*/ 4808220 w 8082463"/>
              <a:gd name="connsiteY1" fmla="*/ 49784 h 4776119"/>
              <a:gd name="connsiteX2" fmla="*/ 4812030 w 8082463"/>
              <a:gd name="connsiteY2" fmla="*/ 52976 h 4776119"/>
              <a:gd name="connsiteX3" fmla="*/ 4864734 w 8082463"/>
              <a:gd name="connsiteY3" fmla="*/ 100845 h 4776119"/>
              <a:gd name="connsiteX4" fmla="*/ 4872990 w 8082463"/>
              <a:gd name="connsiteY4" fmla="*/ 108505 h 4776119"/>
              <a:gd name="connsiteX5" fmla="*/ 4922520 w 8082463"/>
              <a:gd name="connsiteY5" fmla="*/ 153821 h 4776119"/>
              <a:gd name="connsiteX6" fmla="*/ 4935855 w 8082463"/>
              <a:gd name="connsiteY6" fmla="*/ 165948 h 4776119"/>
              <a:gd name="connsiteX7" fmla="*/ 4980940 w 8082463"/>
              <a:gd name="connsiteY7" fmla="*/ 208712 h 4776119"/>
              <a:gd name="connsiteX8" fmla="*/ 4999356 w 8082463"/>
              <a:gd name="connsiteY8" fmla="*/ 225945 h 4776119"/>
              <a:gd name="connsiteX9" fmla="*/ 5039995 w 8082463"/>
              <a:gd name="connsiteY9" fmla="*/ 264879 h 4776119"/>
              <a:gd name="connsiteX10" fmla="*/ 5065395 w 8082463"/>
              <a:gd name="connsiteY10" fmla="*/ 289134 h 4776119"/>
              <a:gd name="connsiteX11" fmla="*/ 5100956 w 8082463"/>
              <a:gd name="connsiteY11" fmla="*/ 322960 h 4776119"/>
              <a:gd name="connsiteX12" fmla="*/ 5135880 w 8082463"/>
              <a:gd name="connsiteY12" fmla="*/ 356789 h 4776119"/>
              <a:gd name="connsiteX13" fmla="*/ 5162550 w 8082463"/>
              <a:gd name="connsiteY13" fmla="*/ 382958 h 4776119"/>
              <a:gd name="connsiteX14" fmla="*/ 5224780 w 8082463"/>
              <a:gd name="connsiteY14" fmla="*/ 444869 h 4776119"/>
              <a:gd name="connsiteX15" fmla="*/ 8082463 w 8082463"/>
              <a:gd name="connsiteY15" fmla="*/ 3317235 h 4776119"/>
              <a:gd name="connsiteX16" fmla="*/ 8082463 w 8082463"/>
              <a:gd name="connsiteY16" fmla="*/ 4776119 h 4776119"/>
              <a:gd name="connsiteX17" fmla="*/ 0 w 8082463"/>
              <a:gd name="connsiteY17" fmla="*/ 4776119 h 477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82463" h="4776119">
                <a:moveTo>
                  <a:pt x="4752340" y="0"/>
                </a:moveTo>
                <a:cubicBezTo>
                  <a:pt x="4770756" y="16595"/>
                  <a:pt x="4789805" y="33190"/>
                  <a:pt x="4808220" y="49784"/>
                </a:cubicBezTo>
                <a:cubicBezTo>
                  <a:pt x="4809490" y="51061"/>
                  <a:pt x="4810760" y="51700"/>
                  <a:pt x="4812030" y="52976"/>
                </a:cubicBezTo>
                <a:cubicBezTo>
                  <a:pt x="4829175" y="68933"/>
                  <a:pt x="4846956" y="84889"/>
                  <a:pt x="4864734" y="100845"/>
                </a:cubicBezTo>
                <a:cubicBezTo>
                  <a:pt x="4867910" y="103398"/>
                  <a:pt x="4870450" y="105951"/>
                  <a:pt x="4872990" y="108505"/>
                </a:cubicBezTo>
                <a:cubicBezTo>
                  <a:pt x="4889500" y="123185"/>
                  <a:pt x="4906010" y="138503"/>
                  <a:pt x="4922520" y="153821"/>
                </a:cubicBezTo>
                <a:cubicBezTo>
                  <a:pt x="4926965" y="157651"/>
                  <a:pt x="4931410" y="162119"/>
                  <a:pt x="4935855" y="165948"/>
                </a:cubicBezTo>
                <a:cubicBezTo>
                  <a:pt x="4950460" y="179990"/>
                  <a:pt x="4965700" y="194670"/>
                  <a:pt x="4980940" y="208712"/>
                </a:cubicBezTo>
                <a:cubicBezTo>
                  <a:pt x="4987290" y="214457"/>
                  <a:pt x="4993006" y="220201"/>
                  <a:pt x="4999356" y="225945"/>
                </a:cubicBezTo>
                <a:cubicBezTo>
                  <a:pt x="5012690" y="238710"/>
                  <a:pt x="5026025" y="251476"/>
                  <a:pt x="5039995" y="264879"/>
                </a:cubicBezTo>
                <a:cubicBezTo>
                  <a:pt x="5048886" y="273176"/>
                  <a:pt x="5057140" y="280836"/>
                  <a:pt x="5065395" y="289134"/>
                </a:cubicBezTo>
                <a:cubicBezTo>
                  <a:pt x="5077460" y="299984"/>
                  <a:pt x="5088890" y="311473"/>
                  <a:pt x="5100956" y="322960"/>
                </a:cubicBezTo>
                <a:cubicBezTo>
                  <a:pt x="5113020" y="333812"/>
                  <a:pt x="5124450" y="345301"/>
                  <a:pt x="5135880" y="356789"/>
                </a:cubicBezTo>
                <a:cubicBezTo>
                  <a:pt x="5144770" y="365724"/>
                  <a:pt x="5153660" y="374022"/>
                  <a:pt x="5162550" y="382958"/>
                </a:cubicBezTo>
                <a:cubicBezTo>
                  <a:pt x="5182871" y="403382"/>
                  <a:pt x="5203826" y="423807"/>
                  <a:pt x="5224780" y="444869"/>
                </a:cubicBezTo>
                <a:lnTo>
                  <a:pt x="8082463" y="3317235"/>
                </a:lnTo>
                <a:lnTo>
                  <a:pt x="8082463" y="4776119"/>
                </a:lnTo>
                <a:lnTo>
                  <a:pt x="0" y="4776119"/>
                </a:lnTo>
                <a:close/>
              </a:path>
            </a:pathLst>
          </a:custGeom>
          <a:solidFill>
            <a:schemeClr val="accent3"/>
          </a:solidFill>
          <a:ln w="12700" cap="flat">
            <a:solidFill>
              <a:schemeClr val="accent3"/>
            </a:solidFill>
            <a:prstDash val="solid"/>
            <a:miter/>
          </a:ln>
        </p:spPr>
        <p:txBody>
          <a:bodyPr wrap="square" rtlCol="0" anchor="ctr">
            <a:noAutofit/>
          </a:bodyPr>
          <a:lstStyle/>
          <a:p>
            <a:endParaRPr lang="en-GB"/>
          </a:p>
        </p:txBody>
      </p:sp>
      <p:sp>
        <p:nvSpPr>
          <p:cNvPr id="43" name="Freeform: Shape 42">
            <a:extLst>
              <a:ext uri="{FF2B5EF4-FFF2-40B4-BE49-F238E27FC236}">
                <a16:creationId xmlns:a16="http://schemas.microsoft.com/office/drawing/2014/main" id="{4150E429-33DE-3FDF-F37C-CE7064B9CAD8}"/>
              </a:ext>
            </a:extLst>
          </p:cNvPr>
          <p:cNvSpPr/>
          <p:nvPr userDrawn="1"/>
        </p:nvSpPr>
        <p:spPr>
          <a:xfrm>
            <a:off x="-1" y="0"/>
            <a:ext cx="10949305" cy="4342128"/>
          </a:xfrm>
          <a:custGeom>
            <a:avLst/>
            <a:gdLst>
              <a:gd name="connsiteX0" fmla="*/ 0 w 10949305"/>
              <a:gd name="connsiteY0" fmla="*/ 0 h 4342128"/>
              <a:gd name="connsiteX1" fmla="*/ 10949305 w 10949305"/>
              <a:gd name="connsiteY1" fmla="*/ 0 h 4342128"/>
              <a:gd name="connsiteX2" fmla="*/ 8844237 w 10949305"/>
              <a:gd name="connsiteY2" fmla="*/ 2105068 h 4342128"/>
              <a:gd name="connsiteX3" fmla="*/ 8840883 w 10949305"/>
              <a:gd name="connsiteY3" fmla="*/ 2101933 h 4342128"/>
              <a:gd name="connsiteX4" fmla="*/ 8865033 w 10949305"/>
              <a:gd name="connsiteY4" fmla="*/ 2077694 h 4342128"/>
              <a:gd name="connsiteX5" fmla="*/ 8826470 w 10949305"/>
              <a:gd name="connsiteY5" fmla="*/ 2041504 h 4342128"/>
              <a:gd name="connsiteX6" fmla="*/ 6079518 w 10949305"/>
              <a:gd name="connsiteY6" fmla="*/ 594988 h 4342128"/>
              <a:gd name="connsiteX7" fmla="*/ 5287752 w 10949305"/>
              <a:gd name="connsiteY7" fmla="*/ 547803 h 4342128"/>
              <a:gd name="connsiteX8" fmla="*/ 1335166 w 10949305"/>
              <a:gd name="connsiteY8" fmla="*/ 2259119 h 4342128"/>
              <a:gd name="connsiteX9" fmla="*/ 1 w 10949305"/>
              <a:gd name="connsiteY9" fmla="*/ 4326985 h 4342128"/>
              <a:gd name="connsiteX10" fmla="*/ 1 w 10949305"/>
              <a:gd name="connsiteY10" fmla="*/ 4342126 h 4342128"/>
              <a:gd name="connsiteX11" fmla="*/ 0 w 10949305"/>
              <a:gd name="connsiteY11" fmla="*/ 4342128 h 4342128"/>
              <a:gd name="connsiteX12" fmla="*/ 0 w 10949305"/>
              <a:gd name="connsiteY12" fmla="*/ 0 h 4342128"/>
              <a:gd name="connsiteX0" fmla="*/ 0 w 10949305"/>
              <a:gd name="connsiteY0" fmla="*/ 0 h 4342128"/>
              <a:gd name="connsiteX1" fmla="*/ 10949305 w 10949305"/>
              <a:gd name="connsiteY1" fmla="*/ 0 h 4342128"/>
              <a:gd name="connsiteX2" fmla="*/ 8844237 w 10949305"/>
              <a:gd name="connsiteY2" fmla="*/ 2105068 h 4342128"/>
              <a:gd name="connsiteX3" fmla="*/ 8865033 w 10949305"/>
              <a:gd name="connsiteY3" fmla="*/ 2077694 h 4342128"/>
              <a:gd name="connsiteX4" fmla="*/ 8826470 w 10949305"/>
              <a:gd name="connsiteY4" fmla="*/ 2041504 h 4342128"/>
              <a:gd name="connsiteX5" fmla="*/ 6079518 w 10949305"/>
              <a:gd name="connsiteY5" fmla="*/ 594988 h 4342128"/>
              <a:gd name="connsiteX6" fmla="*/ 5287752 w 10949305"/>
              <a:gd name="connsiteY6" fmla="*/ 547803 h 4342128"/>
              <a:gd name="connsiteX7" fmla="*/ 1335166 w 10949305"/>
              <a:gd name="connsiteY7" fmla="*/ 2259119 h 4342128"/>
              <a:gd name="connsiteX8" fmla="*/ 1 w 10949305"/>
              <a:gd name="connsiteY8" fmla="*/ 4326985 h 4342128"/>
              <a:gd name="connsiteX9" fmla="*/ 1 w 10949305"/>
              <a:gd name="connsiteY9" fmla="*/ 4342126 h 4342128"/>
              <a:gd name="connsiteX10" fmla="*/ 0 w 10949305"/>
              <a:gd name="connsiteY10" fmla="*/ 4342128 h 4342128"/>
              <a:gd name="connsiteX11" fmla="*/ 0 w 10949305"/>
              <a:gd name="connsiteY11" fmla="*/ 0 h 43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305" h="4342128">
                <a:moveTo>
                  <a:pt x="0" y="0"/>
                </a:moveTo>
                <a:lnTo>
                  <a:pt x="10949305" y="0"/>
                </a:lnTo>
                <a:lnTo>
                  <a:pt x="8844237" y="2105068"/>
                </a:lnTo>
                <a:lnTo>
                  <a:pt x="8865033" y="2077694"/>
                </a:lnTo>
                <a:lnTo>
                  <a:pt x="8826470" y="2041504"/>
                </a:lnTo>
                <a:cubicBezTo>
                  <a:pt x="7661107" y="1019246"/>
                  <a:pt x="6707087" y="683864"/>
                  <a:pt x="6079518" y="594988"/>
                </a:cubicBezTo>
                <a:cubicBezTo>
                  <a:pt x="5835380" y="559295"/>
                  <a:pt x="5569159" y="542128"/>
                  <a:pt x="5287752" y="547803"/>
                </a:cubicBezTo>
                <a:cubicBezTo>
                  <a:pt x="4068321" y="572393"/>
                  <a:pt x="2563733" y="1025874"/>
                  <a:pt x="1335166" y="2259119"/>
                </a:cubicBezTo>
                <a:cubicBezTo>
                  <a:pt x="696857" y="2899857"/>
                  <a:pt x="267925" y="3615338"/>
                  <a:pt x="1" y="4326985"/>
                </a:cubicBezTo>
                <a:lnTo>
                  <a:pt x="1" y="4342126"/>
                </a:lnTo>
                <a:cubicBezTo>
                  <a:pt x="1" y="4342127"/>
                  <a:pt x="0" y="4342127"/>
                  <a:pt x="0" y="4342128"/>
                </a:cubicBezTo>
                <a:lnTo>
                  <a:pt x="0" y="0"/>
                </a:lnTo>
                <a:close/>
              </a:path>
            </a:pathLst>
          </a:cu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8" name="Freeform: Shape 27">
            <a:extLst>
              <a:ext uri="{FF2B5EF4-FFF2-40B4-BE49-F238E27FC236}">
                <a16:creationId xmlns:a16="http://schemas.microsoft.com/office/drawing/2014/main" id="{015A3F26-BAD4-66A4-3A64-FA3350BA5950}"/>
              </a:ext>
            </a:extLst>
          </p:cNvPr>
          <p:cNvSpPr/>
          <p:nvPr userDrawn="1"/>
        </p:nvSpPr>
        <p:spPr>
          <a:xfrm>
            <a:off x="8858788" y="2071834"/>
            <a:ext cx="6244" cy="13152"/>
          </a:xfrm>
          <a:custGeom>
            <a:avLst/>
            <a:gdLst>
              <a:gd name="connsiteX0" fmla="*/ 0 w 6244"/>
              <a:gd name="connsiteY0" fmla="*/ 0 h 13152"/>
              <a:gd name="connsiteX1" fmla="*/ 6244 w 6244"/>
              <a:gd name="connsiteY1" fmla="*/ 5860 h 13152"/>
              <a:gd name="connsiteX2" fmla="*/ 2980 w 6244"/>
              <a:gd name="connsiteY2" fmla="*/ 10157 h 13152"/>
              <a:gd name="connsiteX3" fmla="*/ 0 w 6244"/>
              <a:gd name="connsiteY3" fmla="*/ 13152 h 13152"/>
              <a:gd name="connsiteX4" fmla="*/ 0 w 6244"/>
              <a:gd name="connsiteY4" fmla="*/ 0 h 1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2">
                <a:moveTo>
                  <a:pt x="0" y="0"/>
                </a:moveTo>
                <a:lnTo>
                  <a:pt x="6244" y="5860"/>
                </a:lnTo>
                <a:lnTo>
                  <a:pt x="2980" y="10157"/>
                </a:lnTo>
                <a:lnTo>
                  <a:pt x="0" y="13152"/>
                </a:lnTo>
                <a:lnTo>
                  <a:pt x="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27" name="Freeform: Shape 26">
            <a:extLst>
              <a:ext uri="{FF2B5EF4-FFF2-40B4-BE49-F238E27FC236}">
                <a16:creationId xmlns:a16="http://schemas.microsoft.com/office/drawing/2014/main" id="{5D5BB820-8114-77F2-FE40-5AFDA8831F5F}"/>
              </a:ext>
            </a:extLst>
          </p:cNvPr>
          <p:cNvSpPr/>
          <p:nvPr userDrawn="1"/>
        </p:nvSpPr>
        <p:spPr>
          <a:xfrm>
            <a:off x="8858788" y="2081881"/>
            <a:ext cx="6022" cy="8635"/>
          </a:xfrm>
          <a:custGeom>
            <a:avLst/>
            <a:gdLst>
              <a:gd name="connsiteX0" fmla="*/ 3089 w 6022"/>
              <a:gd name="connsiteY0" fmla="*/ 0 h 8635"/>
              <a:gd name="connsiteX1" fmla="*/ 6022 w 6022"/>
              <a:gd name="connsiteY1" fmla="*/ 2613 h 8635"/>
              <a:gd name="connsiteX2" fmla="*/ 0 w 6022"/>
              <a:gd name="connsiteY2" fmla="*/ 8635 h 8635"/>
              <a:gd name="connsiteX3" fmla="*/ 0 w 6022"/>
              <a:gd name="connsiteY3" fmla="*/ 4032 h 8635"/>
              <a:gd name="connsiteX4" fmla="*/ 2980 w 6022"/>
              <a:gd name="connsiteY4" fmla="*/ 110 h 8635"/>
              <a:gd name="connsiteX5" fmla="*/ 3089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89" y="0"/>
                </a:moveTo>
                <a:lnTo>
                  <a:pt x="6022" y="2613"/>
                </a:lnTo>
                <a:lnTo>
                  <a:pt x="0" y="8635"/>
                </a:lnTo>
                <a:lnTo>
                  <a:pt x="0" y="4032"/>
                </a:lnTo>
                <a:lnTo>
                  <a:pt x="2980" y="110"/>
                </a:lnTo>
                <a:lnTo>
                  <a:pt x="3089"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24" name="Freeform: Shape 23">
            <a:extLst>
              <a:ext uri="{FF2B5EF4-FFF2-40B4-BE49-F238E27FC236}">
                <a16:creationId xmlns:a16="http://schemas.microsoft.com/office/drawing/2014/main" id="{13E5B732-4058-200D-AFBB-1867D3AD6301}"/>
              </a:ext>
            </a:extLst>
          </p:cNvPr>
          <p:cNvSpPr/>
          <p:nvPr userDrawn="1"/>
        </p:nvSpPr>
        <p:spPr>
          <a:xfrm>
            <a:off x="8858788" y="2081991"/>
            <a:ext cx="2980" cy="3922"/>
          </a:xfrm>
          <a:custGeom>
            <a:avLst/>
            <a:gdLst>
              <a:gd name="connsiteX0" fmla="*/ 2980 w 2980"/>
              <a:gd name="connsiteY0" fmla="*/ 0 h 3922"/>
              <a:gd name="connsiteX1" fmla="*/ 0 w 2980"/>
              <a:gd name="connsiteY1" fmla="*/ 3922 h 3922"/>
              <a:gd name="connsiteX2" fmla="*/ 0 w 2980"/>
              <a:gd name="connsiteY2" fmla="*/ 2995 h 3922"/>
              <a:gd name="connsiteX3" fmla="*/ 2980 w 2980"/>
              <a:gd name="connsiteY3" fmla="*/ 0 h 3922"/>
            </a:gdLst>
            <a:ahLst/>
            <a:cxnLst>
              <a:cxn ang="0">
                <a:pos x="connsiteX0" y="connsiteY0"/>
              </a:cxn>
              <a:cxn ang="0">
                <a:pos x="connsiteX1" y="connsiteY1"/>
              </a:cxn>
              <a:cxn ang="0">
                <a:pos x="connsiteX2" y="connsiteY2"/>
              </a:cxn>
              <a:cxn ang="0">
                <a:pos x="connsiteX3" y="connsiteY3"/>
              </a:cxn>
            </a:cxnLst>
            <a:rect l="l" t="t" r="r" b="b"/>
            <a:pathLst>
              <a:path w="2980" h="3922">
                <a:moveTo>
                  <a:pt x="2980" y="0"/>
                </a:moveTo>
                <a:lnTo>
                  <a:pt x="0" y="3922"/>
                </a:lnTo>
                <a:lnTo>
                  <a:pt x="0" y="2995"/>
                </a:lnTo>
                <a:lnTo>
                  <a:pt x="298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22" name="Freeform: Shape 21">
            <a:extLst>
              <a:ext uri="{FF2B5EF4-FFF2-40B4-BE49-F238E27FC236}">
                <a16:creationId xmlns:a16="http://schemas.microsoft.com/office/drawing/2014/main" id="{63D5E795-954F-3494-5AC5-C50B82689733}"/>
              </a:ext>
            </a:extLst>
          </p:cNvPr>
          <p:cNvSpPr/>
          <p:nvPr userDrawn="1"/>
        </p:nvSpPr>
        <p:spPr>
          <a:xfrm>
            <a:off x="8844236" y="2085913"/>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40" name="Freeform: Shape 39">
            <a:extLst>
              <a:ext uri="{FF2B5EF4-FFF2-40B4-BE49-F238E27FC236}">
                <a16:creationId xmlns:a16="http://schemas.microsoft.com/office/drawing/2014/main" id="{F6AFA9B8-D68F-8503-373C-8F2C5897E1DD}"/>
              </a:ext>
            </a:extLst>
          </p:cNvPr>
          <p:cNvSpPr/>
          <p:nvPr userDrawn="1"/>
        </p:nvSpPr>
        <p:spPr>
          <a:xfrm>
            <a:off x="8858788" y="2081995"/>
            <a:ext cx="2976" cy="3918"/>
          </a:xfrm>
          <a:custGeom>
            <a:avLst/>
            <a:gdLst>
              <a:gd name="connsiteX0" fmla="*/ 2976 w 2976"/>
              <a:gd name="connsiteY0" fmla="*/ 0 h 3918"/>
              <a:gd name="connsiteX1" fmla="*/ 0 w 2976"/>
              <a:gd name="connsiteY1" fmla="*/ 3918 h 3918"/>
              <a:gd name="connsiteX2" fmla="*/ 0 w 2976"/>
              <a:gd name="connsiteY2" fmla="*/ 2992 h 3918"/>
              <a:gd name="connsiteX3" fmla="*/ 2976 w 2976"/>
              <a:gd name="connsiteY3" fmla="*/ 0 h 3918"/>
            </a:gdLst>
            <a:ahLst/>
            <a:cxnLst>
              <a:cxn ang="0">
                <a:pos x="connsiteX0" y="connsiteY0"/>
              </a:cxn>
              <a:cxn ang="0">
                <a:pos x="connsiteX1" y="connsiteY1"/>
              </a:cxn>
              <a:cxn ang="0">
                <a:pos x="connsiteX2" y="connsiteY2"/>
              </a:cxn>
              <a:cxn ang="0">
                <a:pos x="connsiteX3" y="connsiteY3"/>
              </a:cxn>
            </a:cxnLst>
            <a:rect l="l" t="t" r="r" b="b"/>
            <a:pathLst>
              <a:path w="2976" h="3918">
                <a:moveTo>
                  <a:pt x="2976" y="0"/>
                </a:moveTo>
                <a:lnTo>
                  <a:pt x="0" y="3918"/>
                </a:lnTo>
                <a:lnTo>
                  <a:pt x="0" y="2992"/>
                </a:lnTo>
                <a:lnTo>
                  <a:pt x="2976"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39" name="Freeform: Shape 38">
            <a:extLst>
              <a:ext uri="{FF2B5EF4-FFF2-40B4-BE49-F238E27FC236}">
                <a16:creationId xmlns:a16="http://schemas.microsoft.com/office/drawing/2014/main" id="{D94B3383-3876-87AB-FB8E-CCC82E37C42C}"/>
              </a:ext>
            </a:extLst>
          </p:cNvPr>
          <p:cNvSpPr/>
          <p:nvPr userDrawn="1"/>
        </p:nvSpPr>
        <p:spPr>
          <a:xfrm>
            <a:off x="8844236" y="2085914"/>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36" name="Freeform: Shape 35">
            <a:extLst>
              <a:ext uri="{FF2B5EF4-FFF2-40B4-BE49-F238E27FC236}">
                <a16:creationId xmlns:a16="http://schemas.microsoft.com/office/drawing/2014/main" id="{DEB81C0A-AE66-5727-27AB-E151BEEA0C3A}"/>
              </a:ext>
            </a:extLst>
          </p:cNvPr>
          <p:cNvSpPr/>
          <p:nvPr userDrawn="1"/>
        </p:nvSpPr>
        <p:spPr>
          <a:xfrm>
            <a:off x="8858788" y="2071835"/>
            <a:ext cx="6244" cy="13153"/>
          </a:xfrm>
          <a:custGeom>
            <a:avLst/>
            <a:gdLst>
              <a:gd name="connsiteX0" fmla="*/ 0 w 6244"/>
              <a:gd name="connsiteY0" fmla="*/ 0 h 13153"/>
              <a:gd name="connsiteX1" fmla="*/ 6244 w 6244"/>
              <a:gd name="connsiteY1" fmla="*/ 5860 h 13153"/>
              <a:gd name="connsiteX2" fmla="*/ 2976 w 6244"/>
              <a:gd name="connsiteY2" fmla="*/ 10161 h 13153"/>
              <a:gd name="connsiteX3" fmla="*/ 0 w 6244"/>
              <a:gd name="connsiteY3" fmla="*/ 13153 h 13153"/>
              <a:gd name="connsiteX4" fmla="*/ 0 w 6244"/>
              <a:gd name="connsiteY4" fmla="*/ 0 h 1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3">
                <a:moveTo>
                  <a:pt x="0" y="0"/>
                </a:moveTo>
                <a:lnTo>
                  <a:pt x="6244" y="5860"/>
                </a:lnTo>
                <a:lnTo>
                  <a:pt x="2976" y="10161"/>
                </a:lnTo>
                <a:lnTo>
                  <a:pt x="0" y="13153"/>
                </a:lnTo>
                <a:lnTo>
                  <a:pt x="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35" name="Freeform: Shape 34">
            <a:extLst>
              <a:ext uri="{FF2B5EF4-FFF2-40B4-BE49-F238E27FC236}">
                <a16:creationId xmlns:a16="http://schemas.microsoft.com/office/drawing/2014/main" id="{7E4E0E3E-6ED8-E3E2-B545-41DEAE96ABD9}"/>
              </a:ext>
            </a:extLst>
          </p:cNvPr>
          <p:cNvSpPr/>
          <p:nvPr userDrawn="1"/>
        </p:nvSpPr>
        <p:spPr>
          <a:xfrm>
            <a:off x="8858788" y="2081882"/>
            <a:ext cx="6022" cy="8635"/>
          </a:xfrm>
          <a:custGeom>
            <a:avLst/>
            <a:gdLst>
              <a:gd name="connsiteX0" fmla="*/ 3090 w 6022"/>
              <a:gd name="connsiteY0" fmla="*/ 0 h 8635"/>
              <a:gd name="connsiteX1" fmla="*/ 6022 w 6022"/>
              <a:gd name="connsiteY1" fmla="*/ 2613 h 8635"/>
              <a:gd name="connsiteX2" fmla="*/ 0 w 6022"/>
              <a:gd name="connsiteY2" fmla="*/ 8635 h 8635"/>
              <a:gd name="connsiteX3" fmla="*/ 0 w 6022"/>
              <a:gd name="connsiteY3" fmla="*/ 4032 h 8635"/>
              <a:gd name="connsiteX4" fmla="*/ 2976 w 6022"/>
              <a:gd name="connsiteY4" fmla="*/ 114 h 8635"/>
              <a:gd name="connsiteX5" fmla="*/ 3090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90" y="0"/>
                </a:moveTo>
                <a:lnTo>
                  <a:pt x="6022" y="2613"/>
                </a:lnTo>
                <a:lnTo>
                  <a:pt x="0" y="8635"/>
                </a:lnTo>
                <a:lnTo>
                  <a:pt x="0" y="4032"/>
                </a:lnTo>
                <a:lnTo>
                  <a:pt x="2976" y="114"/>
                </a:lnTo>
                <a:lnTo>
                  <a:pt x="309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 name="Freeform: Shape 1">
            <a:extLst>
              <a:ext uri="{FF2B5EF4-FFF2-40B4-BE49-F238E27FC236}">
                <a16:creationId xmlns:a16="http://schemas.microsoft.com/office/drawing/2014/main" id="{F32C4171-E65C-2015-203E-B6CC3466F953}"/>
              </a:ext>
            </a:extLst>
          </p:cNvPr>
          <p:cNvSpPr/>
          <p:nvPr userDrawn="1"/>
        </p:nvSpPr>
        <p:spPr>
          <a:xfrm>
            <a:off x="0" y="546736"/>
            <a:ext cx="8858789" cy="6311263"/>
          </a:xfrm>
          <a:custGeom>
            <a:avLst/>
            <a:gdLst>
              <a:gd name="connsiteX0" fmla="*/ 0 w 8858789"/>
              <a:gd name="connsiteY0" fmla="*/ 0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8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13" fmla="*/ 0 w 8858789"/>
              <a:gd name="connsiteY13" fmla="*/ 0 h 6858000"/>
              <a:gd name="connsiteX0" fmla="*/ 0 w 8858789"/>
              <a:gd name="connsiteY0" fmla="*/ 4342128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8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98900 w 8957689"/>
              <a:gd name="connsiteY0" fmla="*/ 3795391 h 6311263"/>
              <a:gd name="connsiteX1" fmla="*/ 98901 w 8957689"/>
              <a:gd name="connsiteY1" fmla="*/ 3780248 h 6311263"/>
              <a:gd name="connsiteX2" fmla="*/ 1434066 w 8957689"/>
              <a:gd name="connsiteY2" fmla="*/ 1712382 h 6311263"/>
              <a:gd name="connsiteX3" fmla="*/ 5386652 w 8957689"/>
              <a:gd name="connsiteY3" fmla="*/ 1066 h 6311263"/>
              <a:gd name="connsiteX4" fmla="*/ 6178418 w 8957689"/>
              <a:gd name="connsiteY4" fmla="*/ 48251 h 6311263"/>
              <a:gd name="connsiteX5" fmla="*/ 8925370 w 8957689"/>
              <a:gd name="connsiteY5" fmla="*/ 1494767 h 6311263"/>
              <a:gd name="connsiteX6" fmla="*/ 8957689 w 8957689"/>
              <a:gd name="connsiteY6" fmla="*/ 1525097 h 6311263"/>
              <a:gd name="connsiteX7" fmla="*/ 8957689 w 8957689"/>
              <a:gd name="connsiteY7" fmla="*/ 1538249 h 6311263"/>
              <a:gd name="connsiteX8" fmla="*/ 4208438 w 8957689"/>
              <a:gd name="connsiteY8" fmla="*/ 6311263 h 6311263"/>
              <a:gd name="connsiteX9" fmla="*/ 98901 w 8957689"/>
              <a:gd name="connsiteY9" fmla="*/ 6311263 h 6311263"/>
              <a:gd name="connsiteX10" fmla="*/ 98901 w 8957689"/>
              <a:gd name="connsiteY10" fmla="*/ 3795389 h 6311263"/>
              <a:gd name="connsiteX11" fmla="*/ 98900 w 8957689"/>
              <a:gd name="connsiteY11" fmla="*/ 3795391 h 6311263"/>
              <a:gd name="connsiteX0" fmla="*/ 0 w 8858789"/>
              <a:gd name="connsiteY0" fmla="*/ 3795391 h 6311263"/>
              <a:gd name="connsiteX1" fmla="*/ 1 w 8858789"/>
              <a:gd name="connsiteY1" fmla="*/ 3780248 h 6311263"/>
              <a:gd name="connsiteX2" fmla="*/ 1335166 w 8858789"/>
              <a:gd name="connsiteY2" fmla="*/ 1712382 h 6311263"/>
              <a:gd name="connsiteX3" fmla="*/ 5287752 w 8858789"/>
              <a:gd name="connsiteY3" fmla="*/ 1066 h 6311263"/>
              <a:gd name="connsiteX4" fmla="*/ 6079518 w 8858789"/>
              <a:gd name="connsiteY4" fmla="*/ 48251 h 6311263"/>
              <a:gd name="connsiteX5" fmla="*/ 8826470 w 8858789"/>
              <a:gd name="connsiteY5" fmla="*/ 1494767 h 6311263"/>
              <a:gd name="connsiteX6" fmla="*/ 8858789 w 8858789"/>
              <a:gd name="connsiteY6" fmla="*/ 1525097 h 6311263"/>
              <a:gd name="connsiteX7" fmla="*/ 8858789 w 8858789"/>
              <a:gd name="connsiteY7" fmla="*/ 1538249 h 6311263"/>
              <a:gd name="connsiteX8" fmla="*/ 4109538 w 8858789"/>
              <a:gd name="connsiteY8" fmla="*/ 6311263 h 6311263"/>
              <a:gd name="connsiteX9" fmla="*/ 1 w 8858789"/>
              <a:gd name="connsiteY9" fmla="*/ 6311263 h 6311263"/>
              <a:gd name="connsiteX10" fmla="*/ 1 w 8858789"/>
              <a:gd name="connsiteY10" fmla="*/ 3795389 h 6311263"/>
              <a:gd name="connsiteX11" fmla="*/ 0 w 8858789"/>
              <a:gd name="connsiteY11" fmla="*/ 3795391 h 63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789" h="6311263">
                <a:moveTo>
                  <a:pt x="0" y="3795391"/>
                </a:moveTo>
                <a:cubicBezTo>
                  <a:pt x="0" y="3790343"/>
                  <a:pt x="1" y="3785296"/>
                  <a:pt x="1" y="3780248"/>
                </a:cubicBezTo>
                <a:cubicBezTo>
                  <a:pt x="267925" y="3068601"/>
                  <a:pt x="696857" y="2353120"/>
                  <a:pt x="1335166" y="1712382"/>
                </a:cubicBezTo>
                <a:cubicBezTo>
                  <a:pt x="2563733" y="479137"/>
                  <a:pt x="4068321" y="25656"/>
                  <a:pt x="5287752" y="1066"/>
                </a:cubicBezTo>
                <a:cubicBezTo>
                  <a:pt x="5569159" y="-4609"/>
                  <a:pt x="5835380" y="12558"/>
                  <a:pt x="6079518" y="48251"/>
                </a:cubicBezTo>
                <a:cubicBezTo>
                  <a:pt x="6707087" y="137127"/>
                  <a:pt x="7661107" y="472509"/>
                  <a:pt x="8826470" y="1494767"/>
                </a:cubicBezTo>
                <a:lnTo>
                  <a:pt x="8858789" y="1525097"/>
                </a:lnTo>
                <a:lnTo>
                  <a:pt x="8858789" y="1538249"/>
                </a:lnTo>
                <a:lnTo>
                  <a:pt x="4109538" y="6311263"/>
                </a:lnTo>
                <a:lnTo>
                  <a:pt x="1" y="6311263"/>
                </a:lnTo>
                <a:lnTo>
                  <a:pt x="1" y="3795389"/>
                </a:lnTo>
                <a:cubicBezTo>
                  <a:pt x="1" y="3795390"/>
                  <a:pt x="0" y="3795390"/>
                  <a:pt x="0" y="3795391"/>
                </a:cubicBezTo>
                <a:close/>
              </a:path>
            </a:pathLst>
          </a:custGeom>
          <a:solidFill>
            <a:srgbClr val="007D7D"/>
          </a:solidFill>
          <a:ln w="12700" cap="flat">
            <a:solidFill>
              <a:srgbClr val="007D7D"/>
            </a:solidFill>
            <a:prstDash val="solid"/>
            <a:miter/>
          </a:ln>
        </p:spPr>
        <p:txBody>
          <a:bodyPr wrap="square" rtlCol="0" anchor="ctr">
            <a:noAutofit/>
          </a:bodyPr>
          <a:lstStyle/>
          <a:p>
            <a:endParaRPr lang="en-GB" dirty="0"/>
          </a:p>
        </p:txBody>
      </p:sp>
      <p:sp>
        <p:nvSpPr>
          <p:cNvPr id="20" name="Title 1">
            <a:extLst>
              <a:ext uri="{FF2B5EF4-FFF2-40B4-BE49-F238E27FC236}">
                <a16:creationId xmlns:a16="http://schemas.microsoft.com/office/drawing/2014/main" id="{8B9E5142-63A2-4423-A9DE-D70AAB78BAE2}"/>
              </a:ext>
            </a:extLst>
          </p:cNvPr>
          <p:cNvSpPr>
            <a:spLocks noGrp="1"/>
          </p:cNvSpPr>
          <p:nvPr>
            <p:ph type="ctrTitle" hasCustomPrompt="1"/>
          </p:nvPr>
        </p:nvSpPr>
        <p:spPr>
          <a:xfrm>
            <a:off x="1137600" y="4218920"/>
            <a:ext cx="6812280" cy="874022"/>
          </a:xfrm>
          <a:noFill/>
        </p:spPr>
        <p:txBody>
          <a:bodyPr wrap="square" anchor="b">
            <a:spAutoFit/>
          </a:bodyPr>
          <a:lstStyle>
            <a:lvl1pPr algn="l">
              <a:lnSpc>
                <a:spcPct val="80000"/>
              </a:lnSpc>
              <a:defRPr sz="7000" b="1">
                <a:solidFill>
                  <a:schemeClr val="bg1"/>
                </a:solidFill>
                <a:latin typeface="+mj-lt"/>
              </a:defRPr>
            </a:lvl1pPr>
          </a:lstStyle>
          <a:p>
            <a:r>
              <a:rPr lang="nl-NL" noProof="0" dirty="0"/>
              <a:t>Tekst</a:t>
            </a:r>
          </a:p>
        </p:txBody>
      </p:sp>
      <p:grpSp>
        <p:nvGrpSpPr>
          <p:cNvPr id="3" name="Group 2">
            <a:extLst>
              <a:ext uri="{FF2B5EF4-FFF2-40B4-BE49-F238E27FC236}">
                <a16:creationId xmlns:a16="http://schemas.microsoft.com/office/drawing/2014/main" id="{C771CFF4-2A23-3B2D-BB12-1F79B3DCA041}"/>
              </a:ext>
            </a:extLst>
          </p:cNvPr>
          <p:cNvGrpSpPr/>
          <p:nvPr userDrawn="1"/>
        </p:nvGrpSpPr>
        <p:grpSpPr>
          <a:xfrm>
            <a:off x="2335919" y="-761999"/>
            <a:ext cx="7122406" cy="608276"/>
            <a:chOff x="2335919" y="-761999"/>
            <a:chExt cx="7122406" cy="608276"/>
          </a:xfrm>
        </p:grpSpPr>
        <p:sp>
          <p:nvSpPr>
            <p:cNvPr id="4" name="Rectangle 3">
              <a:extLst>
                <a:ext uri="{FF2B5EF4-FFF2-40B4-BE49-F238E27FC236}">
                  <a16:creationId xmlns:a16="http://schemas.microsoft.com/office/drawing/2014/main" id="{11A1CE0D-79E1-78F7-218E-C0266A85F134}"/>
                </a:ext>
              </a:extLst>
            </p:cNvPr>
            <p:cNvSpPr/>
            <p:nvPr userDrawn="1"/>
          </p:nvSpPr>
          <p:spPr>
            <a:xfrm>
              <a:off x="2733675" y="-761999"/>
              <a:ext cx="6724650" cy="608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5" name="TextBox 4">
              <a:extLst>
                <a:ext uri="{FF2B5EF4-FFF2-40B4-BE49-F238E27FC236}">
                  <a16:creationId xmlns:a16="http://schemas.microsoft.com/office/drawing/2014/main" id="{0ADEA785-3F04-F457-74D3-23CDE0FC8B9D}"/>
                </a:ext>
              </a:extLst>
            </p:cNvPr>
            <p:cNvSpPr txBox="1"/>
            <p:nvPr userDrawn="1"/>
          </p:nvSpPr>
          <p:spPr>
            <a:xfrm>
              <a:off x="2335919" y="-581676"/>
              <a:ext cx="6337430" cy="261610"/>
            </a:xfrm>
            <a:prstGeom prst="rect">
              <a:avLst/>
            </a:prstGeom>
            <a:noFill/>
          </p:spPr>
          <p:txBody>
            <a:bodyPr wrap="square" rtlCol="0">
              <a:spAutoFit/>
            </a:bodyPr>
            <a:lstStyle/>
            <a:p>
              <a:pPr algn="ctr"/>
              <a:r>
                <a:rPr lang="nl-NL" sz="1100" noProof="1">
                  <a:solidFill>
                    <a:schemeClr val="tx1"/>
                  </a:solidFill>
                </a:rPr>
                <a:t>1 var. kleurvlak (accentkleur) via wijzigen achtergrond / kies alleen deze accentkleuren</a:t>
              </a:r>
            </a:p>
          </p:txBody>
        </p:sp>
        <p:grpSp>
          <p:nvGrpSpPr>
            <p:cNvPr id="14" name="Group 13">
              <a:extLst>
                <a:ext uri="{FF2B5EF4-FFF2-40B4-BE49-F238E27FC236}">
                  <a16:creationId xmlns:a16="http://schemas.microsoft.com/office/drawing/2014/main" id="{03A3D499-A01B-D97D-0AA3-C478E1D7BC3D}"/>
                </a:ext>
              </a:extLst>
            </p:cNvPr>
            <p:cNvGrpSpPr/>
            <p:nvPr userDrawn="1"/>
          </p:nvGrpSpPr>
          <p:grpSpPr>
            <a:xfrm>
              <a:off x="8550833" y="-543417"/>
              <a:ext cx="743864" cy="176763"/>
              <a:chOff x="4205004" y="-519709"/>
              <a:chExt cx="1108072" cy="263308"/>
            </a:xfrm>
          </p:grpSpPr>
          <p:sp>
            <p:nvSpPr>
              <p:cNvPr id="16" name="Rectangle 15">
                <a:extLst>
                  <a:ext uri="{FF2B5EF4-FFF2-40B4-BE49-F238E27FC236}">
                    <a16:creationId xmlns:a16="http://schemas.microsoft.com/office/drawing/2014/main" id="{973C7454-DD4E-AC69-D893-33F2425256AD}"/>
                  </a:ext>
                </a:extLst>
              </p:cNvPr>
              <p:cNvSpPr/>
              <p:nvPr userDrawn="1"/>
            </p:nvSpPr>
            <p:spPr>
              <a:xfrm>
                <a:off x="4205004" y="-519709"/>
                <a:ext cx="276225" cy="26330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7" name="Rectangle 16">
                <a:extLst>
                  <a:ext uri="{FF2B5EF4-FFF2-40B4-BE49-F238E27FC236}">
                    <a16:creationId xmlns:a16="http://schemas.microsoft.com/office/drawing/2014/main" id="{15B77128-BA39-329B-EB66-304F3047782C}"/>
                  </a:ext>
                </a:extLst>
              </p:cNvPr>
              <p:cNvSpPr/>
              <p:nvPr userDrawn="1"/>
            </p:nvSpPr>
            <p:spPr>
              <a:xfrm>
                <a:off x="5036851" y="-519709"/>
                <a:ext cx="276225" cy="263308"/>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8" name="Rectangle 17">
                <a:extLst>
                  <a:ext uri="{FF2B5EF4-FFF2-40B4-BE49-F238E27FC236}">
                    <a16:creationId xmlns:a16="http://schemas.microsoft.com/office/drawing/2014/main" id="{D5262C1C-2257-7479-232A-ECD0B1434C9C}"/>
                  </a:ext>
                </a:extLst>
              </p:cNvPr>
              <p:cNvSpPr/>
              <p:nvPr userDrawn="1"/>
            </p:nvSpPr>
            <p:spPr>
              <a:xfrm>
                <a:off x="4631249" y="-519709"/>
                <a:ext cx="276225" cy="263308"/>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cxnSp>
          <p:nvCxnSpPr>
            <p:cNvPr id="15" name="Straight Connector 14">
              <a:extLst>
                <a:ext uri="{FF2B5EF4-FFF2-40B4-BE49-F238E27FC236}">
                  <a16:creationId xmlns:a16="http://schemas.microsoft.com/office/drawing/2014/main" id="{682FA1A7-5FA4-094F-6C20-A35E7AC178BB}"/>
                </a:ext>
              </a:extLst>
            </p:cNvPr>
            <p:cNvCxnSpPr>
              <a:cxnSpLocks/>
            </p:cNvCxnSpPr>
            <p:nvPr userDrawn="1"/>
          </p:nvCxnSpPr>
          <p:spPr>
            <a:xfrm>
              <a:off x="2657475" y="-255323"/>
              <a:ext cx="67625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ep 5">
            <a:extLst>
              <a:ext uri="{FF2B5EF4-FFF2-40B4-BE49-F238E27FC236}">
                <a16:creationId xmlns:a16="http://schemas.microsoft.com/office/drawing/2014/main" id="{9AAB8133-D9DE-FA49-4CC2-2D43B6A62A89}"/>
              </a:ext>
            </a:extLst>
          </p:cNvPr>
          <p:cNvGrpSpPr/>
          <p:nvPr userDrawn="1"/>
        </p:nvGrpSpPr>
        <p:grpSpPr>
          <a:xfrm>
            <a:off x="10014482" y="5839298"/>
            <a:ext cx="1599388" cy="433809"/>
            <a:chOff x="3101010" y="1249096"/>
            <a:chExt cx="3978412" cy="1079079"/>
          </a:xfrm>
          <a:solidFill>
            <a:schemeClr val="bg1"/>
          </a:solidFill>
        </p:grpSpPr>
        <p:sp>
          <p:nvSpPr>
            <p:cNvPr id="8" name="Vrije vorm 7">
              <a:extLst>
                <a:ext uri="{FF2B5EF4-FFF2-40B4-BE49-F238E27FC236}">
                  <a16:creationId xmlns:a16="http://schemas.microsoft.com/office/drawing/2014/main" id="{A2EBBB9D-678E-E61C-A9C3-DE938600D87B}"/>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2CAD7138-1B37-E54A-F507-6618727C1261}"/>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65FDE0ED-0D22-0227-A1F3-4BD07E5F5B4D}"/>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4F4A1DFA-CAED-101B-F921-DE2E2230607F}"/>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A39A7344-7030-A43A-5B6F-514915393A77}"/>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BFA1B9E9-691A-94D7-CBCE-F3ECBD6926C0}"/>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6406AFA1-F8CB-7373-4FAA-C183747C3FFD}"/>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78D7CB40-2118-B002-FFE8-98695ECE6A25}"/>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7052512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troductie + Icon">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ECF70791-ABB2-50E9-BB56-ABE96A306259}"/>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err="1"/>
          </a:p>
        </p:txBody>
      </p:sp>
      <p:sp>
        <p:nvSpPr>
          <p:cNvPr id="3" name="Title 2">
            <a:extLst>
              <a:ext uri="{FF2B5EF4-FFF2-40B4-BE49-F238E27FC236}">
                <a16:creationId xmlns:a16="http://schemas.microsoft.com/office/drawing/2014/main" id="{18FB2C3B-2209-70F3-09D5-52F99CBE3D5C}"/>
              </a:ext>
            </a:extLst>
          </p:cNvPr>
          <p:cNvSpPr>
            <a:spLocks noGrp="1"/>
          </p:cNvSpPr>
          <p:nvPr>
            <p:ph type="title"/>
          </p:nvPr>
        </p:nvSpPr>
        <p:spPr>
          <a:xfrm>
            <a:off x="1139124" y="595590"/>
            <a:ext cx="8919276" cy="1000736"/>
          </a:xfrm>
        </p:spPr>
        <p:txBody>
          <a:bodyPr/>
          <a:lstStyle>
            <a:lvl1pPr>
              <a:defRPr>
                <a:solidFill>
                  <a:schemeClr val="bg1"/>
                </a:solidFill>
              </a:defRPr>
            </a:lvl1pPr>
          </a:lstStyle>
          <a:p>
            <a:r>
              <a:rPr lang="nl-NL"/>
              <a:t>Klik om stijl te bewerken</a:t>
            </a:r>
            <a:endParaRPr lang="en-US" dirty="0"/>
          </a:p>
        </p:txBody>
      </p:sp>
      <p:sp>
        <p:nvSpPr>
          <p:cNvPr id="16" name="Text Placeholder 3">
            <a:extLst>
              <a:ext uri="{FF2B5EF4-FFF2-40B4-BE49-F238E27FC236}">
                <a16:creationId xmlns:a16="http://schemas.microsoft.com/office/drawing/2014/main" id="{9745EC9F-CA82-1D30-63BA-3077505B8725}"/>
              </a:ext>
            </a:extLst>
          </p:cNvPr>
          <p:cNvSpPr>
            <a:spLocks noGrp="1"/>
          </p:cNvSpPr>
          <p:nvPr>
            <p:ph type="body" sz="quarter" idx="10"/>
          </p:nvPr>
        </p:nvSpPr>
        <p:spPr>
          <a:xfrm>
            <a:off x="1139124" y="2003728"/>
            <a:ext cx="8919276" cy="365024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grpSp>
        <p:nvGrpSpPr>
          <p:cNvPr id="2" name="Groep 1">
            <a:extLst>
              <a:ext uri="{FF2B5EF4-FFF2-40B4-BE49-F238E27FC236}">
                <a16:creationId xmlns:a16="http://schemas.microsoft.com/office/drawing/2014/main" id="{670BFF2B-7A57-1418-7933-080BA1CC8CB2}"/>
              </a:ext>
            </a:extLst>
          </p:cNvPr>
          <p:cNvGrpSpPr/>
          <p:nvPr userDrawn="1"/>
        </p:nvGrpSpPr>
        <p:grpSpPr>
          <a:xfrm>
            <a:off x="10014482" y="5839298"/>
            <a:ext cx="1599388" cy="433809"/>
            <a:chOff x="3101010" y="1249096"/>
            <a:chExt cx="3978412" cy="1079079"/>
          </a:xfrm>
          <a:solidFill>
            <a:schemeClr val="bg1"/>
          </a:solidFill>
        </p:grpSpPr>
        <p:sp>
          <p:nvSpPr>
            <p:cNvPr id="4" name="Vrije vorm 3">
              <a:extLst>
                <a:ext uri="{FF2B5EF4-FFF2-40B4-BE49-F238E27FC236}">
                  <a16:creationId xmlns:a16="http://schemas.microsoft.com/office/drawing/2014/main" id="{3C4CB00D-D83D-0981-2B86-176AAC575642}"/>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163629A3-B45D-125D-BF4A-288D71C4BE5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7E8289E5-04F9-A8B5-B72B-B4AA048C4D13}"/>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5B2D88DA-E4C3-A0AA-3267-5E114D77B668}"/>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27D7C4B8-35FE-0CF8-C231-94F3C0839862}"/>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E85CDEA3-51EE-7879-8AF1-A8A86F0BE5F3}"/>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3E8D733D-C788-01EB-A299-1B00AAE0D7DE}"/>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124CCA4C-CB62-2876-478E-BDC4AA6992EA}"/>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9597889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hou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F074158-219E-B689-9936-B3A15631E122}"/>
              </a:ext>
            </a:extLst>
          </p:cNvPr>
          <p:cNvSpPr/>
          <p:nvPr userDrawn="1"/>
        </p:nvSpPr>
        <p:spPr>
          <a:xfrm>
            <a:off x="0" y="0"/>
            <a:ext cx="6244557" cy="6858000"/>
          </a:xfrm>
          <a:prstGeom prst="rect">
            <a:avLst/>
          </a:prstGeom>
          <a:solidFill>
            <a:srgbClr val="00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p>
        </p:txBody>
      </p:sp>
      <p:sp>
        <p:nvSpPr>
          <p:cNvPr id="3" name="Title 2">
            <a:extLst>
              <a:ext uri="{FF2B5EF4-FFF2-40B4-BE49-F238E27FC236}">
                <a16:creationId xmlns:a16="http://schemas.microsoft.com/office/drawing/2014/main" id="{18FB2C3B-2209-70F3-09D5-52F99CBE3D5C}"/>
              </a:ext>
            </a:extLst>
          </p:cNvPr>
          <p:cNvSpPr>
            <a:spLocks noGrp="1"/>
          </p:cNvSpPr>
          <p:nvPr>
            <p:ph type="title"/>
          </p:nvPr>
        </p:nvSpPr>
        <p:spPr>
          <a:xfrm>
            <a:off x="1139124" y="595590"/>
            <a:ext cx="4550476" cy="1000736"/>
          </a:xfrm>
        </p:spPr>
        <p:txBody>
          <a:bodyPr/>
          <a:lstStyle>
            <a:lvl1pPr>
              <a:defRPr>
                <a:solidFill>
                  <a:schemeClr val="bg1"/>
                </a:solidFill>
              </a:defRPr>
            </a:lvl1pPr>
          </a:lstStyle>
          <a:p>
            <a:r>
              <a:rPr lang="nl-NL"/>
              <a:t>Klik om stijl te bewerken</a:t>
            </a:r>
            <a:endParaRPr lang="en-US" dirty="0"/>
          </a:p>
        </p:txBody>
      </p:sp>
      <p:sp>
        <p:nvSpPr>
          <p:cNvPr id="15" name="Tijdelijke aanduiding voor afbeelding 14">
            <a:extLst>
              <a:ext uri="{FF2B5EF4-FFF2-40B4-BE49-F238E27FC236}">
                <a16:creationId xmlns:a16="http://schemas.microsoft.com/office/drawing/2014/main" id="{C15A5C28-50F1-62AA-8A14-8AE7DA608F41}"/>
              </a:ext>
            </a:extLst>
          </p:cNvPr>
          <p:cNvSpPr>
            <a:spLocks noGrp="1"/>
          </p:cNvSpPr>
          <p:nvPr>
            <p:ph type="pic" sz="quarter" idx="19"/>
          </p:nvPr>
        </p:nvSpPr>
        <p:spPr>
          <a:xfrm>
            <a:off x="6244558" y="3"/>
            <a:ext cx="5947441" cy="6857998"/>
          </a:xfrm>
          <a:custGeom>
            <a:avLst/>
            <a:gdLst>
              <a:gd name="connsiteX0" fmla="*/ 4676089 w 5947441"/>
              <a:gd name="connsiteY0" fmla="*/ 6207232 h 6857998"/>
              <a:gd name="connsiteX1" fmla="*/ 4695295 w 5947441"/>
              <a:gd name="connsiteY1" fmla="*/ 6227979 h 6857998"/>
              <a:gd name="connsiteX2" fmla="*/ 4676089 w 5947441"/>
              <a:gd name="connsiteY2" fmla="*/ 6248726 h 6857998"/>
              <a:gd name="connsiteX3" fmla="*/ 4656884 w 5947441"/>
              <a:gd name="connsiteY3" fmla="*/ 6227979 h 6857998"/>
              <a:gd name="connsiteX4" fmla="*/ 4676089 w 5947441"/>
              <a:gd name="connsiteY4" fmla="*/ 6207232 h 6857998"/>
              <a:gd name="connsiteX5" fmla="*/ 5109116 w 5947441"/>
              <a:gd name="connsiteY5" fmla="*/ 6206540 h 6857998"/>
              <a:gd name="connsiteX6" fmla="*/ 5128838 w 5947441"/>
              <a:gd name="connsiteY6" fmla="*/ 6227979 h 6857998"/>
              <a:gd name="connsiteX7" fmla="*/ 5109116 w 5947441"/>
              <a:gd name="connsiteY7" fmla="*/ 6249419 h 6857998"/>
              <a:gd name="connsiteX8" fmla="*/ 5089392 w 5947441"/>
              <a:gd name="connsiteY8" fmla="*/ 6227979 h 6857998"/>
              <a:gd name="connsiteX9" fmla="*/ 5109116 w 5947441"/>
              <a:gd name="connsiteY9" fmla="*/ 6206540 h 6857998"/>
              <a:gd name="connsiteX10" fmla="*/ 4405345 w 5947441"/>
              <a:gd name="connsiteY10" fmla="*/ 6206540 h 6857998"/>
              <a:gd name="connsiteX11" fmla="*/ 4425068 w 5947441"/>
              <a:gd name="connsiteY11" fmla="*/ 6227979 h 6857998"/>
              <a:gd name="connsiteX12" fmla="*/ 4405345 w 5947441"/>
              <a:gd name="connsiteY12" fmla="*/ 6249419 h 6857998"/>
              <a:gd name="connsiteX13" fmla="*/ 4385621 w 5947441"/>
              <a:gd name="connsiteY13" fmla="*/ 6227979 h 6857998"/>
              <a:gd name="connsiteX14" fmla="*/ 4405345 w 5947441"/>
              <a:gd name="connsiteY14" fmla="*/ 6206540 h 6857998"/>
              <a:gd name="connsiteX15" fmla="*/ 5008256 w 5947441"/>
              <a:gd name="connsiteY15" fmla="*/ 6204119 h 6857998"/>
              <a:gd name="connsiteX16" fmla="*/ 5026076 w 5947441"/>
              <a:gd name="connsiteY16" fmla="*/ 6217087 h 6857998"/>
              <a:gd name="connsiteX17" fmla="*/ 4989397 w 5947441"/>
              <a:gd name="connsiteY17" fmla="*/ 6217087 h 6857998"/>
              <a:gd name="connsiteX18" fmla="*/ 5008256 w 5947441"/>
              <a:gd name="connsiteY18" fmla="*/ 6204119 h 6857998"/>
              <a:gd name="connsiteX19" fmla="*/ 4304485 w 5947441"/>
              <a:gd name="connsiteY19" fmla="*/ 6204119 h 6857998"/>
              <a:gd name="connsiteX20" fmla="*/ 4322305 w 5947441"/>
              <a:gd name="connsiteY20" fmla="*/ 6217087 h 6857998"/>
              <a:gd name="connsiteX21" fmla="*/ 4285626 w 5947441"/>
              <a:gd name="connsiteY21" fmla="*/ 6217087 h 6857998"/>
              <a:gd name="connsiteX22" fmla="*/ 4304485 w 5947441"/>
              <a:gd name="connsiteY22" fmla="*/ 6204119 h 6857998"/>
              <a:gd name="connsiteX23" fmla="*/ 4470561 w 5947441"/>
              <a:gd name="connsiteY23" fmla="*/ 6184755 h 6857998"/>
              <a:gd name="connsiteX24" fmla="*/ 4470561 w 5947441"/>
              <a:gd name="connsiteY24" fmla="*/ 6271204 h 6857998"/>
              <a:gd name="connsiteX25" fmla="*/ 4496688 w 5947441"/>
              <a:gd name="connsiteY25" fmla="*/ 6271204 h 6857998"/>
              <a:gd name="connsiteX26" fmla="*/ 4496688 w 5947441"/>
              <a:gd name="connsiteY26" fmla="*/ 6207405 h 6857998"/>
              <a:gd name="connsiteX27" fmla="*/ 4525754 w 5947441"/>
              <a:gd name="connsiteY27" fmla="*/ 6207405 h 6857998"/>
              <a:gd name="connsiteX28" fmla="*/ 4525754 w 5947441"/>
              <a:gd name="connsiteY28" fmla="*/ 6184755 h 6857998"/>
              <a:gd name="connsiteX29" fmla="*/ 5103232 w 5947441"/>
              <a:gd name="connsiteY29" fmla="*/ 6182853 h 6857998"/>
              <a:gd name="connsiteX30" fmla="*/ 5063093 w 5947441"/>
              <a:gd name="connsiteY30" fmla="*/ 6227979 h 6857998"/>
              <a:gd name="connsiteX31" fmla="*/ 5103232 w 5947441"/>
              <a:gd name="connsiteY31" fmla="*/ 6273104 h 6857998"/>
              <a:gd name="connsiteX32" fmla="*/ 5126764 w 5947441"/>
              <a:gd name="connsiteY32" fmla="*/ 6262559 h 6857998"/>
              <a:gd name="connsiteX33" fmla="*/ 5126764 w 5947441"/>
              <a:gd name="connsiteY33" fmla="*/ 6271204 h 6857998"/>
              <a:gd name="connsiteX34" fmla="*/ 5152889 w 5947441"/>
              <a:gd name="connsiteY34" fmla="*/ 6271204 h 6857998"/>
              <a:gd name="connsiteX35" fmla="*/ 5152889 w 5947441"/>
              <a:gd name="connsiteY35" fmla="*/ 6184755 h 6857998"/>
              <a:gd name="connsiteX36" fmla="*/ 5126764 w 5947441"/>
              <a:gd name="connsiteY36" fmla="*/ 6184755 h 6857998"/>
              <a:gd name="connsiteX37" fmla="*/ 5126764 w 5947441"/>
              <a:gd name="connsiteY37" fmla="*/ 6193400 h 6857998"/>
              <a:gd name="connsiteX38" fmla="*/ 5103232 w 5947441"/>
              <a:gd name="connsiteY38" fmla="*/ 6182853 h 6857998"/>
              <a:gd name="connsiteX39" fmla="*/ 5008948 w 5947441"/>
              <a:gd name="connsiteY39" fmla="*/ 6182853 h 6857998"/>
              <a:gd name="connsiteX40" fmla="*/ 4963445 w 5947441"/>
              <a:gd name="connsiteY40" fmla="*/ 6227979 h 6857998"/>
              <a:gd name="connsiteX41" fmla="*/ 5009467 w 5947441"/>
              <a:gd name="connsiteY41" fmla="*/ 6273104 h 6857998"/>
              <a:gd name="connsiteX42" fmla="*/ 5050126 w 5947441"/>
              <a:gd name="connsiteY42" fmla="*/ 6254087 h 6857998"/>
              <a:gd name="connsiteX43" fmla="*/ 5030748 w 5947441"/>
              <a:gd name="connsiteY43" fmla="*/ 6239564 h 6857998"/>
              <a:gd name="connsiteX44" fmla="*/ 5009813 w 5947441"/>
              <a:gd name="connsiteY44" fmla="*/ 6249419 h 6857998"/>
              <a:gd name="connsiteX45" fmla="*/ 4988705 w 5947441"/>
              <a:gd name="connsiteY45" fmla="*/ 6234204 h 6857998"/>
              <a:gd name="connsiteX46" fmla="*/ 5051510 w 5947441"/>
              <a:gd name="connsiteY46" fmla="*/ 6234204 h 6857998"/>
              <a:gd name="connsiteX47" fmla="*/ 5052029 w 5947441"/>
              <a:gd name="connsiteY47" fmla="*/ 6225041 h 6857998"/>
              <a:gd name="connsiteX48" fmla="*/ 5008948 w 5947441"/>
              <a:gd name="connsiteY48" fmla="*/ 6182853 h 6857998"/>
              <a:gd name="connsiteX49" fmla="*/ 4676089 w 5947441"/>
              <a:gd name="connsiteY49" fmla="*/ 6182853 h 6857998"/>
              <a:gd name="connsiteX50" fmla="*/ 4630587 w 5947441"/>
              <a:gd name="connsiteY50" fmla="*/ 6227979 h 6857998"/>
              <a:gd name="connsiteX51" fmla="*/ 4676089 w 5947441"/>
              <a:gd name="connsiteY51" fmla="*/ 6273104 h 6857998"/>
              <a:gd name="connsiteX52" fmla="*/ 4721592 w 5947441"/>
              <a:gd name="connsiteY52" fmla="*/ 6227979 h 6857998"/>
              <a:gd name="connsiteX53" fmla="*/ 4676089 w 5947441"/>
              <a:gd name="connsiteY53" fmla="*/ 6182853 h 6857998"/>
              <a:gd name="connsiteX54" fmla="*/ 4399461 w 5947441"/>
              <a:gd name="connsiteY54" fmla="*/ 6182853 h 6857998"/>
              <a:gd name="connsiteX55" fmla="*/ 4359322 w 5947441"/>
              <a:gd name="connsiteY55" fmla="*/ 6227979 h 6857998"/>
              <a:gd name="connsiteX56" fmla="*/ 4399461 w 5947441"/>
              <a:gd name="connsiteY56" fmla="*/ 6273104 h 6857998"/>
              <a:gd name="connsiteX57" fmla="*/ 4422991 w 5947441"/>
              <a:gd name="connsiteY57" fmla="*/ 6262559 h 6857998"/>
              <a:gd name="connsiteX58" fmla="*/ 4422991 w 5947441"/>
              <a:gd name="connsiteY58" fmla="*/ 6271204 h 6857998"/>
              <a:gd name="connsiteX59" fmla="*/ 4449118 w 5947441"/>
              <a:gd name="connsiteY59" fmla="*/ 6271204 h 6857998"/>
              <a:gd name="connsiteX60" fmla="*/ 4449118 w 5947441"/>
              <a:gd name="connsiteY60" fmla="*/ 6184755 h 6857998"/>
              <a:gd name="connsiteX61" fmla="*/ 4422991 w 5947441"/>
              <a:gd name="connsiteY61" fmla="*/ 6184755 h 6857998"/>
              <a:gd name="connsiteX62" fmla="*/ 4422991 w 5947441"/>
              <a:gd name="connsiteY62" fmla="*/ 6193400 h 6857998"/>
              <a:gd name="connsiteX63" fmla="*/ 4399461 w 5947441"/>
              <a:gd name="connsiteY63" fmla="*/ 6182853 h 6857998"/>
              <a:gd name="connsiteX64" fmla="*/ 4305177 w 5947441"/>
              <a:gd name="connsiteY64" fmla="*/ 6182853 h 6857998"/>
              <a:gd name="connsiteX65" fmla="*/ 4259674 w 5947441"/>
              <a:gd name="connsiteY65" fmla="*/ 6227979 h 6857998"/>
              <a:gd name="connsiteX66" fmla="*/ 4305696 w 5947441"/>
              <a:gd name="connsiteY66" fmla="*/ 6273104 h 6857998"/>
              <a:gd name="connsiteX67" fmla="*/ 4346353 w 5947441"/>
              <a:gd name="connsiteY67" fmla="*/ 6254087 h 6857998"/>
              <a:gd name="connsiteX68" fmla="*/ 4326977 w 5947441"/>
              <a:gd name="connsiteY68" fmla="*/ 6239564 h 6857998"/>
              <a:gd name="connsiteX69" fmla="*/ 4306042 w 5947441"/>
              <a:gd name="connsiteY69" fmla="*/ 6249419 h 6857998"/>
              <a:gd name="connsiteX70" fmla="*/ 4284934 w 5947441"/>
              <a:gd name="connsiteY70" fmla="*/ 6234204 h 6857998"/>
              <a:gd name="connsiteX71" fmla="*/ 4347739 w 5947441"/>
              <a:gd name="connsiteY71" fmla="*/ 6234204 h 6857998"/>
              <a:gd name="connsiteX72" fmla="*/ 4348258 w 5947441"/>
              <a:gd name="connsiteY72" fmla="*/ 6225041 h 6857998"/>
              <a:gd name="connsiteX73" fmla="*/ 4305177 w 5947441"/>
              <a:gd name="connsiteY73" fmla="*/ 6182853 h 6857998"/>
              <a:gd name="connsiteX74" fmla="*/ 5248035 w 5947441"/>
              <a:gd name="connsiteY74" fmla="*/ 6157264 h 6857998"/>
              <a:gd name="connsiteX75" fmla="*/ 5221908 w 5947441"/>
              <a:gd name="connsiteY75" fmla="*/ 6184755 h 6857998"/>
              <a:gd name="connsiteX76" fmla="*/ 5221908 w 5947441"/>
              <a:gd name="connsiteY76" fmla="*/ 6271204 h 6857998"/>
              <a:gd name="connsiteX77" fmla="*/ 5248035 w 5947441"/>
              <a:gd name="connsiteY77" fmla="*/ 6271204 h 6857998"/>
              <a:gd name="connsiteX78" fmla="*/ 5248035 w 5947441"/>
              <a:gd name="connsiteY78" fmla="*/ 6207405 h 6857998"/>
              <a:gd name="connsiteX79" fmla="*/ 5272256 w 5947441"/>
              <a:gd name="connsiteY79" fmla="*/ 6207405 h 6857998"/>
              <a:gd name="connsiteX80" fmla="*/ 5272256 w 5947441"/>
              <a:gd name="connsiteY80" fmla="*/ 6184755 h 6857998"/>
              <a:gd name="connsiteX81" fmla="*/ 5248035 w 5947441"/>
              <a:gd name="connsiteY81" fmla="*/ 6184755 h 6857998"/>
              <a:gd name="connsiteX82" fmla="*/ 4566234 w 5947441"/>
              <a:gd name="connsiteY82" fmla="*/ 6157264 h 6857998"/>
              <a:gd name="connsiteX83" fmla="*/ 4540108 w 5947441"/>
              <a:gd name="connsiteY83" fmla="*/ 6184755 h 6857998"/>
              <a:gd name="connsiteX84" fmla="*/ 4540108 w 5947441"/>
              <a:gd name="connsiteY84" fmla="*/ 6271204 h 6857998"/>
              <a:gd name="connsiteX85" fmla="*/ 4566234 w 5947441"/>
              <a:gd name="connsiteY85" fmla="*/ 6271204 h 6857998"/>
              <a:gd name="connsiteX86" fmla="*/ 4566234 w 5947441"/>
              <a:gd name="connsiteY86" fmla="*/ 6207405 h 6857998"/>
              <a:gd name="connsiteX87" fmla="*/ 4590455 w 5947441"/>
              <a:gd name="connsiteY87" fmla="*/ 6207405 h 6857998"/>
              <a:gd name="connsiteX88" fmla="*/ 4590455 w 5947441"/>
              <a:gd name="connsiteY88" fmla="*/ 6184755 h 6857998"/>
              <a:gd name="connsiteX89" fmla="*/ 4566234 w 5947441"/>
              <a:gd name="connsiteY89" fmla="*/ 6184755 h 6857998"/>
              <a:gd name="connsiteX90" fmla="*/ 4843725 w 5947441"/>
              <a:gd name="connsiteY90" fmla="*/ 6148448 h 6857998"/>
              <a:gd name="connsiteX91" fmla="*/ 4843725 w 5947441"/>
              <a:gd name="connsiteY91" fmla="*/ 6271204 h 6857998"/>
              <a:gd name="connsiteX92" fmla="*/ 4871235 w 5947441"/>
              <a:gd name="connsiteY92" fmla="*/ 6271204 h 6857998"/>
              <a:gd name="connsiteX93" fmla="*/ 4871235 w 5947441"/>
              <a:gd name="connsiteY93" fmla="*/ 6222620 h 6857998"/>
              <a:gd name="connsiteX94" fmla="*/ 4920717 w 5947441"/>
              <a:gd name="connsiteY94" fmla="*/ 6222620 h 6857998"/>
              <a:gd name="connsiteX95" fmla="*/ 4920717 w 5947441"/>
              <a:gd name="connsiteY95" fmla="*/ 6271204 h 6857998"/>
              <a:gd name="connsiteX96" fmla="*/ 4948226 w 5947441"/>
              <a:gd name="connsiteY96" fmla="*/ 6271204 h 6857998"/>
              <a:gd name="connsiteX97" fmla="*/ 4948226 w 5947441"/>
              <a:gd name="connsiteY97" fmla="*/ 6148448 h 6857998"/>
              <a:gd name="connsiteX98" fmla="*/ 4920717 w 5947441"/>
              <a:gd name="connsiteY98" fmla="*/ 6148448 h 6857998"/>
              <a:gd name="connsiteX99" fmla="*/ 4920717 w 5947441"/>
              <a:gd name="connsiteY99" fmla="*/ 6196512 h 6857998"/>
              <a:gd name="connsiteX100" fmla="*/ 4871235 w 5947441"/>
              <a:gd name="connsiteY100" fmla="*/ 6196512 h 6857998"/>
              <a:gd name="connsiteX101" fmla="*/ 4871235 w 5947441"/>
              <a:gd name="connsiteY101" fmla="*/ 6148448 h 6857998"/>
              <a:gd name="connsiteX102" fmla="*/ 4139954 w 5947441"/>
              <a:gd name="connsiteY102" fmla="*/ 6148448 h 6857998"/>
              <a:gd name="connsiteX103" fmla="*/ 4139954 w 5947441"/>
              <a:gd name="connsiteY103" fmla="*/ 6232862 h 6857998"/>
              <a:gd name="connsiteX104" fmla="*/ 4167462 w 5947441"/>
              <a:gd name="connsiteY104" fmla="*/ 6260352 h 6857998"/>
              <a:gd name="connsiteX105" fmla="*/ 4167462 w 5947441"/>
              <a:gd name="connsiteY105" fmla="*/ 6222620 h 6857998"/>
              <a:gd name="connsiteX106" fmla="*/ 4216946 w 5947441"/>
              <a:gd name="connsiteY106" fmla="*/ 6222620 h 6857998"/>
              <a:gd name="connsiteX107" fmla="*/ 4216946 w 5947441"/>
              <a:gd name="connsiteY107" fmla="*/ 6271204 h 6857998"/>
              <a:gd name="connsiteX108" fmla="*/ 4244455 w 5947441"/>
              <a:gd name="connsiteY108" fmla="*/ 6271204 h 6857998"/>
              <a:gd name="connsiteX109" fmla="*/ 4244455 w 5947441"/>
              <a:gd name="connsiteY109" fmla="*/ 6148448 h 6857998"/>
              <a:gd name="connsiteX110" fmla="*/ 4216946 w 5947441"/>
              <a:gd name="connsiteY110" fmla="*/ 6148448 h 6857998"/>
              <a:gd name="connsiteX111" fmla="*/ 4216946 w 5947441"/>
              <a:gd name="connsiteY111" fmla="*/ 6196512 h 6857998"/>
              <a:gd name="connsiteX112" fmla="*/ 4167462 w 5947441"/>
              <a:gd name="connsiteY112" fmla="*/ 6196512 h 6857998"/>
              <a:gd name="connsiteX113" fmla="*/ 4167462 w 5947441"/>
              <a:gd name="connsiteY113" fmla="*/ 6148448 h 6857998"/>
              <a:gd name="connsiteX114" fmla="*/ 5285572 w 5947441"/>
              <a:gd name="connsiteY114" fmla="*/ 6141531 h 6857998"/>
              <a:gd name="connsiteX115" fmla="*/ 5285572 w 5947441"/>
              <a:gd name="connsiteY115" fmla="*/ 6271204 h 6857998"/>
              <a:gd name="connsiteX116" fmla="*/ 5311699 w 5947441"/>
              <a:gd name="connsiteY116" fmla="*/ 6271204 h 6857998"/>
              <a:gd name="connsiteX117" fmla="*/ 5311699 w 5947441"/>
              <a:gd name="connsiteY117" fmla="*/ 6229189 h 6857998"/>
              <a:gd name="connsiteX118" fmla="*/ 5329173 w 5947441"/>
              <a:gd name="connsiteY118" fmla="*/ 6206540 h 6857998"/>
              <a:gd name="connsiteX119" fmla="*/ 5343186 w 5947441"/>
              <a:gd name="connsiteY119" fmla="*/ 6225731 h 6857998"/>
              <a:gd name="connsiteX120" fmla="*/ 5343186 w 5947441"/>
              <a:gd name="connsiteY120" fmla="*/ 6271204 h 6857998"/>
              <a:gd name="connsiteX121" fmla="*/ 5369312 w 5947441"/>
              <a:gd name="connsiteY121" fmla="*/ 6271204 h 6857998"/>
              <a:gd name="connsiteX122" fmla="*/ 5369312 w 5947441"/>
              <a:gd name="connsiteY122" fmla="*/ 6221237 h 6857998"/>
              <a:gd name="connsiteX123" fmla="*/ 5335747 w 5947441"/>
              <a:gd name="connsiteY123" fmla="*/ 6182853 h 6857998"/>
              <a:gd name="connsiteX124" fmla="*/ 5311699 w 5947441"/>
              <a:gd name="connsiteY124" fmla="*/ 6193574 h 6857998"/>
              <a:gd name="connsiteX125" fmla="*/ 5311699 w 5947441"/>
              <a:gd name="connsiteY125" fmla="*/ 6141531 h 6857998"/>
              <a:gd name="connsiteX126" fmla="*/ 5174334 w 5947441"/>
              <a:gd name="connsiteY126" fmla="*/ 6141531 h 6857998"/>
              <a:gd name="connsiteX127" fmla="*/ 5174334 w 5947441"/>
              <a:gd name="connsiteY127" fmla="*/ 6271204 h 6857998"/>
              <a:gd name="connsiteX128" fmla="*/ 5200460 w 5947441"/>
              <a:gd name="connsiteY128" fmla="*/ 6271204 h 6857998"/>
              <a:gd name="connsiteX129" fmla="*/ 5200460 w 5947441"/>
              <a:gd name="connsiteY129" fmla="*/ 6141531 h 6857998"/>
              <a:gd name="connsiteX130" fmla="*/ 4780585 w 5947441"/>
              <a:gd name="connsiteY130" fmla="*/ 6140494 h 6857998"/>
              <a:gd name="connsiteX131" fmla="*/ 4745808 w 5947441"/>
              <a:gd name="connsiteY131" fmla="*/ 6175247 h 6857998"/>
              <a:gd name="connsiteX132" fmla="*/ 4745808 w 5947441"/>
              <a:gd name="connsiteY132" fmla="*/ 6184755 h 6857998"/>
              <a:gd name="connsiteX133" fmla="*/ 4728508 w 5947441"/>
              <a:gd name="connsiteY133" fmla="*/ 6184755 h 6857998"/>
              <a:gd name="connsiteX134" fmla="*/ 4728508 w 5947441"/>
              <a:gd name="connsiteY134" fmla="*/ 6207405 h 6857998"/>
              <a:gd name="connsiteX135" fmla="*/ 4745808 w 5947441"/>
              <a:gd name="connsiteY135" fmla="*/ 6207405 h 6857998"/>
              <a:gd name="connsiteX136" fmla="*/ 4745808 w 5947441"/>
              <a:gd name="connsiteY136" fmla="*/ 6271204 h 6857998"/>
              <a:gd name="connsiteX137" fmla="*/ 4771934 w 5947441"/>
              <a:gd name="connsiteY137" fmla="*/ 6271204 h 6857998"/>
              <a:gd name="connsiteX138" fmla="*/ 4771934 w 5947441"/>
              <a:gd name="connsiteY138" fmla="*/ 6207405 h 6857998"/>
              <a:gd name="connsiteX139" fmla="*/ 4796157 w 5947441"/>
              <a:gd name="connsiteY139" fmla="*/ 6207405 h 6857998"/>
              <a:gd name="connsiteX140" fmla="*/ 4796157 w 5947441"/>
              <a:gd name="connsiteY140" fmla="*/ 6184755 h 6857998"/>
              <a:gd name="connsiteX141" fmla="*/ 4771934 w 5947441"/>
              <a:gd name="connsiteY141" fmla="*/ 6184755 h 6857998"/>
              <a:gd name="connsiteX142" fmla="*/ 4771934 w 5947441"/>
              <a:gd name="connsiteY142" fmla="*/ 6178531 h 6857998"/>
              <a:gd name="connsiteX143" fmla="*/ 4786814 w 5947441"/>
              <a:gd name="connsiteY143" fmla="*/ 6163835 h 6857998"/>
              <a:gd name="connsiteX144" fmla="*/ 4796157 w 5947441"/>
              <a:gd name="connsiteY144" fmla="*/ 6165390 h 6857998"/>
              <a:gd name="connsiteX145" fmla="*/ 4796157 w 5947441"/>
              <a:gd name="connsiteY145" fmla="*/ 6142395 h 6857998"/>
              <a:gd name="connsiteX146" fmla="*/ 4780585 w 5947441"/>
              <a:gd name="connsiteY146" fmla="*/ 6140494 h 6857998"/>
              <a:gd name="connsiteX147" fmla="*/ 4314342 w 5947441"/>
              <a:gd name="connsiteY147" fmla="*/ 5948845 h 6857998"/>
              <a:gd name="connsiteX148" fmla="*/ 4353322 w 5947441"/>
              <a:gd name="connsiteY148" fmla="*/ 5975334 h 6857998"/>
              <a:gd name="connsiteX149" fmla="*/ 4273784 w 5947441"/>
              <a:gd name="connsiteY149" fmla="*/ 5975334 h 6857998"/>
              <a:gd name="connsiteX150" fmla="*/ 4314342 w 5947441"/>
              <a:gd name="connsiteY150" fmla="*/ 5948845 h 6857998"/>
              <a:gd name="connsiteX151" fmla="*/ 4314018 w 5947441"/>
              <a:gd name="connsiteY151" fmla="*/ 5896018 h 6857998"/>
              <a:gd name="connsiteX152" fmla="*/ 4213801 w 5947441"/>
              <a:gd name="connsiteY152" fmla="*/ 5997928 h 6857998"/>
              <a:gd name="connsiteX153" fmla="*/ 4314342 w 5947441"/>
              <a:gd name="connsiteY153" fmla="*/ 6098568 h 6857998"/>
              <a:gd name="connsiteX154" fmla="*/ 4390755 w 5947441"/>
              <a:gd name="connsiteY154" fmla="*/ 6069221 h 6857998"/>
              <a:gd name="connsiteX155" fmla="*/ 4353830 w 5947441"/>
              <a:gd name="connsiteY155" fmla="*/ 6032391 h 6857998"/>
              <a:gd name="connsiteX156" fmla="*/ 4316581 w 5947441"/>
              <a:gd name="connsiteY156" fmla="*/ 6045670 h 6857998"/>
              <a:gd name="connsiteX157" fmla="*/ 4281813 w 5947441"/>
              <a:gd name="connsiteY157" fmla="*/ 6030954 h 6857998"/>
              <a:gd name="connsiteX158" fmla="*/ 4276855 w 5947441"/>
              <a:gd name="connsiteY158" fmla="*/ 6024995 h 6857998"/>
              <a:gd name="connsiteX159" fmla="*/ 4275790 w 5947441"/>
              <a:gd name="connsiteY159" fmla="*/ 6023401 h 6857998"/>
              <a:gd name="connsiteX160" fmla="*/ 4275769 w 5947441"/>
              <a:gd name="connsiteY160" fmla="*/ 6023401 h 6857998"/>
              <a:gd name="connsiteX161" fmla="*/ 4271627 w 5947441"/>
              <a:gd name="connsiteY161" fmla="*/ 6015789 h 6857998"/>
              <a:gd name="connsiteX162" fmla="*/ 4410369 w 5947441"/>
              <a:gd name="connsiteY162" fmla="*/ 6015789 h 6857998"/>
              <a:gd name="connsiteX163" fmla="*/ 4412656 w 5947441"/>
              <a:gd name="connsiteY163" fmla="*/ 5995059 h 6857998"/>
              <a:gd name="connsiteX164" fmla="*/ 4314018 w 5947441"/>
              <a:gd name="connsiteY164" fmla="*/ 5896018 h 6857998"/>
              <a:gd name="connsiteX165" fmla="*/ 4110956 w 5947441"/>
              <a:gd name="connsiteY165" fmla="*/ 5896007 h 6857998"/>
              <a:gd name="connsiteX166" fmla="*/ 4110956 w 5947441"/>
              <a:gd name="connsiteY166" fmla="*/ 6096898 h 6857998"/>
              <a:gd name="connsiteX167" fmla="*/ 4167419 w 5947441"/>
              <a:gd name="connsiteY167" fmla="*/ 6096898 h 6857998"/>
              <a:gd name="connsiteX168" fmla="*/ 4167419 w 5947441"/>
              <a:gd name="connsiteY168" fmla="*/ 5947559 h 6857998"/>
              <a:gd name="connsiteX169" fmla="*/ 4212811 w 5947441"/>
              <a:gd name="connsiteY169" fmla="*/ 5947559 h 6857998"/>
              <a:gd name="connsiteX170" fmla="*/ 4212811 w 5947441"/>
              <a:gd name="connsiteY170" fmla="*/ 5896007 h 6857998"/>
              <a:gd name="connsiteX171" fmla="*/ 4529422 w 5947441"/>
              <a:gd name="connsiteY171" fmla="*/ 5895985 h 6857998"/>
              <a:gd name="connsiteX172" fmla="*/ 4528470 w 5947441"/>
              <a:gd name="connsiteY172" fmla="*/ 5896050 h 6857998"/>
              <a:gd name="connsiteX173" fmla="*/ 4428372 w 5947441"/>
              <a:gd name="connsiteY173" fmla="*/ 5996690 h 6857998"/>
              <a:gd name="connsiteX174" fmla="*/ 4529811 w 5947441"/>
              <a:gd name="connsiteY174" fmla="*/ 6098600 h 6857998"/>
              <a:gd name="connsiteX175" fmla="*/ 4609549 w 5947441"/>
              <a:gd name="connsiteY175" fmla="*/ 6061403 h 6857998"/>
              <a:gd name="connsiteX176" fmla="*/ 4613733 w 5947441"/>
              <a:gd name="connsiteY176" fmla="*/ 6056497 h 6857998"/>
              <a:gd name="connsiteX177" fmla="*/ 4577722 w 5947441"/>
              <a:gd name="connsiteY177" fmla="*/ 6020456 h 6857998"/>
              <a:gd name="connsiteX178" fmla="*/ 4572624 w 5947441"/>
              <a:gd name="connsiteY178" fmla="*/ 6025594 h 6857998"/>
              <a:gd name="connsiteX179" fmla="*/ 4530741 w 5947441"/>
              <a:gd name="connsiteY179" fmla="*/ 6045762 h 6857998"/>
              <a:gd name="connsiteX180" fmla="*/ 4484846 w 5947441"/>
              <a:gd name="connsiteY180" fmla="*/ 5997333 h 6857998"/>
              <a:gd name="connsiteX181" fmla="*/ 4529611 w 5947441"/>
              <a:gd name="connsiteY181" fmla="*/ 5948855 h 6857998"/>
              <a:gd name="connsiteX182" fmla="*/ 4530573 w 5947441"/>
              <a:gd name="connsiteY182" fmla="*/ 5948790 h 6857998"/>
              <a:gd name="connsiteX183" fmla="*/ 4572602 w 5947441"/>
              <a:gd name="connsiteY183" fmla="*/ 5968948 h 6857998"/>
              <a:gd name="connsiteX184" fmla="*/ 4577700 w 5947441"/>
              <a:gd name="connsiteY184" fmla="*/ 5974064 h 6857998"/>
              <a:gd name="connsiteX185" fmla="*/ 4613733 w 5947441"/>
              <a:gd name="connsiteY185" fmla="*/ 5938061 h 6857998"/>
              <a:gd name="connsiteX186" fmla="*/ 4609538 w 5947441"/>
              <a:gd name="connsiteY186" fmla="*/ 5933145 h 6857998"/>
              <a:gd name="connsiteX187" fmla="*/ 4529422 w 5947441"/>
              <a:gd name="connsiteY187" fmla="*/ 5895985 h 6857998"/>
              <a:gd name="connsiteX188" fmla="*/ 3912831 w 5947441"/>
              <a:gd name="connsiteY188" fmla="*/ 5863028 h 6857998"/>
              <a:gd name="connsiteX189" fmla="*/ 3912831 w 5947441"/>
              <a:gd name="connsiteY189" fmla="*/ 5990061 h 6857998"/>
              <a:gd name="connsiteX190" fmla="*/ 3911858 w 5947441"/>
              <a:gd name="connsiteY190" fmla="*/ 6004922 h 6857998"/>
              <a:gd name="connsiteX191" fmla="*/ 3911858 w 5947441"/>
              <a:gd name="connsiteY191" fmla="*/ 6004922 h 6857998"/>
              <a:gd name="connsiteX192" fmla="*/ 3911858 w 5947441"/>
              <a:gd name="connsiteY192" fmla="*/ 6004923 h 6857998"/>
              <a:gd name="connsiteX193" fmla="*/ 3769924 w 5947441"/>
              <a:gd name="connsiteY193" fmla="*/ 5863087 h 6857998"/>
              <a:gd name="connsiteX194" fmla="*/ 3769924 w 5947441"/>
              <a:gd name="connsiteY194" fmla="*/ 5990060 h 6857998"/>
              <a:gd name="connsiteX195" fmla="*/ 3787489 w 5947441"/>
              <a:gd name="connsiteY195" fmla="*/ 6058013 h 6857998"/>
              <a:gd name="connsiteX196" fmla="*/ 3871536 w 5947441"/>
              <a:gd name="connsiteY196" fmla="*/ 6098501 h 6857998"/>
              <a:gd name="connsiteX197" fmla="*/ 3955583 w 5947441"/>
              <a:gd name="connsiteY197" fmla="*/ 6058013 h 6857998"/>
              <a:gd name="connsiteX198" fmla="*/ 3959335 w 5947441"/>
              <a:gd name="connsiteY198" fmla="*/ 6052367 h 6857998"/>
              <a:gd name="connsiteX199" fmla="*/ 3959334 w 5947441"/>
              <a:gd name="connsiteY199" fmla="*/ 6052365 h 6857998"/>
              <a:gd name="connsiteX200" fmla="*/ 3959336 w 5947441"/>
              <a:gd name="connsiteY200" fmla="*/ 6052367 h 6857998"/>
              <a:gd name="connsiteX201" fmla="*/ 3973148 w 5947441"/>
              <a:gd name="connsiteY201" fmla="*/ 5990060 h 6857998"/>
              <a:gd name="connsiteX202" fmla="*/ 3973148 w 5947441"/>
              <a:gd name="connsiteY202" fmla="*/ 5863028 h 6857998"/>
              <a:gd name="connsiteX203" fmla="*/ 4056543 w 5947441"/>
              <a:gd name="connsiteY203" fmla="*/ 5839377 h 6857998"/>
              <a:gd name="connsiteX204" fmla="*/ 4000068 w 5947441"/>
              <a:gd name="connsiteY204" fmla="*/ 5896018 h 6857998"/>
              <a:gd name="connsiteX205" fmla="*/ 4000068 w 5947441"/>
              <a:gd name="connsiteY205" fmla="*/ 6096899 h 6857998"/>
              <a:gd name="connsiteX206" fmla="*/ 4056543 w 5947441"/>
              <a:gd name="connsiteY206" fmla="*/ 6096899 h 6857998"/>
              <a:gd name="connsiteX207" fmla="*/ 4056543 w 5947441"/>
              <a:gd name="connsiteY207" fmla="*/ 5947559 h 6857998"/>
              <a:gd name="connsiteX208" fmla="*/ 4093208 w 5947441"/>
              <a:gd name="connsiteY208" fmla="*/ 5947559 h 6857998"/>
              <a:gd name="connsiteX209" fmla="*/ 4093208 w 5947441"/>
              <a:gd name="connsiteY209" fmla="*/ 5896008 h 6857998"/>
              <a:gd name="connsiteX210" fmla="*/ 4056543 w 5947441"/>
              <a:gd name="connsiteY210" fmla="*/ 5896008 h 6857998"/>
              <a:gd name="connsiteX211" fmla="*/ 4690438 w 5947441"/>
              <a:gd name="connsiteY211" fmla="*/ 5839296 h 6857998"/>
              <a:gd name="connsiteX212" fmla="*/ 4633974 w 5947441"/>
              <a:gd name="connsiteY212" fmla="*/ 5896019 h 6857998"/>
              <a:gd name="connsiteX213" fmla="*/ 4633974 w 5947441"/>
              <a:gd name="connsiteY213" fmla="*/ 6096898 h 6857998"/>
              <a:gd name="connsiteX214" fmla="*/ 4690438 w 5947441"/>
              <a:gd name="connsiteY214" fmla="*/ 6096898 h 6857998"/>
              <a:gd name="connsiteX215" fmla="*/ 4690438 w 5947441"/>
              <a:gd name="connsiteY215" fmla="*/ 5996167 h 6857998"/>
              <a:gd name="connsiteX216" fmla="*/ 4719194 w 5947441"/>
              <a:gd name="connsiteY216" fmla="*/ 5948996 h 6857998"/>
              <a:gd name="connsiteX217" fmla="*/ 4748594 w 5947441"/>
              <a:gd name="connsiteY217" fmla="*/ 5995529 h 6857998"/>
              <a:gd name="connsiteX218" fmla="*/ 4748594 w 5947441"/>
              <a:gd name="connsiteY218" fmla="*/ 6096898 h 6857998"/>
              <a:gd name="connsiteX219" fmla="*/ 4805057 w 5947441"/>
              <a:gd name="connsiteY219" fmla="*/ 6096898 h 6857998"/>
              <a:gd name="connsiteX220" fmla="*/ 4805057 w 5947441"/>
              <a:gd name="connsiteY220" fmla="*/ 5986296 h 6857998"/>
              <a:gd name="connsiteX221" fmla="*/ 4789514 w 5947441"/>
              <a:gd name="connsiteY221" fmla="*/ 5925917 h 6857998"/>
              <a:gd name="connsiteX222" fmla="*/ 4729407 w 5947441"/>
              <a:gd name="connsiteY222" fmla="*/ 5896164 h 6857998"/>
              <a:gd name="connsiteX223" fmla="*/ 4690438 w 5947441"/>
              <a:gd name="connsiteY223" fmla="*/ 5907142 h 6857998"/>
              <a:gd name="connsiteX224" fmla="*/ 4889213 w 5947441"/>
              <a:gd name="connsiteY224" fmla="*/ 5839295 h 6857998"/>
              <a:gd name="connsiteX225" fmla="*/ 4832749 w 5947441"/>
              <a:gd name="connsiteY225" fmla="*/ 5896018 h 6857998"/>
              <a:gd name="connsiteX226" fmla="*/ 4832749 w 5947441"/>
              <a:gd name="connsiteY226" fmla="*/ 6096897 h 6857998"/>
              <a:gd name="connsiteX227" fmla="*/ 4889213 w 5947441"/>
              <a:gd name="connsiteY227" fmla="*/ 6096897 h 6857998"/>
              <a:gd name="connsiteX228" fmla="*/ 4889213 w 5947441"/>
              <a:gd name="connsiteY228" fmla="*/ 5947483 h 6857998"/>
              <a:gd name="connsiteX229" fmla="*/ 4925889 w 5947441"/>
              <a:gd name="connsiteY229" fmla="*/ 5947483 h 6857998"/>
              <a:gd name="connsiteX230" fmla="*/ 4925889 w 5947441"/>
              <a:gd name="connsiteY230" fmla="*/ 5895931 h 6857998"/>
              <a:gd name="connsiteX231" fmla="*/ 4889213 w 5947441"/>
              <a:gd name="connsiteY231" fmla="*/ 5895931 h 6857998"/>
              <a:gd name="connsiteX232" fmla="*/ 0 w 5947441"/>
              <a:gd name="connsiteY232" fmla="*/ 0 h 6857998"/>
              <a:gd name="connsiteX233" fmla="*/ 5947441 w 5947441"/>
              <a:gd name="connsiteY233" fmla="*/ 0 h 6857998"/>
              <a:gd name="connsiteX234" fmla="*/ 5947441 w 5947441"/>
              <a:gd name="connsiteY234" fmla="*/ 6857998 h 6857998"/>
              <a:gd name="connsiteX235" fmla="*/ 0 w 5947441"/>
              <a:gd name="connsiteY23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5947441" h="6857998">
                <a:moveTo>
                  <a:pt x="4676089" y="6207232"/>
                </a:moveTo>
                <a:cubicBezTo>
                  <a:pt x="4686990" y="6207232"/>
                  <a:pt x="4695295" y="6215704"/>
                  <a:pt x="4695295" y="6227979"/>
                </a:cubicBezTo>
                <a:cubicBezTo>
                  <a:pt x="4695295" y="6240255"/>
                  <a:pt x="4686990" y="6248726"/>
                  <a:pt x="4676089" y="6248726"/>
                </a:cubicBezTo>
                <a:cubicBezTo>
                  <a:pt x="4665190" y="6248726"/>
                  <a:pt x="4656884" y="6240255"/>
                  <a:pt x="4656884" y="6227979"/>
                </a:cubicBezTo>
                <a:cubicBezTo>
                  <a:pt x="4656884" y="6215704"/>
                  <a:pt x="4665190" y="6207232"/>
                  <a:pt x="4676089" y="6207232"/>
                </a:cubicBezTo>
                <a:close/>
                <a:moveTo>
                  <a:pt x="5109116" y="6206540"/>
                </a:moveTo>
                <a:cubicBezTo>
                  <a:pt x="5120881" y="6206540"/>
                  <a:pt x="5128838" y="6215531"/>
                  <a:pt x="5128838" y="6227979"/>
                </a:cubicBezTo>
                <a:cubicBezTo>
                  <a:pt x="5128838" y="6240428"/>
                  <a:pt x="5120881" y="6249419"/>
                  <a:pt x="5109116" y="6249419"/>
                </a:cubicBezTo>
                <a:cubicBezTo>
                  <a:pt x="5097350" y="6249419"/>
                  <a:pt x="5089392" y="6240428"/>
                  <a:pt x="5089392" y="6227979"/>
                </a:cubicBezTo>
                <a:cubicBezTo>
                  <a:pt x="5089392" y="6215531"/>
                  <a:pt x="5097350" y="6206540"/>
                  <a:pt x="5109116" y="6206540"/>
                </a:cubicBezTo>
                <a:close/>
                <a:moveTo>
                  <a:pt x="4405345" y="6206540"/>
                </a:moveTo>
                <a:cubicBezTo>
                  <a:pt x="4417110" y="6206540"/>
                  <a:pt x="4425068" y="6215531"/>
                  <a:pt x="4425068" y="6227979"/>
                </a:cubicBezTo>
                <a:cubicBezTo>
                  <a:pt x="4425068" y="6240428"/>
                  <a:pt x="4417110" y="6249419"/>
                  <a:pt x="4405345" y="6249419"/>
                </a:cubicBezTo>
                <a:cubicBezTo>
                  <a:pt x="4393579" y="6249419"/>
                  <a:pt x="4385621" y="6240428"/>
                  <a:pt x="4385621" y="6227979"/>
                </a:cubicBezTo>
                <a:cubicBezTo>
                  <a:pt x="4385621" y="6215531"/>
                  <a:pt x="4393579" y="6206540"/>
                  <a:pt x="4405345" y="6206540"/>
                </a:cubicBezTo>
                <a:close/>
                <a:moveTo>
                  <a:pt x="5008256" y="6204119"/>
                </a:moveTo>
                <a:cubicBezTo>
                  <a:pt x="5015868" y="6204119"/>
                  <a:pt x="5023828" y="6207923"/>
                  <a:pt x="5026076" y="6217087"/>
                </a:cubicBezTo>
                <a:lnTo>
                  <a:pt x="4989397" y="6217087"/>
                </a:lnTo>
                <a:cubicBezTo>
                  <a:pt x="4991646" y="6207577"/>
                  <a:pt x="5000643" y="6204119"/>
                  <a:pt x="5008256" y="6204119"/>
                </a:cubicBezTo>
                <a:close/>
                <a:moveTo>
                  <a:pt x="4304485" y="6204119"/>
                </a:moveTo>
                <a:cubicBezTo>
                  <a:pt x="4312097" y="6204119"/>
                  <a:pt x="4320057" y="6207923"/>
                  <a:pt x="4322305" y="6217087"/>
                </a:cubicBezTo>
                <a:lnTo>
                  <a:pt x="4285626" y="6217087"/>
                </a:lnTo>
                <a:cubicBezTo>
                  <a:pt x="4287875" y="6207577"/>
                  <a:pt x="4296872" y="6204119"/>
                  <a:pt x="4304485" y="6204119"/>
                </a:cubicBezTo>
                <a:close/>
                <a:moveTo>
                  <a:pt x="4470561" y="6184755"/>
                </a:moveTo>
                <a:lnTo>
                  <a:pt x="4470561" y="6271204"/>
                </a:lnTo>
                <a:lnTo>
                  <a:pt x="4496688" y="6271204"/>
                </a:lnTo>
                <a:lnTo>
                  <a:pt x="4496688" y="6207405"/>
                </a:lnTo>
                <a:lnTo>
                  <a:pt x="4525754" y="6207405"/>
                </a:lnTo>
                <a:lnTo>
                  <a:pt x="4525754" y="6184755"/>
                </a:lnTo>
                <a:close/>
                <a:moveTo>
                  <a:pt x="5103232" y="6182853"/>
                </a:moveTo>
                <a:cubicBezTo>
                  <a:pt x="5080568" y="6182853"/>
                  <a:pt x="5063093" y="6203429"/>
                  <a:pt x="5063093" y="6227979"/>
                </a:cubicBezTo>
                <a:cubicBezTo>
                  <a:pt x="5063093" y="6252531"/>
                  <a:pt x="5080568" y="6273104"/>
                  <a:pt x="5103232" y="6273104"/>
                </a:cubicBezTo>
                <a:cubicBezTo>
                  <a:pt x="5114824" y="6273104"/>
                  <a:pt x="5123302" y="6267228"/>
                  <a:pt x="5126764" y="6262559"/>
                </a:cubicBezTo>
                <a:lnTo>
                  <a:pt x="5126764" y="6271204"/>
                </a:lnTo>
                <a:lnTo>
                  <a:pt x="5152889" y="6271204"/>
                </a:lnTo>
                <a:lnTo>
                  <a:pt x="5152889" y="6184755"/>
                </a:lnTo>
                <a:lnTo>
                  <a:pt x="5126764" y="6184755"/>
                </a:lnTo>
                <a:lnTo>
                  <a:pt x="5126764" y="6193400"/>
                </a:lnTo>
                <a:cubicBezTo>
                  <a:pt x="5123302" y="6188732"/>
                  <a:pt x="5114824" y="6182853"/>
                  <a:pt x="5103232" y="6182853"/>
                </a:cubicBezTo>
                <a:close/>
                <a:moveTo>
                  <a:pt x="5008948" y="6182853"/>
                </a:moveTo>
                <a:cubicBezTo>
                  <a:pt x="4982649" y="6182853"/>
                  <a:pt x="4963445" y="6202218"/>
                  <a:pt x="4963445" y="6227979"/>
                </a:cubicBezTo>
                <a:cubicBezTo>
                  <a:pt x="4963445" y="6255816"/>
                  <a:pt x="4984033" y="6273104"/>
                  <a:pt x="5009467" y="6273104"/>
                </a:cubicBezTo>
                <a:cubicBezTo>
                  <a:pt x="5027634" y="6273104"/>
                  <a:pt x="5041993" y="6265498"/>
                  <a:pt x="5050126" y="6254087"/>
                </a:cubicBezTo>
                <a:lnTo>
                  <a:pt x="5030748" y="6239564"/>
                </a:lnTo>
                <a:cubicBezTo>
                  <a:pt x="5027460" y="6244577"/>
                  <a:pt x="5019847" y="6249419"/>
                  <a:pt x="5009813" y="6249419"/>
                </a:cubicBezTo>
                <a:cubicBezTo>
                  <a:pt x="4999951" y="6249419"/>
                  <a:pt x="4990262" y="6244577"/>
                  <a:pt x="4988705" y="6234204"/>
                </a:cubicBezTo>
                <a:lnTo>
                  <a:pt x="5051510" y="6234204"/>
                </a:lnTo>
                <a:cubicBezTo>
                  <a:pt x="5052029" y="6230053"/>
                  <a:pt x="5052029" y="6227288"/>
                  <a:pt x="5052029" y="6225041"/>
                </a:cubicBezTo>
                <a:cubicBezTo>
                  <a:pt x="5052029" y="6197031"/>
                  <a:pt x="5031785" y="6182853"/>
                  <a:pt x="5008948" y="6182853"/>
                </a:cubicBezTo>
                <a:close/>
                <a:moveTo>
                  <a:pt x="4676089" y="6182853"/>
                </a:moveTo>
                <a:cubicBezTo>
                  <a:pt x="4651176" y="6182853"/>
                  <a:pt x="4630587" y="6202564"/>
                  <a:pt x="4630587" y="6227979"/>
                </a:cubicBezTo>
                <a:cubicBezTo>
                  <a:pt x="4630587" y="6253395"/>
                  <a:pt x="4651176" y="6273104"/>
                  <a:pt x="4676089" y="6273104"/>
                </a:cubicBezTo>
                <a:cubicBezTo>
                  <a:pt x="4701004" y="6273104"/>
                  <a:pt x="4721592" y="6253395"/>
                  <a:pt x="4721592" y="6227979"/>
                </a:cubicBezTo>
                <a:cubicBezTo>
                  <a:pt x="4721592" y="6202564"/>
                  <a:pt x="4701004" y="6182853"/>
                  <a:pt x="4676089" y="6182853"/>
                </a:cubicBezTo>
                <a:close/>
                <a:moveTo>
                  <a:pt x="4399461" y="6182853"/>
                </a:moveTo>
                <a:cubicBezTo>
                  <a:pt x="4376797" y="6182853"/>
                  <a:pt x="4359322" y="6203429"/>
                  <a:pt x="4359322" y="6227979"/>
                </a:cubicBezTo>
                <a:cubicBezTo>
                  <a:pt x="4359322" y="6252531"/>
                  <a:pt x="4376797" y="6273104"/>
                  <a:pt x="4399461" y="6273104"/>
                </a:cubicBezTo>
                <a:cubicBezTo>
                  <a:pt x="4411053" y="6273104"/>
                  <a:pt x="4419531" y="6267228"/>
                  <a:pt x="4422991" y="6262559"/>
                </a:cubicBezTo>
                <a:lnTo>
                  <a:pt x="4422991" y="6271204"/>
                </a:lnTo>
                <a:lnTo>
                  <a:pt x="4449118" y="6271204"/>
                </a:lnTo>
                <a:lnTo>
                  <a:pt x="4449118" y="6184755"/>
                </a:lnTo>
                <a:lnTo>
                  <a:pt x="4422991" y="6184755"/>
                </a:lnTo>
                <a:lnTo>
                  <a:pt x="4422991" y="6193400"/>
                </a:lnTo>
                <a:cubicBezTo>
                  <a:pt x="4419531" y="6188732"/>
                  <a:pt x="4411053" y="6182853"/>
                  <a:pt x="4399461" y="6182853"/>
                </a:cubicBezTo>
                <a:close/>
                <a:moveTo>
                  <a:pt x="4305177" y="6182853"/>
                </a:moveTo>
                <a:cubicBezTo>
                  <a:pt x="4278879" y="6182853"/>
                  <a:pt x="4259674" y="6202218"/>
                  <a:pt x="4259674" y="6227979"/>
                </a:cubicBezTo>
                <a:cubicBezTo>
                  <a:pt x="4259674" y="6255816"/>
                  <a:pt x="4280262" y="6273104"/>
                  <a:pt x="4305696" y="6273104"/>
                </a:cubicBezTo>
                <a:cubicBezTo>
                  <a:pt x="4323861" y="6273104"/>
                  <a:pt x="4338222" y="6265498"/>
                  <a:pt x="4346353" y="6254087"/>
                </a:cubicBezTo>
                <a:lnTo>
                  <a:pt x="4326977" y="6239564"/>
                </a:lnTo>
                <a:cubicBezTo>
                  <a:pt x="4323689" y="6244577"/>
                  <a:pt x="4316076" y="6249419"/>
                  <a:pt x="4306042" y="6249419"/>
                </a:cubicBezTo>
                <a:cubicBezTo>
                  <a:pt x="4296179" y="6249419"/>
                  <a:pt x="4286491" y="6244577"/>
                  <a:pt x="4284934" y="6234204"/>
                </a:cubicBezTo>
                <a:lnTo>
                  <a:pt x="4347739" y="6234204"/>
                </a:lnTo>
                <a:cubicBezTo>
                  <a:pt x="4348258" y="6230053"/>
                  <a:pt x="4348258" y="6227288"/>
                  <a:pt x="4348258" y="6225041"/>
                </a:cubicBezTo>
                <a:cubicBezTo>
                  <a:pt x="4348258" y="6197031"/>
                  <a:pt x="4328014" y="6182853"/>
                  <a:pt x="4305177" y="6182853"/>
                </a:cubicBezTo>
                <a:close/>
                <a:moveTo>
                  <a:pt x="5248035" y="6157264"/>
                </a:moveTo>
                <a:lnTo>
                  <a:pt x="5221908" y="6184755"/>
                </a:lnTo>
                <a:lnTo>
                  <a:pt x="5221908" y="6271204"/>
                </a:lnTo>
                <a:lnTo>
                  <a:pt x="5248035" y="6271204"/>
                </a:lnTo>
                <a:lnTo>
                  <a:pt x="5248035" y="6207405"/>
                </a:lnTo>
                <a:lnTo>
                  <a:pt x="5272256" y="6207405"/>
                </a:lnTo>
                <a:lnTo>
                  <a:pt x="5272256" y="6184755"/>
                </a:lnTo>
                <a:lnTo>
                  <a:pt x="5248035" y="6184755"/>
                </a:lnTo>
                <a:close/>
                <a:moveTo>
                  <a:pt x="4566234" y="6157264"/>
                </a:moveTo>
                <a:lnTo>
                  <a:pt x="4540108" y="6184755"/>
                </a:lnTo>
                <a:lnTo>
                  <a:pt x="4540108" y="6271204"/>
                </a:lnTo>
                <a:lnTo>
                  <a:pt x="4566234" y="6271204"/>
                </a:lnTo>
                <a:lnTo>
                  <a:pt x="4566234" y="6207405"/>
                </a:lnTo>
                <a:lnTo>
                  <a:pt x="4590455" y="6207405"/>
                </a:lnTo>
                <a:lnTo>
                  <a:pt x="4590455" y="6184755"/>
                </a:lnTo>
                <a:lnTo>
                  <a:pt x="4566234" y="6184755"/>
                </a:lnTo>
                <a:close/>
                <a:moveTo>
                  <a:pt x="4843725" y="6148448"/>
                </a:moveTo>
                <a:lnTo>
                  <a:pt x="4843725" y="6271204"/>
                </a:lnTo>
                <a:lnTo>
                  <a:pt x="4871235" y="6271204"/>
                </a:lnTo>
                <a:lnTo>
                  <a:pt x="4871235" y="6222620"/>
                </a:lnTo>
                <a:lnTo>
                  <a:pt x="4920717" y="6222620"/>
                </a:lnTo>
                <a:lnTo>
                  <a:pt x="4920717" y="6271204"/>
                </a:lnTo>
                <a:lnTo>
                  <a:pt x="4948226" y="6271204"/>
                </a:lnTo>
                <a:lnTo>
                  <a:pt x="4948226" y="6148448"/>
                </a:lnTo>
                <a:lnTo>
                  <a:pt x="4920717" y="6148448"/>
                </a:lnTo>
                <a:lnTo>
                  <a:pt x="4920717" y="6196512"/>
                </a:lnTo>
                <a:lnTo>
                  <a:pt x="4871235" y="6196512"/>
                </a:lnTo>
                <a:lnTo>
                  <a:pt x="4871235" y="6148448"/>
                </a:lnTo>
                <a:close/>
                <a:moveTo>
                  <a:pt x="4139954" y="6148448"/>
                </a:moveTo>
                <a:lnTo>
                  <a:pt x="4139954" y="6232862"/>
                </a:lnTo>
                <a:lnTo>
                  <a:pt x="4167462" y="6260352"/>
                </a:lnTo>
                <a:lnTo>
                  <a:pt x="4167462" y="6222620"/>
                </a:lnTo>
                <a:lnTo>
                  <a:pt x="4216946" y="6222620"/>
                </a:lnTo>
                <a:lnTo>
                  <a:pt x="4216946" y="6271204"/>
                </a:lnTo>
                <a:lnTo>
                  <a:pt x="4244455" y="6271204"/>
                </a:lnTo>
                <a:lnTo>
                  <a:pt x="4244455" y="6148448"/>
                </a:lnTo>
                <a:lnTo>
                  <a:pt x="4216946" y="6148448"/>
                </a:lnTo>
                <a:lnTo>
                  <a:pt x="4216946" y="6196512"/>
                </a:lnTo>
                <a:lnTo>
                  <a:pt x="4167462" y="6196512"/>
                </a:lnTo>
                <a:lnTo>
                  <a:pt x="4167462" y="6148448"/>
                </a:lnTo>
                <a:close/>
                <a:moveTo>
                  <a:pt x="5285572" y="6141531"/>
                </a:moveTo>
                <a:lnTo>
                  <a:pt x="5285572" y="6271204"/>
                </a:lnTo>
                <a:lnTo>
                  <a:pt x="5311699" y="6271204"/>
                </a:lnTo>
                <a:lnTo>
                  <a:pt x="5311699" y="6229189"/>
                </a:lnTo>
                <a:cubicBezTo>
                  <a:pt x="5311699" y="6213630"/>
                  <a:pt x="5319310" y="6206540"/>
                  <a:pt x="5329173" y="6206540"/>
                </a:cubicBezTo>
                <a:cubicBezTo>
                  <a:pt x="5338516" y="6206540"/>
                  <a:pt x="5343186" y="6213802"/>
                  <a:pt x="5343186" y="6225731"/>
                </a:cubicBezTo>
                <a:lnTo>
                  <a:pt x="5343186" y="6271204"/>
                </a:lnTo>
                <a:lnTo>
                  <a:pt x="5369312" y="6271204"/>
                </a:lnTo>
                <a:lnTo>
                  <a:pt x="5369312" y="6221237"/>
                </a:lnTo>
                <a:cubicBezTo>
                  <a:pt x="5369312" y="6198586"/>
                  <a:pt x="5357028" y="6182853"/>
                  <a:pt x="5335747" y="6182853"/>
                </a:cubicBezTo>
                <a:cubicBezTo>
                  <a:pt x="5324502" y="6182853"/>
                  <a:pt x="5315850" y="6187695"/>
                  <a:pt x="5311699" y="6193574"/>
                </a:cubicBezTo>
                <a:lnTo>
                  <a:pt x="5311699" y="6141531"/>
                </a:lnTo>
                <a:close/>
                <a:moveTo>
                  <a:pt x="5174334" y="6141531"/>
                </a:moveTo>
                <a:lnTo>
                  <a:pt x="5174334" y="6271204"/>
                </a:lnTo>
                <a:lnTo>
                  <a:pt x="5200460" y="6271204"/>
                </a:lnTo>
                <a:lnTo>
                  <a:pt x="5200460" y="6141531"/>
                </a:lnTo>
                <a:close/>
                <a:moveTo>
                  <a:pt x="4780585" y="6140494"/>
                </a:moveTo>
                <a:cubicBezTo>
                  <a:pt x="4761380" y="6140494"/>
                  <a:pt x="4745808" y="6153288"/>
                  <a:pt x="4745808" y="6175247"/>
                </a:cubicBezTo>
                <a:lnTo>
                  <a:pt x="4745808" y="6184755"/>
                </a:lnTo>
                <a:lnTo>
                  <a:pt x="4728508" y="6184755"/>
                </a:lnTo>
                <a:lnTo>
                  <a:pt x="4728508" y="6207405"/>
                </a:lnTo>
                <a:lnTo>
                  <a:pt x="4745808" y="6207405"/>
                </a:lnTo>
                <a:lnTo>
                  <a:pt x="4745808" y="6271204"/>
                </a:lnTo>
                <a:lnTo>
                  <a:pt x="4771934" y="6271204"/>
                </a:lnTo>
                <a:lnTo>
                  <a:pt x="4771934" y="6207405"/>
                </a:lnTo>
                <a:lnTo>
                  <a:pt x="4796157" y="6207405"/>
                </a:lnTo>
                <a:lnTo>
                  <a:pt x="4796157" y="6184755"/>
                </a:lnTo>
                <a:lnTo>
                  <a:pt x="4771934" y="6184755"/>
                </a:lnTo>
                <a:lnTo>
                  <a:pt x="4771934" y="6178531"/>
                </a:lnTo>
                <a:cubicBezTo>
                  <a:pt x="4771934" y="6168157"/>
                  <a:pt x="4776260" y="6163835"/>
                  <a:pt x="4786814" y="6163835"/>
                </a:cubicBezTo>
                <a:cubicBezTo>
                  <a:pt x="4790620" y="6163835"/>
                  <a:pt x="4793388" y="6164354"/>
                  <a:pt x="4796157" y="6165390"/>
                </a:cubicBezTo>
                <a:lnTo>
                  <a:pt x="4796157" y="6142395"/>
                </a:lnTo>
                <a:cubicBezTo>
                  <a:pt x="4792350" y="6141185"/>
                  <a:pt x="4787505" y="6140494"/>
                  <a:pt x="4780585" y="6140494"/>
                </a:cubicBezTo>
                <a:close/>
                <a:moveTo>
                  <a:pt x="4314342" y="5948845"/>
                </a:moveTo>
                <a:cubicBezTo>
                  <a:pt x="4333989" y="5948845"/>
                  <a:pt x="4347629" y="5958197"/>
                  <a:pt x="4353322" y="5975334"/>
                </a:cubicBezTo>
                <a:lnTo>
                  <a:pt x="4273784" y="5975334"/>
                </a:lnTo>
                <a:cubicBezTo>
                  <a:pt x="4283099" y="5952465"/>
                  <a:pt x="4302832" y="5948845"/>
                  <a:pt x="4314342" y="5948845"/>
                </a:cubicBezTo>
                <a:close/>
                <a:moveTo>
                  <a:pt x="4314018" y="5896018"/>
                </a:moveTo>
                <a:cubicBezTo>
                  <a:pt x="4251288" y="5896018"/>
                  <a:pt x="4213801" y="5947840"/>
                  <a:pt x="4213801" y="5997928"/>
                </a:cubicBezTo>
                <a:cubicBezTo>
                  <a:pt x="4213801" y="6054363"/>
                  <a:pt x="4257965" y="6098568"/>
                  <a:pt x="4314342" y="6098568"/>
                </a:cubicBezTo>
                <a:cubicBezTo>
                  <a:pt x="4343596" y="6098568"/>
                  <a:pt x="4370860" y="6087984"/>
                  <a:pt x="4390755" y="6069221"/>
                </a:cubicBezTo>
                <a:lnTo>
                  <a:pt x="4353830" y="6032391"/>
                </a:lnTo>
                <a:cubicBezTo>
                  <a:pt x="4342433" y="6041921"/>
                  <a:pt x="4332286" y="6045379"/>
                  <a:pt x="4316581" y="6045670"/>
                </a:cubicBezTo>
                <a:cubicBezTo>
                  <a:pt x="4302940" y="6045541"/>
                  <a:pt x="4290657" y="6039928"/>
                  <a:pt x="4281813" y="6030954"/>
                </a:cubicBezTo>
                <a:cubicBezTo>
                  <a:pt x="4279996" y="6029101"/>
                  <a:pt x="4278358" y="6027107"/>
                  <a:pt x="4276855" y="6024995"/>
                </a:cubicBezTo>
                <a:cubicBezTo>
                  <a:pt x="4276509" y="6024460"/>
                  <a:pt x="4276103" y="6023925"/>
                  <a:pt x="4275790" y="6023401"/>
                </a:cubicBezTo>
                <a:lnTo>
                  <a:pt x="4275769" y="6023401"/>
                </a:lnTo>
                <a:cubicBezTo>
                  <a:pt x="4274184" y="6020986"/>
                  <a:pt x="4272757" y="6018463"/>
                  <a:pt x="4271627" y="6015789"/>
                </a:cubicBezTo>
                <a:lnTo>
                  <a:pt x="4410369" y="6015789"/>
                </a:lnTo>
                <a:cubicBezTo>
                  <a:pt x="4411456" y="6010581"/>
                  <a:pt x="4412656" y="6003438"/>
                  <a:pt x="4412656" y="5995059"/>
                </a:cubicBezTo>
                <a:cubicBezTo>
                  <a:pt x="4412656" y="5946376"/>
                  <a:pt x="4375769" y="5896018"/>
                  <a:pt x="4314018" y="5896018"/>
                </a:cubicBezTo>
                <a:close/>
                <a:moveTo>
                  <a:pt x="4110956" y="5896007"/>
                </a:moveTo>
                <a:lnTo>
                  <a:pt x="4110956" y="6096898"/>
                </a:lnTo>
                <a:lnTo>
                  <a:pt x="4167419" y="6096898"/>
                </a:lnTo>
                <a:lnTo>
                  <a:pt x="4167419" y="5947559"/>
                </a:lnTo>
                <a:lnTo>
                  <a:pt x="4212811" y="5947559"/>
                </a:lnTo>
                <a:lnTo>
                  <a:pt x="4212811" y="5896007"/>
                </a:lnTo>
                <a:close/>
                <a:moveTo>
                  <a:pt x="4529422" y="5895985"/>
                </a:moveTo>
                <a:lnTo>
                  <a:pt x="4528470" y="5896050"/>
                </a:lnTo>
                <a:cubicBezTo>
                  <a:pt x="4473201" y="5896471"/>
                  <a:pt x="4428372" y="5941448"/>
                  <a:pt x="4428372" y="5996690"/>
                </a:cubicBezTo>
                <a:cubicBezTo>
                  <a:pt x="4428372" y="6059636"/>
                  <a:pt x="4480905" y="6098600"/>
                  <a:pt x="4529811" y="6098600"/>
                </a:cubicBezTo>
                <a:cubicBezTo>
                  <a:pt x="4561611" y="6098600"/>
                  <a:pt x="4588432" y="6086087"/>
                  <a:pt x="4609549" y="6061403"/>
                </a:cubicBezTo>
                <a:lnTo>
                  <a:pt x="4613733" y="6056497"/>
                </a:lnTo>
                <a:lnTo>
                  <a:pt x="4577722" y="6020456"/>
                </a:lnTo>
                <a:lnTo>
                  <a:pt x="4572624" y="6025594"/>
                </a:lnTo>
                <a:cubicBezTo>
                  <a:pt x="4556826" y="6041359"/>
                  <a:pt x="4549825" y="6045638"/>
                  <a:pt x="4530741" y="6045762"/>
                </a:cubicBezTo>
                <a:cubicBezTo>
                  <a:pt x="4504574" y="6045540"/>
                  <a:pt x="4484846" y="6024719"/>
                  <a:pt x="4484846" y="5997333"/>
                </a:cubicBezTo>
                <a:cubicBezTo>
                  <a:pt x="4484846" y="5964053"/>
                  <a:pt x="4508056" y="5948877"/>
                  <a:pt x="4529611" y="5948855"/>
                </a:cubicBezTo>
                <a:lnTo>
                  <a:pt x="4530573" y="5948790"/>
                </a:lnTo>
                <a:cubicBezTo>
                  <a:pt x="4549771" y="5948899"/>
                  <a:pt x="4556918" y="5953285"/>
                  <a:pt x="4572602" y="5968948"/>
                </a:cubicBezTo>
                <a:lnTo>
                  <a:pt x="4577700" y="5974064"/>
                </a:lnTo>
                <a:lnTo>
                  <a:pt x="4613733" y="5938061"/>
                </a:lnTo>
                <a:lnTo>
                  <a:pt x="4609538" y="5933145"/>
                </a:lnTo>
                <a:cubicBezTo>
                  <a:pt x="4588334" y="5908347"/>
                  <a:pt x="4561314" y="5895807"/>
                  <a:pt x="4529422" y="5895985"/>
                </a:cubicBezTo>
                <a:close/>
                <a:moveTo>
                  <a:pt x="3912831" y="5863028"/>
                </a:moveTo>
                <a:lnTo>
                  <a:pt x="3912831" y="5990061"/>
                </a:lnTo>
                <a:cubicBezTo>
                  <a:pt x="3912831" y="5994795"/>
                  <a:pt x="3912526" y="5999870"/>
                  <a:pt x="3911858" y="6004922"/>
                </a:cubicBezTo>
                <a:lnTo>
                  <a:pt x="3911858" y="6004922"/>
                </a:lnTo>
                <a:lnTo>
                  <a:pt x="3911858" y="6004923"/>
                </a:lnTo>
                <a:lnTo>
                  <a:pt x="3769924" y="5863087"/>
                </a:lnTo>
                <a:lnTo>
                  <a:pt x="3769924" y="5990060"/>
                </a:lnTo>
                <a:cubicBezTo>
                  <a:pt x="3769924" y="6026733"/>
                  <a:pt x="3779406" y="6047268"/>
                  <a:pt x="3787489" y="6058013"/>
                </a:cubicBezTo>
                <a:cubicBezTo>
                  <a:pt x="3802091" y="6077587"/>
                  <a:pt x="3831837" y="6098501"/>
                  <a:pt x="3871536" y="6098501"/>
                </a:cubicBezTo>
                <a:cubicBezTo>
                  <a:pt x="3911235" y="6098501"/>
                  <a:pt x="3940980" y="6077587"/>
                  <a:pt x="3955583" y="6058013"/>
                </a:cubicBezTo>
                <a:cubicBezTo>
                  <a:pt x="3956814" y="6056376"/>
                  <a:pt x="3958077" y="6054481"/>
                  <a:pt x="3959335" y="6052367"/>
                </a:cubicBezTo>
                <a:lnTo>
                  <a:pt x="3959334" y="6052365"/>
                </a:lnTo>
                <a:lnTo>
                  <a:pt x="3959336" y="6052367"/>
                </a:lnTo>
                <a:cubicBezTo>
                  <a:pt x="3966334" y="6040605"/>
                  <a:pt x="3973148" y="6021145"/>
                  <a:pt x="3973148" y="5990060"/>
                </a:cubicBezTo>
                <a:lnTo>
                  <a:pt x="3973148" y="5863028"/>
                </a:lnTo>
                <a:close/>
                <a:moveTo>
                  <a:pt x="4056543" y="5839377"/>
                </a:moveTo>
                <a:lnTo>
                  <a:pt x="4000068" y="5896018"/>
                </a:lnTo>
                <a:lnTo>
                  <a:pt x="4000068" y="6096899"/>
                </a:lnTo>
                <a:lnTo>
                  <a:pt x="4056543" y="6096899"/>
                </a:lnTo>
                <a:lnTo>
                  <a:pt x="4056543" y="5947559"/>
                </a:lnTo>
                <a:lnTo>
                  <a:pt x="4093208" y="5947559"/>
                </a:lnTo>
                <a:lnTo>
                  <a:pt x="4093208" y="5896008"/>
                </a:lnTo>
                <a:lnTo>
                  <a:pt x="4056543" y="5896008"/>
                </a:lnTo>
                <a:close/>
                <a:moveTo>
                  <a:pt x="4690438" y="5839296"/>
                </a:moveTo>
                <a:lnTo>
                  <a:pt x="4633974" y="5896019"/>
                </a:lnTo>
                <a:cubicBezTo>
                  <a:pt x="4633974" y="5896019"/>
                  <a:pt x="4633499" y="6090529"/>
                  <a:pt x="4633974" y="6096898"/>
                </a:cubicBezTo>
                <a:lnTo>
                  <a:pt x="4690438" y="6096898"/>
                </a:lnTo>
                <a:lnTo>
                  <a:pt x="4690438" y="5996167"/>
                </a:lnTo>
                <a:cubicBezTo>
                  <a:pt x="4690438" y="5963103"/>
                  <a:pt x="4699029" y="5948996"/>
                  <a:pt x="4719194" y="5948996"/>
                </a:cubicBezTo>
                <a:cubicBezTo>
                  <a:pt x="4740349" y="5948996"/>
                  <a:pt x="4748594" y="5962038"/>
                  <a:pt x="4748594" y="5995529"/>
                </a:cubicBezTo>
                <a:lnTo>
                  <a:pt x="4748594" y="6096898"/>
                </a:lnTo>
                <a:lnTo>
                  <a:pt x="4805057" y="6096898"/>
                </a:lnTo>
                <a:lnTo>
                  <a:pt x="4805057" y="5986296"/>
                </a:lnTo>
                <a:cubicBezTo>
                  <a:pt x="4805057" y="5972092"/>
                  <a:pt x="4805057" y="5945647"/>
                  <a:pt x="4789514" y="5925917"/>
                </a:cubicBezTo>
                <a:cubicBezTo>
                  <a:pt x="4775522" y="5908120"/>
                  <a:pt x="4751373" y="5896164"/>
                  <a:pt x="4729407" y="5896164"/>
                </a:cubicBezTo>
                <a:cubicBezTo>
                  <a:pt x="4714891" y="5896164"/>
                  <a:pt x="4701824" y="5899849"/>
                  <a:pt x="4690438" y="5907142"/>
                </a:cubicBezTo>
                <a:close/>
                <a:moveTo>
                  <a:pt x="4889213" y="5839295"/>
                </a:moveTo>
                <a:lnTo>
                  <a:pt x="4832749" y="5896018"/>
                </a:lnTo>
                <a:lnTo>
                  <a:pt x="4832749" y="6096897"/>
                </a:lnTo>
                <a:lnTo>
                  <a:pt x="4889213" y="6096897"/>
                </a:lnTo>
                <a:lnTo>
                  <a:pt x="4889213" y="5947483"/>
                </a:lnTo>
                <a:lnTo>
                  <a:pt x="4925889" y="5947483"/>
                </a:lnTo>
                <a:lnTo>
                  <a:pt x="4925889" y="5895931"/>
                </a:lnTo>
                <a:lnTo>
                  <a:pt x="4889213" y="5895931"/>
                </a:lnTo>
                <a:close/>
                <a:moveTo>
                  <a:pt x="0" y="0"/>
                </a:moveTo>
                <a:lnTo>
                  <a:pt x="5947441" y="0"/>
                </a:lnTo>
                <a:lnTo>
                  <a:pt x="5947441" y="6857998"/>
                </a:lnTo>
                <a:lnTo>
                  <a:pt x="0" y="6857998"/>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6" name="Text Placeholder 3">
            <a:extLst>
              <a:ext uri="{FF2B5EF4-FFF2-40B4-BE49-F238E27FC236}">
                <a16:creationId xmlns:a16="http://schemas.microsoft.com/office/drawing/2014/main" id="{0B553010-FC8D-055B-FDC2-FCCD05240F7E}"/>
              </a:ext>
            </a:extLst>
          </p:cNvPr>
          <p:cNvSpPr>
            <a:spLocks noGrp="1"/>
          </p:cNvSpPr>
          <p:nvPr>
            <p:ph type="body" sz="quarter" idx="10"/>
          </p:nvPr>
        </p:nvSpPr>
        <p:spPr>
          <a:xfrm>
            <a:off x="1139124" y="2003728"/>
            <a:ext cx="4550476" cy="3650247"/>
          </a:xfrm>
        </p:spPr>
        <p:txBody>
          <a:bodyPr/>
          <a:lstStyle>
            <a:lvl1pPr>
              <a:spcAft>
                <a:spcPts val="600"/>
              </a:spcAft>
              <a:defRPr>
                <a:solidFill>
                  <a:schemeClr val="bg1"/>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Tree>
    <p:extLst>
      <p:ext uri="{BB962C8B-B14F-4D97-AF65-F5344CB8AC3E}">
        <p14:creationId xmlns:p14="http://schemas.microsoft.com/office/powerpoint/2010/main" val="20046668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ntroductie + Icon">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ECF70791-ABB2-50E9-BB56-ABE96A306259}"/>
              </a:ext>
            </a:extLst>
          </p:cNvPr>
          <p:cNvSpPr/>
          <p:nvPr userDrawn="1"/>
        </p:nvSpPr>
        <p:spPr>
          <a:xfrm>
            <a:off x="0" y="0"/>
            <a:ext cx="12192000" cy="6858000"/>
          </a:xfrm>
          <a:prstGeom prst="rect">
            <a:avLst/>
          </a:prstGeom>
          <a:solidFill>
            <a:srgbClr val="007D7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err="1"/>
          </a:p>
        </p:txBody>
      </p:sp>
      <p:sp>
        <p:nvSpPr>
          <p:cNvPr id="3" name="Title 2">
            <a:extLst>
              <a:ext uri="{FF2B5EF4-FFF2-40B4-BE49-F238E27FC236}">
                <a16:creationId xmlns:a16="http://schemas.microsoft.com/office/drawing/2014/main" id="{18FB2C3B-2209-70F3-09D5-52F99CBE3D5C}"/>
              </a:ext>
            </a:extLst>
          </p:cNvPr>
          <p:cNvSpPr>
            <a:spLocks noGrp="1"/>
          </p:cNvSpPr>
          <p:nvPr>
            <p:ph type="title"/>
          </p:nvPr>
        </p:nvSpPr>
        <p:spPr>
          <a:xfrm>
            <a:off x="1139124" y="595590"/>
            <a:ext cx="8919276" cy="1000736"/>
          </a:xfrm>
        </p:spPr>
        <p:txBody>
          <a:bodyPr/>
          <a:lstStyle>
            <a:lvl1pPr>
              <a:defRPr>
                <a:solidFill>
                  <a:schemeClr val="bg1"/>
                </a:solidFill>
              </a:defRPr>
            </a:lvl1pPr>
          </a:lstStyle>
          <a:p>
            <a:r>
              <a:rPr lang="nl-NL"/>
              <a:t>Klik om stijl te bewerken</a:t>
            </a:r>
            <a:endParaRPr lang="en-US" dirty="0"/>
          </a:p>
        </p:txBody>
      </p:sp>
      <p:sp>
        <p:nvSpPr>
          <p:cNvPr id="16" name="Text Placeholder 3">
            <a:extLst>
              <a:ext uri="{FF2B5EF4-FFF2-40B4-BE49-F238E27FC236}">
                <a16:creationId xmlns:a16="http://schemas.microsoft.com/office/drawing/2014/main" id="{9745EC9F-CA82-1D30-63BA-3077505B8725}"/>
              </a:ext>
            </a:extLst>
          </p:cNvPr>
          <p:cNvSpPr>
            <a:spLocks noGrp="1"/>
          </p:cNvSpPr>
          <p:nvPr>
            <p:ph type="body" sz="quarter" idx="10"/>
          </p:nvPr>
        </p:nvSpPr>
        <p:spPr>
          <a:xfrm>
            <a:off x="1139124" y="2003728"/>
            <a:ext cx="8919276" cy="365024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grpSp>
        <p:nvGrpSpPr>
          <p:cNvPr id="2" name="Groep 1">
            <a:extLst>
              <a:ext uri="{FF2B5EF4-FFF2-40B4-BE49-F238E27FC236}">
                <a16:creationId xmlns:a16="http://schemas.microsoft.com/office/drawing/2014/main" id="{670BFF2B-7A57-1418-7933-080BA1CC8CB2}"/>
              </a:ext>
            </a:extLst>
          </p:cNvPr>
          <p:cNvGrpSpPr/>
          <p:nvPr userDrawn="1"/>
        </p:nvGrpSpPr>
        <p:grpSpPr>
          <a:xfrm>
            <a:off x="10014482" y="5839298"/>
            <a:ext cx="1599388" cy="433809"/>
            <a:chOff x="3101010" y="1249096"/>
            <a:chExt cx="3978412" cy="1079079"/>
          </a:xfrm>
          <a:solidFill>
            <a:schemeClr val="bg1"/>
          </a:solidFill>
        </p:grpSpPr>
        <p:sp>
          <p:nvSpPr>
            <p:cNvPr id="4" name="Vrije vorm 3">
              <a:extLst>
                <a:ext uri="{FF2B5EF4-FFF2-40B4-BE49-F238E27FC236}">
                  <a16:creationId xmlns:a16="http://schemas.microsoft.com/office/drawing/2014/main" id="{3C4CB00D-D83D-0981-2B86-176AAC575642}"/>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163629A3-B45D-125D-BF4A-288D71C4BE5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7E8289E5-04F9-A8B5-B72B-B4AA048C4D13}"/>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5B2D88DA-E4C3-A0AA-3267-5E114D77B668}"/>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27D7C4B8-35FE-0CF8-C231-94F3C0839862}"/>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E85CDEA3-51EE-7879-8AF1-A8A86F0BE5F3}"/>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3E8D733D-C788-01EB-A299-1B00AAE0D7DE}"/>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124CCA4C-CB62-2876-478E-BDC4AA6992EA}"/>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4635854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ersonen I">
    <p:bg>
      <p:bgPr>
        <a:solidFill>
          <a:schemeClr val="bg1"/>
        </a:solidFill>
        <a:effectLst/>
      </p:bgPr>
    </p:bg>
    <p:spTree>
      <p:nvGrpSpPr>
        <p:cNvPr id="1" name=""/>
        <p:cNvGrpSpPr/>
        <p:nvPr/>
      </p:nvGrpSpPr>
      <p:grpSpPr>
        <a:xfrm>
          <a:off x="0" y="0"/>
          <a:ext cx="0" cy="0"/>
          <a:chOff x="0" y="0"/>
          <a:chExt cx="0" cy="0"/>
        </a:xfrm>
      </p:grpSpPr>
      <p:sp>
        <p:nvSpPr>
          <p:cNvPr id="17" name="Freeform: Shape 8">
            <a:extLst>
              <a:ext uri="{FF2B5EF4-FFF2-40B4-BE49-F238E27FC236}">
                <a16:creationId xmlns:a16="http://schemas.microsoft.com/office/drawing/2014/main" id="{72388545-BB43-7041-BE04-7D954F3D89C0}"/>
              </a:ext>
            </a:extLst>
          </p:cNvPr>
          <p:cNvSpPr/>
          <p:nvPr userDrawn="1"/>
        </p:nvSpPr>
        <p:spPr>
          <a:xfrm>
            <a:off x="5404345"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3"/>
          </a:solidFill>
          <a:ln w="12700"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a:p>
        </p:txBody>
      </p:sp>
      <p:sp>
        <p:nvSpPr>
          <p:cNvPr id="5" name="Freeform: Shape 4">
            <a:extLst>
              <a:ext uri="{FF2B5EF4-FFF2-40B4-BE49-F238E27FC236}">
                <a16:creationId xmlns:a16="http://schemas.microsoft.com/office/drawing/2014/main" id="{A7551F55-3D44-B660-C394-87345B2EA1F4}"/>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chemeClr val="accent3"/>
          </a:solidFill>
          <a:ln w="12700" cap="flat">
            <a:solidFill>
              <a:schemeClr val="accent3"/>
            </a:solidFill>
            <a:prstDash val="solid"/>
            <a:miter/>
          </a:ln>
        </p:spPr>
        <p:txBody>
          <a:bodyPr rtlCol="0" anchor="ctr"/>
          <a:lstStyle/>
          <a:p>
            <a:pPr lvl="0"/>
            <a:endParaRPr lang="en-GB"/>
          </a:p>
        </p:txBody>
      </p:sp>
      <p:sp>
        <p:nvSpPr>
          <p:cNvPr id="8" name="Freeform: Shape 7">
            <a:extLst>
              <a:ext uri="{FF2B5EF4-FFF2-40B4-BE49-F238E27FC236}">
                <a16:creationId xmlns:a16="http://schemas.microsoft.com/office/drawing/2014/main" id="{18516936-CB48-32F5-7B68-0DD20FE381CE}"/>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rgbClr val="007D7D"/>
          </a:solidFill>
          <a:ln>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9" name="Freeform: Shape 8">
            <a:extLst>
              <a:ext uri="{FF2B5EF4-FFF2-40B4-BE49-F238E27FC236}">
                <a16:creationId xmlns:a16="http://schemas.microsoft.com/office/drawing/2014/main" id="{A942AD04-E3D3-1D6A-DA8F-6F5F94A7E585}"/>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chemeClr val="accent3"/>
          </a:solidFill>
          <a:ln w="12700" cap="flat">
            <a:solidFill>
              <a:schemeClr val="accent3"/>
            </a:solidFill>
            <a:prstDash val="solid"/>
            <a:miter/>
          </a:ln>
        </p:spPr>
        <p:txBody>
          <a:bodyPr rtlCol="0" anchor="ctr"/>
          <a:lstStyle/>
          <a:p>
            <a:pPr lvl="0"/>
            <a:endParaRPr lang="en-GB"/>
          </a:p>
        </p:txBody>
      </p:sp>
      <p:sp>
        <p:nvSpPr>
          <p:cNvPr id="10" name="Freeform: Shape 9">
            <a:extLst>
              <a:ext uri="{FF2B5EF4-FFF2-40B4-BE49-F238E27FC236}">
                <a16:creationId xmlns:a16="http://schemas.microsoft.com/office/drawing/2014/main" id="{580D7B89-E3F8-CE3E-0587-13080E1C284B}"/>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rgbClr val="007D7D"/>
          </a:solidFill>
          <a:ln w="12700">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5" name="Title 1">
            <a:extLst>
              <a:ext uri="{FF2B5EF4-FFF2-40B4-BE49-F238E27FC236}">
                <a16:creationId xmlns:a16="http://schemas.microsoft.com/office/drawing/2014/main" id="{168348E2-D3FF-33DB-7F3C-17893C459453}"/>
              </a:ext>
            </a:extLst>
          </p:cNvPr>
          <p:cNvSpPr>
            <a:spLocks noGrp="1"/>
          </p:cNvSpPr>
          <p:nvPr userDrawn="1">
            <p:ph type="ctrTitle" hasCustomPrompt="1"/>
          </p:nvPr>
        </p:nvSpPr>
        <p:spPr>
          <a:xfrm>
            <a:off x="1137600" y="3107125"/>
            <a:ext cx="4532030" cy="549381"/>
          </a:xfrm>
          <a:noFill/>
        </p:spPr>
        <p:txBody>
          <a:bodyPr wrap="square" anchor="b">
            <a:spAutoFit/>
          </a:bodyPr>
          <a:lstStyle>
            <a:lvl1pPr algn="l">
              <a:lnSpc>
                <a:spcPct val="80000"/>
              </a:lnSpc>
              <a:defRPr sz="4400" b="1">
                <a:solidFill>
                  <a:schemeClr val="bg1"/>
                </a:solidFill>
              </a:defRPr>
            </a:lvl1pPr>
          </a:lstStyle>
          <a:p>
            <a:r>
              <a:rPr lang="nl-NL" noProof="0" dirty="0"/>
              <a:t>Naam</a:t>
            </a:r>
          </a:p>
        </p:txBody>
      </p:sp>
      <p:sp>
        <p:nvSpPr>
          <p:cNvPr id="18" name="Subtitle 2">
            <a:extLst>
              <a:ext uri="{FF2B5EF4-FFF2-40B4-BE49-F238E27FC236}">
                <a16:creationId xmlns:a16="http://schemas.microsoft.com/office/drawing/2014/main" id="{CEED09EF-0BC4-7139-9985-72A60701D6F4}"/>
              </a:ext>
            </a:extLst>
          </p:cNvPr>
          <p:cNvSpPr>
            <a:spLocks noGrp="1"/>
          </p:cNvSpPr>
          <p:nvPr userDrawn="1">
            <p:ph type="subTitle" idx="1"/>
          </p:nvPr>
        </p:nvSpPr>
        <p:spPr>
          <a:xfrm>
            <a:off x="1137600" y="3696048"/>
            <a:ext cx="4532030" cy="369332"/>
          </a:xfrm>
          <a:noFill/>
        </p:spPr>
        <p:txBody>
          <a:bodyPr wrap="square" anchor="t">
            <a:spAutoFit/>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Klikken om de ondertitelstijl van het model te bewerken</a:t>
            </a:r>
          </a:p>
        </p:txBody>
      </p:sp>
      <p:sp>
        <p:nvSpPr>
          <p:cNvPr id="30" name="Picture Placeholder 8">
            <a:extLst>
              <a:ext uri="{FF2B5EF4-FFF2-40B4-BE49-F238E27FC236}">
                <a16:creationId xmlns:a16="http://schemas.microsoft.com/office/drawing/2014/main" id="{04483224-BEF7-EA53-E3A9-48A573055C9A}"/>
              </a:ext>
            </a:extLst>
          </p:cNvPr>
          <p:cNvSpPr>
            <a:spLocks noGrp="1"/>
          </p:cNvSpPr>
          <p:nvPr userDrawn="1">
            <p:ph type="pic" sz="quarter" idx="19"/>
          </p:nvPr>
        </p:nvSpPr>
        <p:spPr>
          <a:xfrm>
            <a:off x="6162676" y="1066801"/>
            <a:ext cx="4343400" cy="4324350"/>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dirty="0"/>
              <a:t>Klik op het pictogram als u een afbeelding wilt toevoegen</a:t>
            </a:r>
            <a:endParaRPr lang="en-GB" dirty="0"/>
          </a:p>
        </p:txBody>
      </p:sp>
      <p:grpSp>
        <p:nvGrpSpPr>
          <p:cNvPr id="2" name="Groep 1">
            <a:extLst>
              <a:ext uri="{FF2B5EF4-FFF2-40B4-BE49-F238E27FC236}">
                <a16:creationId xmlns:a16="http://schemas.microsoft.com/office/drawing/2014/main" id="{B2185A22-FD6B-7FEB-20F8-CEE06F376587}"/>
              </a:ext>
            </a:extLst>
          </p:cNvPr>
          <p:cNvGrpSpPr/>
          <p:nvPr userDrawn="1"/>
        </p:nvGrpSpPr>
        <p:grpSpPr>
          <a:xfrm>
            <a:off x="10014482" y="5839298"/>
            <a:ext cx="1599388" cy="433809"/>
            <a:chOff x="3101010" y="1249096"/>
            <a:chExt cx="3978412" cy="1079079"/>
          </a:xfrm>
          <a:solidFill>
            <a:schemeClr val="bg1"/>
          </a:solidFill>
        </p:grpSpPr>
        <p:sp>
          <p:nvSpPr>
            <p:cNvPr id="3" name="Vrije vorm 2">
              <a:extLst>
                <a:ext uri="{FF2B5EF4-FFF2-40B4-BE49-F238E27FC236}">
                  <a16:creationId xmlns:a16="http://schemas.microsoft.com/office/drawing/2014/main" id="{AEF6ED20-EF99-DF9E-EEB9-C0ACC91C3AA2}"/>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288494EC-F676-9F9F-B718-A22E0798B32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6CF3897D-418C-8417-6385-D78F1DBF9572}"/>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26639E02-840D-3D7F-A839-9635D475B78F}"/>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829AC6E5-DF3F-61A6-4ECC-0FB5741768B7}"/>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98116AA6-1A93-0EB7-5613-FF62B77B2204}"/>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B649291C-7F6F-C825-8003-D78B9AAD384D}"/>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857EBBFA-8EA5-2907-1F7E-A80F5E27EB20}"/>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85195858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ersonen II">
    <p:bg>
      <p:bgPr>
        <a:solidFill>
          <a:schemeClr val="bg1"/>
        </a:solidFill>
        <a:effectLst/>
      </p:bgPr>
    </p:bg>
    <p:spTree>
      <p:nvGrpSpPr>
        <p:cNvPr id="1" name=""/>
        <p:cNvGrpSpPr/>
        <p:nvPr/>
      </p:nvGrpSpPr>
      <p:grpSpPr>
        <a:xfrm>
          <a:off x="0" y="0"/>
          <a:ext cx="0" cy="0"/>
          <a:chOff x="0" y="0"/>
          <a:chExt cx="0" cy="0"/>
        </a:xfrm>
      </p:grpSpPr>
      <p:sp>
        <p:nvSpPr>
          <p:cNvPr id="18" name="Freeform: Shape 8">
            <a:extLst>
              <a:ext uri="{FF2B5EF4-FFF2-40B4-BE49-F238E27FC236}">
                <a16:creationId xmlns:a16="http://schemas.microsoft.com/office/drawing/2014/main" id="{81283380-5829-C4D9-4F60-79CCD39014E9}"/>
              </a:ext>
            </a:extLst>
          </p:cNvPr>
          <p:cNvSpPr/>
          <p:nvPr userDrawn="1"/>
        </p:nvSpPr>
        <p:spPr>
          <a:xfrm>
            <a:off x="5404345"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3"/>
          </a:solidFill>
          <a:ln w="12700"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a:p>
        </p:txBody>
      </p:sp>
      <p:sp>
        <p:nvSpPr>
          <p:cNvPr id="19" name="Freeform: Shape 7">
            <a:extLst>
              <a:ext uri="{FF2B5EF4-FFF2-40B4-BE49-F238E27FC236}">
                <a16:creationId xmlns:a16="http://schemas.microsoft.com/office/drawing/2014/main" id="{5AD4EAC0-3225-1762-B5FF-241FD02D5BC6}"/>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rgbClr val="007D7D"/>
          </a:solidFill>
          <a:ln>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20" name="Freeform: Shape 9">
            <a:extLst>
              <a:ext uri="{FF2B5EF4-FFF2-40B4-BE49-F238E27FC236}">
                <a16:creationId xmlns:a16="http://schemas.microsoft.com/office/drawing/2014/main" id="{BC644187-99BA-0665-A136-2BB5C6DD049B}"/>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rgbClr val="007D7D"/>
          </a:solidFill>
          <a:ln w="12700">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grpSp>
        <p:nvGrpSpPr>
          <p:cNvPr id="5" name="Group 4">
            <a:extLst>
              <a:ext uri="{FF2B5EF4-FFF2-40B4-BE49-F238E27FC236}">
                <a16:creationId xmlns:a16="http://schemas.microsoft.com/office/drawing/2014/main" id="{F44CA204-46BE-9EEE-6F6C-BF05A7D51F45}"/>
              </a:ext>
            </a:extLst>
          </p:cNvPr>
          <p:cNvGrpSpPr/>
          <p:nvPr userDrawn="1"/>
        </p:nvGrpSpPr>
        <p:grpSpPr>
          <a:xfrm>
            <a:off x="0" y="0"/>
            <a:ext cx="12186919" cy="6858000"/>
            <a:chOff x="0" y="0"/>
            <a:chExt cx="12186919" cy="6858000"/>
          </a:xfrm>
        </p:grpSpPr>
        <p:sp>
          <p:nvSpPr>
            <p:cNvPr id="7" name="Freeform: Shape 6">
              <a:extLst>
                <a:ext uri="{FF2B5EF4-FFF2-40B4-BE49-F238E27FC236}">
                  <a16:creationId xmlns:a16="http://schemas.microsoft.com/office/drawing/2014/main" id="{A31CFB59-0754-3B02-0DB4-1DFCFBCB2FC0}"/>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chemeClr val="accent3"/>
            </a:solidFill>
            <a:ln w="12700" cap="flat">
              <a:solidFill>
                <a:schemeClr val="accent3"/>
              </a:solidFill>
              <a:prstDash val="solid"/>
              <a:miter/>
            </a:ln>
          </p:spPr>
          <p:txBody>
            <a:bodyPr rtlCol="0" anchor="ctr"/>
            <a:lstStyle/>
            <a:p>
              <a:pPr lvl="0"/>
              <a:endParaRPr lang="en-GB"/>
            </a:p>
          </p:txBody>
        </p:sp>
        <p:sp>
          <p:nvSpPr>
            <p:cNvPr id="10" name="Freeform: Shape 9">
              <a:extLst>
                <a:ext uri="{FF2B5EF4-FFF2-40B4-BE49-F238E27FC236}">
                  <a16:creationId xmlns:a16="http://schemas.microsoft.com/office/drawing/2014/main" id="{2C02FF3B-4038-BB00-E052-EB8A480C72C0}"/>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chemeClr val="accent3"/>
            </a:solidFill>
            <a:ln w="12700" cap="flat">
              <a:solidFill>
                <a:schemeClr val="accent3"/>
              </a:solidFill>
              <a:prstDash val="solid"/>
              <a:miter/>
            </a:ln>
          </p:spPr>
          <p:txBody>
            <a:bodyPr rtlCol="0" anchor="ctr"/>
            <a:lstStyle/>
            <a:p>
              <a:pPr lvl="0"/>
              <a:endParaRPr lang="en-GB"/>
            </a:p>
          </p:txBody>
        </p:sp>
      </p:grpSp>
      <p:sp>
        <p:nvSpPr>
          <p:cNvPr id="30" name="Picture Placeholder 8">
            <a:extLst>
              <a:ext uri="{FF2B5EF4-FFF2-40B4-BE49-F238E27FC236}">
                <a16:creationId xmlns:a16="http://schemas.microsoft.com/office/drawing/2014/main" id="{04483224-BEF7-EA53-E3A9-48A573055C9A}"/>
              </a:ext>
            </a:extLst>
          </p:cNvPr>
          <p:cNvSpPr>
            <a:spLocks noGrp="1"/>
          </p:cNvSpPr>
          <p:nvPr>
            <p:ph type="pic" sz="quarter" idx="19"/>
          </p:nvPr>
        </p:nvSpPr>
        <p:spPr>
          <a:xfrm>
            <a:off x="6232121" y="1373696"/>
            <a:ext cx="3107158" cy="3093530"/>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3" name="Picture Placeholder 8">
            <a:extLst>
              <a:ext uri="{FF2B5EF4-FFF2-40B4-BE49-F238E27FC236}">
                <a16:creationId xmlns:a16="http://schemas.microsoft.com/office/drawing/2014/main" id="{8206E040-3C65-135D-1D1D-FAC5C094824E}"/>
              </a:ext>
            </a:extLst>
          </p:cNvPr>
          <p:cNvSpPr>
            <a:spLocks noGrp="1"/>
          </p:cNvSpPr>
          <p:nvPr>
            <p:ph type="pic" sz="quarter" idx="20"/>
          </p:nvPr>
        </p:nvSpPr>
        <p:spPr>
          <a:xfrm>
            <a:off x="1154394" y="1373696"/>
            <a:ext cx="3107158" cy="3093530"/>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8" name="Text Placeholder 7">
            <a:extLst>
              <a:ext uri="{FF2B5EF4-FFF2-40B4-BE49-F238E27FC236}">
                <a16:creationId xmlns:a16="http://schemas.microsoft.com/office/drawing/2014/main" id="{18F06AD3-38F0-7A87-3982-57749E572863}"/>
              </a:ext>
            </a:extLst>
          </p:cNvPr>
          <p:cNvSpPr>
            <a:spLocks noGrp="1"/>
          </p:cNvSpPr>
          <p:nvPr>
            <p:ph type="body" sz="quarter" idx="21" hasCustomPrompt="1"/>
          </p:nvPr>
        </p:nvSpPr>
        <p:spPr>
          <a:xfrm>
            <a:off x="1137600" y="4696936"/>
            <a:ext cx="3107158" cy="369332"/>
          </a:xfrm>
        </p:spPr>
        <p:txBody>
          <a:bodyPr>
            <a:spAutoFit/>
          </a:bodyPr>
          <a:lstStyle>
            <a:lvl1pPr algn="l">
              <a:defRPr sz="2400" b="1">
                <a:solidFill>
                  <a:schemeClr val="bg1"/>
                </a:solidFill>
                <a:latin typeface="+mj-lt"/>
              </a:defRPr>
            </a:lvl1pPr>
          </a:lstStyle>
          <a:p>
            <a:pPr lvl="0"/>
            <a:r>
              <a:rPr lang="en-US" dirty="0"/>
              <a:t>Naam</a:t>
            </a:r>
          </a:p>
        </p:txBody>
      </p:sp>
      <p:sp>
        <p:nvSpPr>
          <p:cNvPr id="26" name="Text Placeholder 7">
            <a:extLst>
              <a:ext uri="{FF2B5EF4-FFF2-40B4-BE49-F238E27FC236}">
                <a16:creationId xmlns:a16="http://schemas.microsoft.com/office/drawing/2014/main" id="{B177B95B-54AF-1C0D-C084-ED883FB7558C}"/>
              </a:ext>
            </a:extLst>
          </p:cNvPr>
          <p:cNvSpPr>
            <a:spLocks noGrp="1"/>
          </p:cNvSpPr>
          <p:nvPr>
            <p:ph type="body" sz="quarter" idx="22" hasCustomPrompt="1"/>
          </p:nvPr>
        </p:nvSpPr>
        <p:spPr>
          <a:xfrm>
            <a:off x="1137600" y="5136851"/>
            <a:ext cx="3107158" cy="276999"/>
          </a:xfrm>
        </p:spPr>
        <p:txBody>
          <a:bodyPr>
            <a:spAutoFit/>
          </a:bodyPr>
          <a:lstStyle>
            <a:lvl1pPr algn="l">
              <a:defRPr sz="1800">
                <a:solidFill>
                  <a:schemeClr val="bg1"/>
                </a:solidFill>
                <a:latin typeface="+mn-lt"/>
              </a:defRPr>
            </a:lvl1pPr>
          </a:lstStyle>
          <a:p>
            <a:pPr lvl="0"/>
            <a:r>
              <a:rPr lang="en-US" dirty="0" err="1"/>
              <a:t>Functie</a:t>
            </a:r>
            <a:endParaRPr lang="en-US" dirty="0"/>
          </a:p>
        </p:txBody>
      </p:sp>
      <p:sp>
        <p:nvSpPr>
          <p:cNvPr id="27" name="Text Placeholder 7">
            <a:extLst>
              <a:ext uri="{FF2B5EF4-FFF2-40B4-BE49-F238E27FC236}">
                <a16:creationId xmlns:a16="http://schemas.microsoft.com/office/drawing/2014/main" id="{65535B3D-E176-56EE-5E61-1628FADF62AA}"/>
              </a:ext>
            </a:extLst>
          </p:cNvPr>
          <p:cNvSpPr>
            <a:spLocks noGrp="1"/>
          </p:cNvSpPr>
          <p:nvPr>
            <p:ph type="body" sz="quarter" idx="23" hasCustomPrompt="1"/>
          </p:nvPr>
        </p:nvSpPr>
        <p:spPr>
          <a:xfrm>
            <a:off x="6254836" y="4696936"/>
            <a:ext cx="3107158" cy="369332"/>
          </a:xfrm>
        </p:spPr>
        <p:txBody>
          <a:bodyPr>
            <a:spAutoFit/>
          </a:bodyPr>
          <a:lstStyle>
            <a:lvl1pPr algn="l">
              <a:defRPr sz="2400" b="1">
                <a:solidFill>
                  <a:schemeClr val="bg1"/>
                </a:solidFill>
                <a:latin typeface="+mj-lt"/>
              </a:defRPr>
            </a:lvl1pPr>
          </a:lstStyle>
          <a:p>
            <a:pPr lvl="0"/>
            <a:r>
              <a:rPr lang="en-US" dirty="0"/>
              <a:t>Naam</a:t>
            </a:r>
          </a:p>
        </p:txBody>
      </p:sp>
      <p:sp>
        <p:nvSpPr>
          <p:cNvPr id="28" name="Text Placeholder 7">
            <a:extLst>
              <a:ext uri="{FF2B5EF4-FFF2-40B4-BE49-F238E27FC236}">
                <a16:creationId xmlns:a16="http://schemas.microsoft.com/office/drawing/2014/main" id="{6DF84C52-EEB7-43F2-0E9E-03D89AA54038}"/>
              </a:ext>
            </a:extLst>
          </p:cNvPr>
          <p:cNvSpPr>
            <a:spLocks noGrp="1"/>
          </p:cNvSpPr>
          <p:nvPr>
            <p:ph type="body" sz="quarter" idx="24" hasCustomPrompt="1"/>
          </p:nvPr>
        </p:nvSpPr>
        <p:spPr>
          <a:xfrm>
            <a:off x="6254836" y="5136851"/>
            <a:ext cx="3107158" cy="276999"/>
          </a:xfrm>
        </p:spPr>
        <p:txBody>
          <a:bodyPr>
            <a:spAutoFit/>
          </a:bodyPr>
          <a:lstStyle>
            <a:lvl1pPr algn="l">
              <a:defRPr sz="1800">
                <a:solidFill>
                  <a:schemeClr val="bg1"/>
                </a:solidFill>
                <a:latin typeface="+mn-lt"/>
              </a:defRPr>
            </a:lvl1pPr>
          </a:lstStyle>
          <a:p>
            <a:pPr lvl="0"/>
            <a:r>
              <a:rPr lang="en-US" dirty="0" err="1"/>
              <a:t>Functie</a:t>
            </a:r>
            <a:endParaRPr lang="en-US" dirty="0"/>
          </a:p>
        </p:txBody>
      </p:sp>
      <p:grpSp>
        <p:nvGrpSpPr>
          <p:cNvPr id="2" name="Groep 1">
            <a:extLst>
              <a:ext uri="{FF2B5EF4-FFF2-40B4-BE49-F238E27FC236}">
                <a16:creationId xmlns:a16="http://schemas.microsoft.com/office/drawing/2014/main" id="{23FC2B67-52DD-ED46-DBA8-0C0A189F6DEC}"/>
              </a:ext>
            </a:extLst>
          </p:cNvPr>
          <p:cNvGrpSpPr/>
          <p:nvPr userDrawn="1"/>
        </p:nvGrpSpPr>
        <p:grpSpPr>
          <a:xfrm>
            <a:off x="10014482" y="5839298"/>
            <a:ext cx="1599388" cy="433809"/>
            <a:chOff x="3101010" y="1249096"/>
            <a:chExt cx="3978412" cy="1079079"/>
          </a:xfrm>
          <a:solidFill>
            <a:schemeClr val="bg1"/>
          </a:solidFill>
        </p:grpSpPr>
        <p:sp>
          <p:nvSpPr>
            <p:cNvPr id="3" name="Vrije vorm 2">
              <a:extLst>
                <a:ext uri="{FF2B5EF4-FFF2-40B4-BE49-F238E27FC236}">
                  <a16:creationId xmlns:a16="http://schemas.microsoft.com/office/drawing/2014/main" id="{E0DEAC0E-10ED-2939-B714-BD6AAAD4DAB5}"/>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E98E8878-4D58-F704-AE7B-6EC84C3D158E}"/>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26052B05-892B-756C-7223-DB665B8CCA0B}"/>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5FB35E1B-1BB1-0C81-9F77-336425C66F33}"/>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0781B84E-BE36-E6FD-E1FD-4E2A7A01D596}"/>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B6C3B072-6D0F-80B7-611D-C14A66F53006}"/>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3252F2BA-7F90-E4BC-A4D5-12BB6F878EE7}"/>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17522E74-4004-AA38-C24D-58BAE57815DF}"/>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2218800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Personen III">
    <p:bg>
      <p:bgPr>
        <a:solidFill>
          <a:schemeClr val="bg1"/>
        </a:solidFill>
        <a:effectLst/>
      </p:bgPr>
    </p:bg>
    <p:spTree>
      <p:nvGrpSpPr>
        <p:cNvPr id="1" name=""/>
        <p:cNvGrpSpPr/>
        <p:nvPr/>
      </p:nvGrpSpPr>
      <p:grpSpPr>
        <a:xfrm>
          <a:off x="0" y="0"/>
          <a:ext cx="0" cy="0"/>
          <a:chOff x="0" y="0"/>
          <a:chExt cx="0" cy="0"/>
        </a:xfrm>
      </p:grpSpPr>
      <p:sp>
        <p:nvSpPr>
          <p:cNvPr id="18" name="Freeform: Shape 8">
            <a:extLst>
              <a:ext uri="{FF2B5EF4-FFF2-40B4-BE49-F238E27FC236}">
                <a16:creationId xmlns:a16="http://schemas.microsoft.com/office/drawing/2014/main" id="{CAA2464A-20E8-18B7-3B19-C72003977196}"/>
              </a:ext>
            </a:extLst>
          </p:cNvPr>
          <p:cNvSpPr/>
          <p:nvPr userDrawn="1"/>
        </p:nvSpPr>
        <p:spPr>
          <a:xfrm>
            <a:off x="5404345"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3"/>
          </a:solidFill>
          <a:ln w="12700"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a:p>
        </p:txBody>
      </p:sp>
      <p:sp>
        <p:nvSpPr>
          <p:cNvPr id="19" name="Freeform: Shape 7">
            <a:extLst>
              <a:ext uri="{FF2B5EF4-FFF2-40B4-BE49-F238E27FC236}">
                <a16:creationId xmlns:a16="http://schemas.microsoft.com/office/drawing/2014/main" id="{9AE39CB4-4F92-830F-FB73-8B863116FC8D}"/>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rgbClr val="007D7D"/>
          </a:solidFill>
          <a:ln>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20" name="Freeform: Shape 9">
            <a:extLst>
              <a:ext uri="{FF2B5EF4-FFF2-40B4-BE49-F238E27FC236}">
                <a16:creationId xmlns:a16="http://schemas.microsoft.com/office/drawing/2014/main" id="{E45B9454-4547-4BD8-536B-9608ED9983C4}"/>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rgbClr val="007D7D"/>
          </a:solidFill>
          <a:ln w="12700">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grpSp>
        <p:nvGrpSpPr>
          <p:cNvPr id="5" name="Group 4">
            <a:extLst>
              <a:ext uri="{FF2B5EF4-FFF2-40B4-BE49-F238E27FC236}">
                <a16:creationId xmlns:a16="http://schemas.microsoft.com/office/drawing/2014/main" id="{12D7DDD3-88A8-EB44-963C-4FC7C82EBE5C}"/>
              </a:ext>
            </a:extLst>
          </p:cNvPr>
          <p:cNvGrpSpPr/>
          <p:nvPr userDrawn="1"/>
        </p:nvGrpSpPr>
        <p:grpSpPr>
          <a:xfrm>
            <a:off x="0" y="0"/>
            <a:ext cx="12186919" cy="6858000"/>
            <a:chOff x="0" y="0"/>
            <a:chExt cx="12186919" cy="6858000"/>
          </a:xfrm>
        </p:grpSpPr>
        <p:sp>
          <p:nvSpPr>
            <p:cNvPr id="9" name="Freeform: Shape 8">
              <a:extLst>
                <a:ext uri="{FF2B5EF4-FFF2-40B4-BE49-F238E27FC236}">
                  <a16:creationId xmlns:a16="http://schemas.microsoft.com/office/drawing/2014/main" id="{224D02C3-09D4-4FB2-E3FC-B3BEF4C37CEC}"/>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chemeClr val="accent3"/>
            </a:solidFill>
            <a:ln w="12700" cap="flat">
              <a:solidFill>
                <a:schemeClr val="accent3"/>
              </a:solidFill>
              <a:prstDash val="solid"/>
              <a:miter/>
            </a:ln>
          </p:spPr>
          <p:txBody>
            <a:bodyPr rtlCol="0" anchor="ctr"/>
            <a:lstStyle/>
            <a:p>
              <a:pPr lvl="0"/>
              <a:endParaRPr lang="en-GB"/>
            </a:p>
          </p:txBody>
        </p:sp>
        <p:sp>
          <p:nvSpPr>
            <p:cNvPr id="11" name="Freeform: Shape 10">
              <a:extLst>
                <a:ext uri="{FF2B5EF4-FFF2-40B4-BE49-F238E27FC236}">
                  <a16:creationId xmlns:a16="http://schemas.microsoft.com/office/drawing/2014/main" id="{E5040AAB-86B5-0BB6-4447-20A533834EF0}"/>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chemeClr val="accent3"/>
            </a:solidFill>
            <a:ln w="12700" cap="flat">
              <a:solidFill>
                <a:schemeClr val="accent3"/>
              </a:solidFill>
              <a:prstDash val="solid"/>
              <a:miter/>
            </a:ln>
          </p:spPr>
          <p:txBody>
            <a:bodyPr rtlCol="0" anchor="ctr"/>
            <a:lstStyle/>
            <a:p>
              <a:pPr lvl="0"/>
              <a:endParaRPr lang="en-GB"/>
            </a:p>
          </p:txBody>
        </p:sp>
      </p:grpSp>
      <p:sp>
        <p:nvSpPr>
          <p:cNvPr id="30" name="Picture Placeholder 8">
            <a:extLst>
              <a:ext uri="{FF2B5EF4-FFF2-40B4-BE49-F238E27FC236}">
                <a16:creationId xmlns:a16="http://schemas.microsoft.com/office/drawing/2014/main" id="{04483224-BEF7-EA53-E3A9-48A573055C9A}"/>
              </a:ext>
            </a:extLst>
          </p:cNvPr>
          <p:cNvSpPr>
            <a:spLocks noGrp="1" noChangeAspect="1"/>
          </p:cNvSpPr>
          <p:nvPr>
            <p:ph type="pic" sz="quarter" idx="19"/>
          </p:nvPr>
        </p:nvSpPr>
        <p:spPr>
          <a:xfrm>
            <a:off x="4717075" y="1786538"/>
            <a:ext cx="2240965" cy="2231136"/>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3" name="Picture Placeholder 8">
            <a:extLst>
              <a:ext uri="{FF2B5EF4-FFF2-40B4-BE49-F238E27FC236}">
                <a16:creationId xmlns:a16="http://schemas.microsoft.com/office/drawing/2014/main" id="{8206E040-3C65-135D-1D1D-FAC5C094824E}"/>
              </a:ext>
            </a:extLst>
          </p:cNvPr>
          <p:cNvSpPr>
            <a:spLocks noGrp="1"/>
          </p:cNvSpPr>
          <p:nvPr>
            <p:ph type="pic" sz="quarter" idx="20"/>
          </p:nvPr>
        </p:nvSpPr>
        <p:spPr>
          <a:xfrm>
            <a:off x="1154394" y="1783270"/>
            <a:ext cx="2236563" cy="2226753"/>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8" name="Text Placeholder 7">
            <a:extLst>
              <a:ext uri="{FF2B5EF4-FFF2-40B4-BE49-F238E27FC236}">
                <a16:creationId xmlns:a16="http://schemas.microsoft.com/office/drawing/2014/main" id="{18F06AD3-38F0-7A87-3982-57749E572863}"/>
              </a:ext>
            </a:extLst>
          </p:cNvPr>
          <p:cNvSpPr>
            <a:spLocks noGrp="1"/>
          </p:cNvSpPr>
          <p:nvPr>
            <p:ph type="body" sz="quarter" idx="21" hasCustomPrompt="1"/>
          </p:nvPr>
        </p:nvSpPr>
        <p:spPr>
          <a:xfrm>
            <a:off x="1137600" y="4257790"/>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26" name="Text Placeholder 7">
            <a:extLst>
              <a:ext uri="{FF2B5EF4-FFF2-40B4-BE49-F238E27FC236}">
                <a16:creationId xmlns:a16="http://schemas.microsoft.com/office/drawing/2014/main" id="{B177B95B-54AF-1C0D-C084-ED883FB7558C}"/>
              </a:ext>
            </a:extLst>
          </p:cNvPr>
          <p:cNvSpPr>
            <a:spLocks noGrp="1"/>
          </p:cNvSpPr>
          <p:nvPr>
            <p:ph type="body" sz="quarter" idx="22" hasCustomPrompt="1"/>
          </p:nvPr>
        </p:nvSpPr>
        <p:spPr>
          <a:xfrm>
            <a:off x="1137600" y="4588182"/>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34" name="Picture Placeholder 8">
            <a:extLst>
              <a:ext uri="{FF2B5EF4-FFF2-40B4-BE49-F238E27FC236}">
                <a16:creationId xmlns:a16="http://schemas.microsoft.com/office/drawing/2014/main" id="{49359509-209D-FD83-E2E3-DF4B41BDE35D}"/>
              </a:ext>
            </a:extLst>
          </p:cNvPr>
          <p:cNvSpPr>
            <a:spLocks noGrp="1" noChangeAspect="1"/>
          </p:cNvSpPr>
          <p:nvPr>
            <p:ph type="pic" sz="quarter" idx="25"/>
          </p:nvPr>
        </p:nvSpPr>
        <p:spPr>
          <a:xfrm>
            <a:off x="8284159" y="1786537"/>
            <a:ext cx="2240965" cy="2231136"/>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42" name="Text Placeholder 7">
            <a:extLst>
              <a:ext uri="{FF2B5EF4-FFF2-40B4-BE49-F238E27FC236}">
                <a16:creationId xmlns:a16="http://schemas.microsoft.com/office/drawing/2014/main" id="{FDCE24C7-FF7F-47FD-D779-ABC6FC210F01}"/>
              </a:ext>
            </a:extLst>
          </p:cNvPr>
          <p:cNvSpPr>
            <a:spLocks noGrp="1"/>
          </p:cNvSpPr>
          <p:nvPr>
            <p:ph type="body" sz="quarter" idx="26" hasCustomPrompt="1"/>
          </p:nvPr>
        </p:nvSpPr>
        <p:spPr>
          <a:xfrm>
            <a:off x="4723485" y="4257790"/>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3" name="Text Placeholder 7">
            <a:extLst>
              <a:ext uri="{FF2B5EF4-FFF2-40B4-BE49-F238E27FC236}">
                <a16:creationId xmlns:a16="http://schemas.microsoft.com/office/drawing/2014/main" id="{DC86E184-5512-C0CE-7F19-2E9D945A5696}"/>
              </a:ext>
            </a:extLst>
          </p:cNvPr>
          <p:cNvSpPr>
            <a:spLocks noGrp="1"/>
          </p:cNvSpPr>
          <p:nvPr>
            <p:ph type="body" sz="quarter" idx="27" hasCustomPrompt="1"/>
          </p:nvPr>
        </p:nvSpPr>
        <p:spPr>
          <a:xfrm>
            <a:off x="4723485" y="4588182"/>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44" name="Text Placeholder 7">
            <a:extLst>
              <a:ext uri="{FF2B5EF4-FFF2-40B4-BE49-F238E27FC236}">
                <a16:creationId xmlns:a16="http://schemas.microsoft.com/office/drawing/2014/main" id="{334843A1-7F9F-B805-78DA-7661A5E4DD59}"/>
              </a:ext>
            </a:extLst>
          </p:cNvPr>
          <p:cNvSpPr>
            <a:spLocks noGrp="1"/>
          </p:cNvSpPr>
          <p:nvPr>
            <p:ph type="body" sz="quarter" idx="28" hasCustomPrompt="1"/>
          </p:nvPr>
        </p:nvSpPr>
        <p:spPr>
          <a:xfrm>
            <a:off x="8298223" y="4257790"/>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5" name="Text Placeholder 7">
            <a:extLst>
              <a:ext uri="{FF2B5EF4-FFF2-40B4-BE49-F238E27FC236}">
                <a16:creationId xmlns:a16="http://schemas.microsoft.com/office/drawing/2014/main" id="{C48210F2-5D62-6D0F-047A-AB779E216D2D}"/>
              </a:ext>
            </a:extLst>
          </p:cNvPr>
          <p:cNvSpPr>
            <a:spLocks noGrp="1"/>
          </p:cNvSpPr>
          <p:nvPr>
            <p:ph type="body" sz="quarter" idx="29" hasCustomPrompt="1"/>
          </p:nvPr>
        </p:nvSpPr>
        <p:spPr>
          <a:xfrm>
            <a:off x="8298223" y="4588182"/>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grpSp>
        <p:nvGrpSpPr>
          <p:cNvPr id="2" name="Groep 1">
            <a:extLst>
              <a:ext uri="{FF2B5EF4-FFF2-40B4-BE49-F238E27FC236}">
                <a16:creationId xmlns:a16="http://schemas.microsoft.com/office/drawing/2014/main" id="{E75B983F-250F-4F91-744F-999DE711110C}"/>
              </a:ext>
            </a:extLst>
          </p:cNvPr>
          <p:cNvGrpSpPr/>
          <p:nvPr userDrawn="1"/>
        </p:nvGrpSpPr>
        <p:grpSpPr>
          <a:xfrm>
            <a:off x="10014482" y="5839298"/>
            <a:ext cx="1599388" cy="433809"/>
            <a:chOff x="3101010" y="1249096"/>
            <a:chExt cx="3978412" cy="1079079"/>
          </a:xfrm>
          <a:solidFill>
            <a:schemeClr val="bg1"/>
          </a:solidFill>
        </p:grpSpPr>
        <p:sp>
          <p:nvSpPr>
            <p:cNvPr id="3" name="Vrije vorm 2">
              <a:extLst>
                <a:ext uri="{FF2B5EF4-FFF2-40B4-BE49-F238E27FC236}">
                  <a16:creationId xmlns:a16="http://schemas.microsoft.com/office/drawing/2014/main" id="{83419BF2-BD92-448E-0539-16D96AEA91B3}"/>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59A2B9CB-6459-E5CD-BAFE-053F2C60CEE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CF2685E8-912A-AAC7-FDC8-7DD85133749B}"/>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56C9C9FE-EC3D-0441-7354-2423363AB3FC}"/>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05C16928-CC26-1640-DC2F-77C77A0C1C32}"/>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22228C75-DA1B-27DD-B7B9-07F67E2C0719}"/>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D2F7D303-8DC6-93D3-4B51-A3AA9B22C19D}"/>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58C284C2-37B3-DF39-26E7-B37B80429C42}"/>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40768291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Personen IV">
    <p:bg>
      <p:bgPr>
        <a:solidFill>
          <a:schemeClr val="bg1"/>
        </a:solidFill>
        <a:effectLst/>
      </p:bgPr>
    </p:bg>
    <p:spTree>
      <p:nvGrpSpPr>
        <p:cNvPr id="1" name=""/>
        <p:cNvGrpSpPr/>
        <p:nvPr/>
      </p:nvGrpSpPr>
      <p:grpSpPr>
        <a:xfrm>
          <a:off x="0" y="0"/>
          <a:ext cx="0" cy="0"/>
          <a:chOff x="0" y="0"/>
          <a:chExt cx="0" cy="0"/>
        </a:xfrm>
      </p:grpSpPr>
      <p:sp>
        <p:nvSpPr>
          <p:cNvPr id="18" name="Freeform: Shape 8">
            <a:extLst>
              <a:ext uri="{FF2B5EF4-FFF2-40B4-BE49-F238E27FC236}">
                <a16:creationId xmlns:a16="http://schemas.microsoft.com/office/drawing/2014/main" id="{FE65C532-7842-DB4C-0963-AC2D4412553B}"/>
              </a:ext>
            </a:extLst>
          </p:cNvPr>
          <p:cNvSpPr/>
          <p:nvPr userDrawn="1"/>
        </p:nvSpPr>
        <p:spPr>
          <a:xfrm>
            <a:off x="5404345"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3"/>
          </a:solidFill>
          <a:ln w="12700"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a:p>
        </p:txBody>
      </p:sp>
      <p:sp>
        <p:nvSpPr>
          <p:cNvPr id="19" name="Freeform: Shape 7">
            <a:extLst>
              <a:ext uri="{FF2B5EF4-FFF2-40B4-BE49-F238E27FC236}">
                <a16:creationId xmlns:a16="http://schemas.microsoft.com/office/drawing/2014/main" id="{5C2ED3E1-951F-C49B-62C9-40C6BE6D11FA}"/>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rgbClr val="007D7D"/>
          </a:solidFill>
          <a:ln>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20" name="Freeform: Shape 9">
            <a:extLst>
              <a:ext uri="{FF2B5EF4-FFF2-40B4-BE49-F238E27FC236}">
                <a16:creationId xmlns:a16="http://schemas.microsoft.com/office/drawing/2014/main" id="{7F2E01A7-21FD-A59B-8FDB-B775D03FED9D}"/>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rgbClr val="007D7D"/>
          </a:solidFill>
          <a:ln w="12700">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grpSp>
        <p:nvGrpSpPr>
          <p:cNvPr id="3" name="Group 2">
            <a:extLst>
              <a:ext uri="{FF2B5EF4-FFF2-40B4-BE49-F238E27FC236}">
                <a16:creationId xmlns:a16="http://schemas.microsoft.com/office/drawing/2014/main" id="{F96F7F5C-A908-766D-DE0C-047B07E54C32}"/>
              </a:ext>
            </a:extLst>
          </p:cNvPr>
          <p:cNvGrpSpPr/>
          <p:nvPr userDrawn="1"/>
        </p:nvGrpSpPr>
        <p:grpSpPr>
          <a:xfrm>
            <a:off x="0" y="0"/>
            <a:ext cx="12186919" cy="6858000"/>
            <a:chOff x="0" y="0"/>
            <a:chExt cx="12186919" cy="6858000"/>
          </a:xfrm>
        </p:grpSpPr>
        <p:sp>
          <p:nvSpPr>
            <p:cNvPr id="4" name="Freeform: Shape 3">
              <a:extLst>
                <a:ext uri="{FF2B5EF4-FFF2-40B4-BE49-F238E27FC236}">
                  <a16:creationId xmlns:a16="http://schemas.microsoft.com/office/drawing/2014/main" id="{702D3C3D-000B-A538-CB3A-FFDD745EEF50}"/>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chemeClr val="accent3"/>
            </a:solidFill>
            <a:ln w="12700" cap="flat">
              <a:solidFill>
                <a:schemeClr val="accent3"/>
              </a:solidFill>
              <a:prstDash val="solid"/>
              <a:miter/>
            </a:ln>
          </p:spPr>
          <p:txBody>
            <a:bodyPr rtlCol="0" anchor="ctr"/>
            <a:lstStyle/>
            <a:p>
              <a:pPr lvl="0"/>
              <a:endParaRPr lang="en-GB"/>
            </a:p>
          </p:txBody>
        </p:sp>
        <p:sp>
          <p:nvSpPr>
            <p:cNvPr id="6" name="Freeform: Shape 5">
              <a:extLst>
                <a:ext uri="{FF2B5EF4-FFF2-40B4-BE49-F238E27FC236}">
                  <a16:creationId xmlns:a16="http://schemas.microsoft.com/office/drawing/2014/main" id="{4F4BDA5E-0B55-2F0A-3B78-4C7DFE1A7654}"/>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chemeClr val="accent3"/>
            </a:solidFill>
            <a:ln w="12700" cap="flat">
              <a:solidFill>
                <a:schemeClr val="accent3"/>
              </a:solidFill>
              <a:prstDash val="solid"/>
              <a:miter/>
            </a:ln>
          </p:spPr>
          <p:txBody>
            <a:bodyPr rtlCol="0" anchor="ctr"/>
            <a:lstStyle/>
            <a:p>
              <a:pPr lvl="0"/>
              <a:endParaRPr lang="en-GB" dirty="0"/>
            </a:p>
          </p:txBody>
        </p:sp>
      </p:grpSp>
      <p:sp>
        <p:nvSpPr>
          <p:cNvPr id="30" name="Picture Placeholder 8">
            <a:extLst>
              <a:ext uri="{FF2B5EF4-FFF2-40B4-BE49-F238E27FC236}">
                <a16:creationId xmlns:a16="http://schemas.microsoft.com/office/drawing/2014/main" id="{04483224-BEF7-EA53-E3A9-48A573055C9A}"/>
              </a:ext>
            </a:extLst>
          </p:cNvPr>
          <p:cNvSpPr>
            <a:spLocks noGrp="1" noChangeAspect="1"/>
          </p:cNvSpPr>
          <p:nvPr>
            <p:ph type="pic" sz="quarter" idx="19"/>
          </p:nvPr>
        </p:nvSpPr>
        <p:spPr>
          <a:xfrm>
            <a:off x="3969070" y="2175548"/>
            <a:ext cx="1773936" cy="1766155"/>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3" name="Picture Placeholder 8">
            <a:extLst>
              <a:ext uri="{FF2B5EF4-FFF2-40B4-BE49-F238E27FC236}">
                <a16:creationId xmlns:a16="http://schemas.microsoft.com/office/drawing/2014/main" id="{8206E040-3C65-135D-1D1D-FAC5C094824E}"/>
              </a:ext>
            </a:extLst>
          </p:cNvPr>
          <p:cNvSpPr>
            <a:spLocks noGrp="1"/>
          </p:cNvSpPr>
          <p:nvPr>
            <p:ph type="pic" sz="quarter" idx="20"/>
          </p:nvPr>
        </p:nvSpPr>
        <p:spPr>
          <a:xfrm>
            <a:off x="1154395" y="2175548"/>
            <a:ext cx="1769838" cy="1773936"/>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8" name="Text Placeholder 7">
            <a:extLst>
              <a:ext uri="{FF2B5EF4-FFF2-40B4-BE49-F238E27FC236}">
                <a16:creationId xmlns:a16="http://schemas.microsoft.com/office/drawing/2014/main" id="{18F06AD3-38F0-7A87-3982-57749E572863}"/>
              </a:ext>
            </a:extLst>
          </p:cNvPr>
          <p:cNvSpPr>
            <a:spLocks noGrp="1"/>
          </p:cNvSpPr>
          <p:nvPr>
            <p:ph type="body" sz="quarter" idx="21" hasCustomPrompt="1"/>
          </p:nvPr>
        </p:nvSpPr>
        <p:spPr>
          <a:xfrm>
            <a:off x="1137600" y="4045924"/>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26" name="Text Placeholder 7">
            <a:extLst>
              <a:ext uri="{FF2B5EF4-FFF2-40B4-BE49-F238E27FC236}">
                <a16:creationId xmlns:a16="http://schemas.microsoft.com/office/drawing/2014/main" id="{B177B95B-54AF-1C0D-C084-ED883FB7558C}"/>
              </a:ext>
            </a:extLst>
          </p:cNvPr>
          <p:cNvSpPr>
            <a:spLocks noGrp="1"/>
          </p:cNvSpPr>
          <p:nvPr>
            <p:ph type="body" sz="quarter" idx="22" hasCustomPrompt="1"/>
          </p:nvPr>
        </p:nvSpPr>
        <p:spPr>
          <a:xfrm>
            <a:off x="1137600" y="4390589"/>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34" name="Picture Placeholder 8">
            <a:extLst>
              <a:ext uri="{FF2B5EF4-FFF2-40B4-BE49-F238E27FC236}">
                <a16:creationId xmlns:a16="http://schemas.microsoft.com/office/drawing/2014/main" id="{49359509-209D-FD83-E2E3-DF4B41BDE35D}"/>
              </a:ext>
            </a:extLst>
          </p:cNvPr>
          <p:cNvSpPr>
            <a:spLocks noGrp="1" noChangeAspect="1"/>
          </p:cNvSpPr>
          <p:nvPr>
            <p:ph type="pic" sz="quarter" idx="25"/>
          </p:nvPr>
        </p:nvSpPr>
        <p:spPr>
          <a:xfrm>
            <a:off x="6787843" y="2175548"/>
            <a:ext cx="1773936" cy="1766155"/>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42" name="Text Placeholder 7">
            <a:extLst>
              <a:ext uri="{FF2B5EF4-FFF2-40B4-BE49-F238E27FC236}">
                <a16:creationId xmlns:a16="http://schemas.microsoft.com/office/drawing/2014/main" id="{FDCE24C7-FF7F-47FD-D779-ABC6FC210F01}"/>
              </a:ext>
            </a:extLst>
          </p:cNvPr>
          <p:cNvSpPr>
            <a:spLocks noGrp="1"/>
          </p:cNvSpPr>
          <p:nvPr>
            <p:ph type="body" sz="quarter" idx="26" hasCustomPrompt="1"/>
          </p:nvPr>
        </p:nvSpPr>
        <p:spPr>
          <a:xfrm>
            <a:off x="3961485" y="4045924"/>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3" name="Text Placeholder 7">
            <a:extLst>
              <a:ext uri="{FF2B5EF4-FFF2-40B4-BE49-F238E27FC236}">
                <a16:creationId xmlns:a16="http://schemas.microsoft.com/office/drawing/2014/main" id="{DC86E184-5512-C0CE-7F19-2E9D945A5696}"/>
              </a:ext>
            </a:extLst>
          </p:cNvPr>
          <p:cNvSpPr>
            <a:spLocks noGrp="1"/>
          </p:cNvSpPr>
          <p:nvPr>
            <p:ph type="body" sz="quarter" idx="27" hasCustomPrompt="1"/>
          </p:nvPr>
        </p:nvSpPr>
        <p:spPr>
          <a:xfrm>
            <a:off x="3961485" y="4390589"/>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44" name="Text Placeholder 7">
            <a:extLst>
              <a:ext uri="{FF2B5EF4-FFF2-40B4-BE49-F238E27FC236}">
                <a16:creationId xmlns:a16="http://schemas.microsoft.com/office/drawing/2014/main" id="{334843A1-7F9F-B805-78DA-7661A5E4DD59}"/>
              </a:ext>
            </a:extLst>
          </p:cNvPr>
          <p:cNvSpPr>
            <a:spLocks noGrp="1"/>
          </p:cNvSpPr>
          <p:nvPr>
            <p:ph type="body" sz="quarter" idx="28" hasCustomPrompt="1"/>
          </p:nvPr>
        </p:nvSpPr>
        <p:spPr>
          <a:xfrm>
            <a:off x="6774224" y="4045924"/>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5" name="Text Placeholder 7">
            <a:extLst>
              <a:ext uri="{FF2B5EF4-FFF2-40B4-BE49-F238E27FC236}">
                <a16:creationId xmlns:a16="http://schemas.microsoft.com/office/drawing/2014/main" id="{C48210F2-5D62-6D0F-047A-AB779E216D2D}"/>
              </a:ext>
            </a:extLst>
          </p:cNvPr>
          <p:cNvSpPr>
            <a:spLocks noGrp="1"/>
          </p:cNvSpPr>
          <p:nvPr>
            <p:ph type="body" sz="quarter" idx="29" hasCustomPrompt="1"/>
          </p:nvPr>
        </p:nvSpPr>
        <p:spPr>
          <a:xfrm>
            <a:off x="6774224" y="4390589"/>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sp>
        <p:nvSpPr>
          <p:cNvPr id="36" name="Picture Placeholder 8">
            <a:extLst>
              <a:ext uri="{FF2B5EF4-FFF2-40B4-BE49-F238E27FC236}">
                <a16:creationId xmlns:a16="http://schemas.microsoft.com/office/drawing/2014/main" id="{D27B2E7C-810D-44CC-7A3F-14969273B0F5}"/>
              </a:ext>
            </a:extLst>
          </p:cNvPr>
          <p:cNvSpPr>
            <a:spLocks noGrp="1" noChangeAspect="1"/>
          </p:cNvSpPr>
          <p:nvPr>
            <p:ph type="pic" sz="quarter" idx="30"/>
          </p:nvPr>
        </p:nvSpPr>
        <p:spPr>
          <a:xfrm>
            <a:off x="9586963" y="2175548"/>
            <a:ext cx="1773936" cy="1766155"/>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41" name="Text Placeholder 7">
            <a:extLst>
              <a:ext uri="{FF2B5EF4-FFF2-40B4-BE49-F238E27FC236}">
                <a16:creationId xmlns:a16="http://schemas.microsoft.com/office/drawing/2014/main" id="{FA799B20-C2C7-73D2-B8B0-0A28A1E94139}"/>
              </a:ext>
            </a:extLst>
          </p:cNvPr>
          <p:cNvSpPr>
            <a:spLocks noGrp="1"/>
          </p:cNvSpPr>
          <p:nvPr>
            <p:ph type="body" sz="quarter" idx="31" hasCustomPrompt="1"/>
          </p:nvPr>
        </p:nvSpPr>
        <p:spPr>
          <a:xfrm>
            <a:off x="9586963" y="4054329"/>
            <a:ext cx="2240962" cy="307777"/>
          </a:xfrm>
        </p:spPr>
        <p:txBody>
          <a:bodyPr wrap="square">
            <a:spAutoFit/>
          </a:bodyPr>
          <a:lstStyle>
            <a:lvl1pPr algn="l">
              <a:defRPr sz="2000" b="1">
                <a:solidFill>
                  <a:schemeClr val="bg1"/>
                </a:solidFill>
                <a:latin typeface="+mj-lt"/>
              </a:defRPr>
            </a:lvl1pPr>
          </a:lstStyle>
          <a:p>
            <a:pPr lvl="0"/>
            <a:r>
              <a:rPr lang="en-US" dirty="0"/>
              <a:t>Naam</a:t>
            </a:r>
          </a:p>
        </p:txBody>
      </p:sp>
      <p:sp>
        <p:nvSpPr>
          <p:cNvPr id="46" name="Text Placeholder 7">
            <a:extLst>
              <a:ext uri="{FF2B5EF4-FFF2-40B4-BE49-F238E27FC236}">
                <a16:creationId xmlns:a16="http://schemas.microsoft.com/office/drawing/2014/main" id="{C8322BE2-A6EA-2B77-4274-B8A694B26A5F}"/>
              </a:ext>
            </a:extLst>
          </p:cNvPr>
          <p:cNvSpPr>
            <a:spLocks noGrp="1"/>
          </p:cNvSpPr>
          <p:nvPr>
            <p:ph type="body" sz="quarter" idx="32" hasCustomPrompt="1"/>
          </p:nvPr>
        </p:nvSpPr>
        <p:spPr>
          <a:xfrm>
            <a:off x="9586963" y="4398994"/>
            <a:ext cx="2240962" cy="246221"/>
          </a:xfrm>
        </p:spPr>
        <p:txBody>
          <a:bodyPr wrap="square">
            <a:spAutoFit/>
          </a:bodyPr>
          <a:lstStyle>
            <a:lvl1pPr algn="l">
              <a:defRPr sz="1600">
                <a:solidFill>
                  <a:schemeClr val="bg1"/>
                </a:solidFill>
                <a:latin typeface="+mn-lt"/>
              </a:defRPr>
            </a:lvl1pPr>
          </a:lstStyle>
          <a:p>
            <a:pPr lvl="0"/>
            <a:r>
              <a:rPr lang="en-US" dirty="0" err="1"/>
              <a:t>Functie</a:t>
            </a:r>
            <a:endParaRPr lang="en-US" dirty="0"/>
          </a:p>
        </p:txBody>
      </p:sp>
      <p:grpSp>
        <p:nvGrpSpPr>
          <p:cNvPr id="2" name="Groep 1">
            <a:extLst>
              <a:ext uri="{FF2B5EF4-FFF2-40B4-BE49-F238E27FC236}">
                <a16:creationId xmlns:a16="http://schemas.microsoft.com/office/drawing/2014/main" id="{CF0039A4-B884-F71B-2F40-C0C74C935C2C}"/>
              </a:ext>
            </a:extLst>
          </p:cNvPr>
          <p:cNvGrpSpPr/>
          <p:nvPr userDrawn="1"/>
        </p:nvGrpSpPr>
        <p:grpSpPr>
          <a:xfrm>
            <a:off x="10014482" y="5839298"/>
            <a:ext cx="1599388" cy="433809"/>
            <a:chOff x="3101010" y="1249096"/>
            <a:chExt cx="3978412" cy="1079079"/>
          </a:xfrm>
          <a:solidFill>
            <a:schemeClr val="bg1"/>
          </a:solidFill>
        </p:grpSpPr>
        <p:sp>
          <p:nvSpPr>
            <p:cNvPr id="10" name="Vrije vorm 9">
              <a:extLst>
                <a:ext uri="{FF2B5EF4-FFF2-40B4-BE49-F238E27FC236}">
                  <a16:creationId xmlns:a16="http://schemas.microsoft.com/office/drawing/2014/main" id="{6B8DE00C-52D0-D862-E831-2F8281B7F252}"/>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F6581F89-6ACC-7CE7-A635-326CE8C1705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61E283BC-A80A-808B-21A9-C3FCF2F39C9B}"/>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42A4534F-4144-1641-728A-91A73A78992B}"/>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E26CA505-5AB0-810F-6087-29006D4DD774}"/>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9310EC34-BDB6-3D17-5347-7544F93C773B}"/>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33E0C7A7-CD66-C647-5D55-5AB6618998DA}"/>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6A9F36E1-F717-D5E6-195B-197AEA12D9CB}"/>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4029071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ekst / 1 kolom">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11CCC-33F0-7A7C-3C48-F19EDC149C27}"/>
              </a:ext>
            </a:extLst>
          </p:cNvPr>
          <p:cNvSpPr>
            <a:spLocks noGrp="1"/>
          </p:cNvSpPr>
          <p:nvPr>
            <p:ph type="title"/>
          </p:nvPr>
        </p:nvSpPr>
        <p:spPr>
          <a:xfrm>
            <a:off x="1139124" y="595590"/>
            <a:ext cx="9938183" cy="1000736"/>
          </a:xfrm>
        </p:spPr>
        <p:txBody>
          <a:bodyPr/>
          <a:lstStyle/>
          <a:p>
            <a:r>
              <a:rPr lang="nl-NL"/>
              <a:t>Klik om stijl te bewerken</a:t>
            </a:r>
            <a:endParaRPr lang="en-US"/>
          </a:p>
        </p:txBody>
      </p:sp>
      <p:sp>
        <p:nvSpPr>
          <p:cNvPr id="10" name="Text Placeholder 3">
            <a:extLst>
              <a:ext uri="{FF2B5EF4-FFF2-40B4-BE49-F238E27FC236}">
                <a16:creationId xmlns:a16="http://schemas.microsoft.com/office/drawing/2014/main" id="{BE5E00DB-1EA6-464A-0466-C026D0729C7E}"/>
              </a:ext>
            </a:extLst>
          </p:cNvPr>
          <p:cNvSpPr>
            <a:spLocks noGrp="1"/>
          </p:cNvSpPr>
          <p:nvPr>
            <p:ph type="body" sz="quarter" idx="10"/>
          </p:nvPr>
        </p:nvSpPr>
        <p:spPr>
          <a:xfrm>
            <a:off x="1139124" y="2003728"/>
            <a:ext cx="9925751" cy="3650247"/>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grpSp>
        <p:nvGrpSpPr>
          <p:cNvPr id="3" name="Groep 2">
            <a:extLst>
              <a:ext uri="{FF2B5EF4-FFF2-40B4-BE49-F238E27FC236}">
                <a16:creationId xmlns:a16="http://schemas.microsoft.com/office/drawing/2014/main" id="{717CE920-9579-14CE-0672-F0EDB4637649}"/>
              </a:ext>
            </a:extLst>
          </p:cNvPr>
          <p:cNvGrpSpPr/>
          <p:nvPr userDrawn="1"/>
        </p:nvGrpSpPr>
        <p:grpSpPr>
          <a:xfrm>
            <a:off x="10014482" y="5839298"/>
            <a:ext cx="1599388" cy="433809"/>
            <a:chOff x="3101010" y="1249096"/>
            <a:chExt cx="3978412" cy="1079079"/>
          </a:xfrm>
          <a:solidFill>
            <a:schemeClr val="tx2"/>
          </a:solidFill>
        </p:grpSpPr>
        <p:sp>
          <p:nvSpPr>
            <p:cNvPr id="4" name="Vrije vorm 3">
              <a:extLst>
                <a:ext uri="{FF2B5EF4-FFF2-40B4-BE49-F238E27FC236}">
                  <a16:creationId xmlns:a16="http://schemas.microsoft.com/office/drawing/2014/main" id="{380C4147-1AAD-BC0A-B4EC-5E1BF1E28731}"/>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67970AEF-9C1C-E0BF-0AB2-D7E0B736F93F}"/>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84411933-F6E6-5A1C-278D-0F2AC93E2462}"/>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23094AAE-E411-FB67-B5C5-CDF9E1FDB5DB}"/>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2E6525B7-4CB3-01C7-F264-B96F3FEBB53E}"/>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85A51975-E367-D2D0-12F6-BB6BB908F9BE}"/>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F9A610A0-47D8-BCBD-8C51-98D26A7C1B28}"/>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9905D9D6-1F3F-516F-0924-728C828B3A4A}"/>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40767933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ekst 2 kolommen + kop">
    <p:bg>
      <p:bgPr>
        <a:solidFill>
          <a:schemeClr val="bg1"/>
        </a:solidFill>
        <a:effectLst/>
      </p:bgPr>
    </p:bg>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2083A11-CB10-4A2B-AC8E-382DFEA6B28C}"/>
              </a:ext>
            </a:extLst>
          </p:cNvPr>
          <p:cNvSpPr>
            <a:spLocks noGrp="1"/>
          </p:cNvSpPr>
          <p:nvPr>
            <p:ph type="body" sz="half" idx="14" hasCustomPrompt="1"/>
          </p:nvPr>
        </p:nvSpPr>
        <p:spPr>
          <a:xfrm>
            <a:off x="1139126"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sp>
        <p:nvSpPr>
          <p:cNvPr id="12" name="Text Placeholder 3">
            <a:extLst>
              <a:ext uri="{FF2B5EF4-FFF2-40B4-BE49-F238E27FC236}">
                <a16:creationId xmlns:a16="http://schemas.microsoft.com/office/drawing/2014/main" id="{BD4322EE-9691-472A-BFB9-D03E483F397D}"/>
              </a:ext>
            </a:extLst>
          </p:cNvPr>
          <p:cNvSpPr>
            <a:spLocks noGrp="1"/>
          </p:cNvSpPr>
          <p:nvPr>
            <p:ph type="body" sz="half" idx="15" hasCustomPrompt="1"/>
          </p:nvPr>
        </p:nvSpPr>
        <p:spPr>
          <a:xfrm>
            <a:off x="6503577"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22" name="Text Placeholder 13">
            <a:extLst>
              <a:ext uri="{FF2B5EF4-FFF2-40B4-BE49-F238E27FC236}">
                <a16:creationId xmlns:a16="http://schemas.microsoft.com/office/drawing/2014/main" id="{351DD9B3-B6F8-575C-F146-D8B11E0E2F00}"/>
              </a:ext>
            </a:extLst>
          </p:cNvPr>
          <p:cNvSpPr>
            <a:spLocks noGrp="1"/>
          </p:cNvSpPr>
          <p:nvPr>
            <p:ph type="body" sz="quarter" idx="18"/>
          </p:nvPr>
        </p:nvSpPr>
        <p:spPr>
          <a:xfrm>
            <a:off x="1139124" y="2559063"/>
            <a:ext cx="4545423" cy="3336923"/>
          </a:xfrm>
        </p:spPr>
        <p:txBody>
          <a:bodyPr/>
          <a:lstStyle>
            <a:lvl1pPr>
              <a:defRPr sz="2400"/>
            </a:lvl1pPr>
            <a:lvl2pPr>
              <a:defRPr sz="2400"/>
            </a:lvl2pPr>
            <a:lvl3pPr>
              <a:defRPr sz="2000"/>
            </a:lvl3pPr>
            <a:lvl4pPr>
              <a:defRPr sz="2000"/>
            </a:lvl4pPr>
            <a:lvl5pPr>
              <a:defRPr sz="2000"/>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3" name="Text Placeholder 13">
            <a:extLst>
              <a:ext uri="{FF2B5EF4-FFF2-40B4-BE49-F238E27FC236}">
                <a16:creationId xmlns:a16="http://schemas.microsoft.com/office/drawing/2014/main" id="{447AE6B1-D598-594A-E638-E7AD94B9C07C}"/>
              </a:ext>
            </a:extLst>
          </p:cNvPr>
          <p:cNvSpPr>
            <a:spLocks noGrp="1"/>
          </p:cNvSpPr>
          <p:nvPr>
            <p:ph type="body" sz="quarter" idx="19"/>
          </p:nvPr>
        </p:nvSpPr>
        <p:spPr>
          <a:xfrm>
            <a:off x="6501384" y="2559063"/>
            <a:ext cx="4545424" cy="3336923"/>
          </a:xfrm>
        </p:spPr>
        <p:txBody>
          <a:bodyPr/>
          <a:lstStyle>
            <a:lvl1pPr>
              <a:defRPr sz="2400"/>
            </a:lvl1pPr>
            <a:lvl2pPr>
              <a:defRPr sz="2400"/>
            </a:lvl2pPr>
            <a:lvl3pPr>
              <a:defRPr sz="2000"/>
            </a:lvl3pPr>
            <a:lvl4pPr>
              <a:defRPr sz="2000"/>
            </a:lvl4pPr>
            <a:lvl5pPr>
              <a:defRPr sz="20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grpSp>
        <p:nvGrpSpPr>
          <p:cNvPr id="2" name="Groep 1">
            <a:extLst>
              <a:ext uri="{FF2B5EF4-FFF2-40B4-BE49-F238E27FC236}">
                <a16:creationId xmlns:a16="http://schemas.microsoft.com/office/drawing/2014/main" id="{018001FB-571C-6A33-56FF-18039F4BEED5}"/>
              </a:ext>
            </a:extLst>
          </p:cNvPr>
          <p:cNvGrpSpPr/>
          <p:nvPr userDrawn="1"/>
        </p:nvGrpSpPr>
        <p:grpSpPr>
          <a:xfrm>
            <a:off x="10014482" y="5839298"/>
            <a:ext cx="1599388" cy="433809"/>
            <a:chOff x="3101010" y="1249096"/>
            <a:chExt cx="3978412" cy="1079079"/>
          </a:xfrm>
          <a:solidFill>
            <a:schemeClr val="tx2"/>
          </a:solidFill>
        </p:grpSpPr>
        <p:sp>
          <p:nvSpPr>
            <p:cNvPr id="3" name="Vrije vorm 2">
              <a:extLst>
                <a:ext uri="{FF2B5EF4-FFF2-40B4-BE49-F238E27FC236}">
                  <a16:creationId xmlns:a16="http://schemas.microsoft.com/office/drawing/2014/main" id="{1ADAB990-D70B-E487-DD39-8EB662AE4404}"/>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C4E674C4-35EC-E32B-DD16-74F8DC88DF99}"/>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ED7E33C9-0AFC-FF2A-6FBE-28BBAE9C1B48}"/>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477420AF-B501-F4F3-7742-CC2B9F623723}"/>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A5E05816-C418-A13A-B6AD-9819B2EF549F}"/>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2BD69AEB-BEA7-A196-6DA1-F04E29096F04}"/>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1EB77E87-104F-570F-31FD-5B93BFB4193D}"/>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3D09D907-2713-DD02-A018-C75B7E1E6B68}"/>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9795653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ekst / 2 kolommen">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11" name="Text Placeholder 13">
            <a:extLst>
              <a:ext uri="{FF2B5EF4-FFF2-40B4-BE49-F238E27FC236}">
                <a16:creationId xmlns:a16="http://schemas.microsoft.com/office/drawing/2014/main" id="{671406B8-42F0-6CED-3C85-BD33A019A204}"/>
              </a:ext>
            </a:extLst>
          </p:cNvPr>
          <p:cNvSpPr>
            <a:spLocks noGrp="1"/>
          </p:cNvSpPr>
          <p:nvPr>
            <p:ph type="body" sz="quarter" idx="16"/>
          </p:nvPr>
        </p:nvSpPr>
        <p:spPr>
          <a:xfrm>
            <a:off x="1139125" y="2005200"/>
            <a:ext cx="4545423" cy="3848185"/>
          </a:xfrm>
        </p:spPr>
        <p:txBody>
          <a:bodyPr/>
          <a:lstStyle>
            <a:lvl1pPr>
              <a:defRPr sz="2400"/>
            </a:lvl1pPr>
            <a:lvl2pPr>
              <a:defRPr sz="2400"/>
            </a:lvl2pPr>
            <a:lvl3pPr>
              <a:defRPr sz="2000"/>
            </a:lvl3pPr>
            <a:lvl4pPr>
              <a:defRPr sz="1800"/>
            </a:lvl4pPr>
            <a:lvl5pPr>
              <a:defRPr sz="1800"/>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7" name="Text Placeholder 13">
            <a:extLst>
              <a:ext uri="{FF2B5EF4-FFF2-40B4-BE49-F238E27FC236}">
                <a16:creationId xmlns:a16="http://schemas.microsoft.com/office/drawing/2014/main" id="{9FB715D7-6B7C-D117-C555-DAAFB48A25CD}"/>
              </a:ext>
            </a:extLst>
          </p:cNvPr>
          <p:cNvSpPr>
            <a:spLocks noGrp="1"/>
          </p:cNvSpPr>
          <p:nvPr>
            <p:ph type="body" sz="quarter" idx="17"/>
          </p:nvPr>
        </p:nvSpPr>
        <p:spPr>
          <a:xfrm>
            <a:off x="6501384" y="2005200"/>
            <a:ext cx="4545424" cy="3848185"/>
          </a:xfrm>
        </p:spPr>
        <p:txBody>
          <a:bodyPr/>
          <a:lstStyle>
            <a:lvl1pPr>
              <a:defRPr sz="2400"/>
            </a:lvl1pPr>
            <a:lvl2pPr>
              <a:defRPr sz="2400"/>
            </a:lvl2pPr>
            <a:lvl3pPr>
              <a:defRPr sz="20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grpSp>
        <p:nvGrpSpPr>
          <p:cNvPr id="2" name="Groep 1">
            <a:extLst>
              <a:ext uri="{FF2B5EF4-FFF2-40B4-BE49-F238E27FC236}">
                <a16:creationId xmlns:a16="http://schemas.microsoft.com/office/drawing/2014/main" id="{404A00FE-4243-DEF1-7212-14DD17D14411}"/>
              </a:ext>
            </a:extLst>
          </p:cNvPr>
          <p:cNvGrpSpPr/>
          <p:nvPr userDrawn="1"/>
        </p:nvGrpSpPr>
        <p:grpSpPr>
          <a:xfrm>
            <a:off x="10014482" y="5839298"/>
            <a:ext cx="1599388" cy="433809"/>
            <a:chOff x="3101010" y="1249096"/>
            <a:chExt cx="3978412" cy="1079079"/>
          </a:xfrm>
          <a:solidFill>
            <a:schemeClr val="tx2"/>
          </a:solidFill>
        </p:grpSpPr>
        <p:sp>
          <p:nvSpPr>
            <p:cNvPr id="3" name="Vrije vorm 2">
              <a:extLst>
                <a:ext uri="{FF2B5EF4-FFF2-40B4-BE49-F238E27FC236}">
                  <a16:creationId xmlns:a16="http://schemas.microsoft.com/office/drawing/2014/main" id="{5A21C78F-055A-4422-7B2D-A808C9057046}"/>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BB3EDE27-A728-E00C-82D1-43EC9BB86B80}"/>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5F7174E5-C106-C1CE-C2F3-A19FD33835F1}"/>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63C14F53-C273-E8E5-BC8D-298C7718416C}"/>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920F0599-8BA0-72BB-CAF0-E367359C65C8}"/>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130C314C-706B-C986-D9C6-1641EDB6CD9C}"/>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32E2205F-A0F8-61C6-56D6-E8A13CF740BC}"/>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E8290881-E435-DAC5-5674-280C9266BD28}"/>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5801658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kst / Beeld 1/2">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F074158-219E-B689-9936-B3A15631E122}"/>
              </a:ext>
            </a:extLst>
          </p:cNvPr>
          <p:cNvSpPr/>
          <p:nvPr userDrawn="1"/>
        </p:nvSpPr>
        <p:spPr>
          <a:xfrm>
            <a:off x="0" y="0"/>
            <a:ext cx="6244557"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p>
        </p:txBody>
      </p:sp>
      <p:sp>
        <p:nvSpPr>
          <p:cNvPr id="3" name="Title 2">
            <a:extLst>
              <a:ext uri="{FF2B5EF4-FFF2-40B4-BE49-F238E27FC236}">
                <a16:creationId xmlns:a16="http://schemas.microsoft.com/office/drawing/2014/main" id="{18FB2C3B-2209-70F3-09D5-52F99CBE3D5C}"/>
              </a:ext>
            </a:extLst>
          </p:cNvPr>
          <p:cNvSpPr>
            <a:spLocks noGrp="1"/>
          </p:cNvSpPr>
          <p:nvPr>
            <p:ph type="title"/>
          </p:nvPr>
        </p:nvSpPr>
        <p:spPr>
          <a:xfrm>
            <a:off x="1139124" y="595590"/>
            <a:ext cx="4550476" cy="1000736"/>
          </a:xfrm>
        </p:spPr>
        <p:txBody>
          <a:bodyPr/>
          <a:lstStyle>
            <a:lvl1pPr>
              <a:defRPr>
                <a:solidFill>
                  <a:schemeClr val="accent1"/>
                </a:solidFill>
              </a:defRPr>
            </a:lvl1pPr>
          </a:lstStyle>
          <a:p>
            <a:r>
              <a:rPr lang="nl-NL" dirty="0"/>
              <a:t>Klik om stijl te bewerken</a:t>
            </a:r>
            <a:endParaRPr lang="en-US" dirty="0"/>
          </a:p>
        </p:txBody>
      </p:sp>
      <p:sp>
        <p:nvSpPr>
          <p:cNvPr id="15" name="Tijdelijke aanduiding voor afbeelding 14">
            <a:extLst>
              <a:ext uri="{FF2B5EF4-FFF2-40B4-BE49-F238E27FC236}">
                <a16:creationId xmlns:a16="http://schemas.microsoft.com/office/drawing/2014/main" id="{C15A5C28-50F1-62AA-8A14-8AE7DA608F41}"/>
              </a:ext>
            </a:extLst>
          </p:cNvPr>
          <p:cNvSpPr>
            <a:spLocks noGrp="1"/>
          </p:cNvSpPr>
          <p:nvPr>
            <p:ph type="pic" sz="quarter" idx="19"/>
          </p:nvPr>
        </p:nvSpPr>
        <p:spPr>
          <a:xfrm>
            <a:off x="6244558" y="3"/>
            <a:ext cx="5947441" cy="6857998"/>
          </a:xfrm>
          <a:custGeom>
            <a:avLst/>
            <a:gdLst>
              <a:gd name="connsiteX0" fmla="*/ 4676089 w 5947441"/>
              <a:gd name="connsiteY0" fmla="*/ 6207232 h 6857998"/>
              <a:gd name="connsiteX1" fmla="*/ 4695295 w 5947441"/>
              <a:gd name="connsiteY1" fmla="*/ 6227979 h 6857998"/>
              <a:gd name="connsiteX2" fmla="*/ 4676089 w 5947441"/>
              <a:gd name="connsiteY2" fmla="*/ 6248726 h 6857998"/>
              <a:gd name="connsiteX3" fmla="*/ 4656884 w 5947441"/>
              <a:gd name="connsiteY3" fmla="*/ 6227979 h 6857998"/>
              <a:gd name="connsiteX4" fmla="*/ 4676089 w 5947441"/>
              <a:gd name="connsiteY4" fmla="*/ 6207232 h 6857998"/>
              <a:gd name="connsiteX5" fmla="*/ 5109116 w 5947441"/>
              <a:gd name="connsiteY5" fmla="*/ 6206540 h 6857998"/>
              <a:gd name="connsiteX6" fmla="*/ 5128838 w 5947441"/>
              <a:gd name="connsiteY6" fmla="*/ 6227979 h 6857998"/>
              <a:gd name="connsiteX7" fmla="*/ 5109116 w 5947441"/>
              <a:gd name="connsiteY7" fmla="*/ 6249419 h 6857998"/>
              <a:gd name="connsiteX8" fmla="*/ 5089392 w 5947441"/>
              <a:gd name="connsiteY8" fmla="*/ 6227979 h 6857998"/>
              <a:gd name="connsiteX9" fmla="*/ 5109116 w 5947441"/>
              <a:gd name="connsiteY9" fmla="*/ 6206540 h 6857998"/>
              <a:gd name="connsiteX10" fmla="*/ 4405345 w 5947441"/>
              <a:gd name="connsiteY10" fmla="*/ 6206540 h 6857998"/>
              <a:gd name="connsiteX11" fmla="*/ 4425068 w 5947441"/>
              <a:gd name="connsiteY11" fmla="*/ 6227979 h 6857998"/>
              <a:gd name="connsiteX12" fmla="*/ 4405345 w 5947441"/>
              <a:gd name="connsiteY12" fmla="*/ 6249419 h 6857998"/>
              <a:gd name="connsiteX13" fmla="*/ 4385621 w 5947441"/>
              <a:gd name="connsiteY13" fmla="*/ 6227979 h 6857998"/>
              <a:gd name="connsiteX14" fmla="*/ 4405345 w 5947441"/>
              <a:gd name="connsiteY14" fmla="*/ 6206540 h 6857998"/>
              <a:gd name="connsiteX15" fmla="*/ 5008256 w 5947441"/>
              <a:gd name="connsiteY15" fmla="*/ 6204119 h 6857998"/>
              <a:gd name="connsiteX16" fmla="*/ 5026076 w 5947441"/>
              <a:gd name="connsiteY16" fmla="*/ 6217087 h 6857998"/>
              <a:gd name="connsiteX17" fmla="*/ 4989397 w 5947441"/>
              <a:gd name="connsiteY17" fmla="*/ 6217087 h 6857998"/>
              <a:gd name="connsiteX18" fmla="*/ 5008256 w 5947441"/>
              <a:gd name="connsiteY18" fmla="*/ 6204119 h 6857998"/>
              <a:gd name="connsiteX19" fmla="*/ 4304485 w 5947441"/>
              <a:gd name="connsiteY19" fmla="*/ 6204119 h 6857998"/>
              <a:gd name="connsiteX20" fmla="*/ 4322305 w 5947441"/>
              <a:gd name="connsiteY20" fmla="*/ 6217087 h 6857998"/>
              <a:gd name="connsiteX21" fmla="*/ 4285626 w 5947441"/>
              <a:gd name="connsiteY21" fmla="*/ 6217087 h 6857998"/>
              <a:gd name="connsiteX22" fmla="*/ 4304485 w 5947441"/>
              <a:gd name="connsiteY22" fmla="*/ 6204119 h 6857998"/>
              <a:gd name="connsiteX23" fmla="*/ 4470561 w 5947441"/>
              <a:gd name="connsiteY23" fmla="*/ 6184755 h 6857998"/>
              <a:gd name="connsiteX24" fmla="*/ 4470561 w 5947441"/>
              <a:gd name="connsiteY24" fmla="*/ 6271204 h 6857998"/>
              <a:gd name="connsiteX25" fmla="*/ 4496688 w 5947441"/>
              <a:gd name="connsiteY25" fmla="*/ 6271204 h 6857998"/>
              <a:gd name="connsiteX26" fmla="*/ 4496688 w 5947441"/>
              <a:gd name="connsiteY26" fmla="*/ 6207405 h 6857998"/>
              <a:gd name="connsiteX27" fmla="*/ 4525754 w 5947441"/>
              <a:gd name="connsiteY27" fmla="*/ 6207405 h 6857998"/>
              <a:gd name="connsiteX28" fmla="*/ 4525754 w 5947441"/>
              <a:gd name="connsiteY28" fmla="*/ 6184755 h 6857998"/>
              <a:gd name="connsiteX29" fmla="*/ 5103232 w 5947441"/>
              <a:gd name="connsiteY29" fmla="*/ 6182853 h 6857998"/>
              <a:gd name="connsiteX30" fmla="*/ 5063093 w 5947441"/>
              <a:gd name="connsiteY30" fmla="*/ 6227979 h 6857998"/>
              <a:gd name="connsiteX31" fmla="*/ 5103232 w 5947441"/>
              <a:gd name="connsiteY31" fmla="*/ 6273104 h 6857998"/>
              <a:gd name="connsiteX32" fmla="*/ 5126764 w 5947441"/>
              <a:gd name="connsiteY32" fmla="*/ 6262559 h 6857998"/>
              <a:gd name="connsiteX33" fmla="*/ 5126764 w 5947441"/>
              <a:gd name="connsiteY33" fmla="*/ 6271204 h 6857998"/>
              <a:gd name="connsiteX34" fmla="*/ 5152889 w 5947441"/>
              <a:gd name="connsiteY34" fmla="*/ 6271204 h 6857998"/>
              <a:gd name="connsiteX35" fmla="*/ 5152889 w 5947441"/>
              <a:gd name="connsiteY35" fmla="*/ 6184755 h 6857998"/>
              <a:gd name="connsiteX36" fmla="*/ 5126764 w 5947441"/>
              <a:gd name="connsiteY36" fmla="*/ 6184755 h 6857998"/>
              <a:gd name="connsiteX37" fmla="*/ 5126764 w 5947441"/>
              <a:gd name="connsiteY37" fmla="*/ 6193400 h 6857998"/>
              <a:gd name="connsiteX38" fmla="*/ 5103232 w 5947441"/>
              <a:gd name="connsiteY38" fmla="*/ 6182853 h 6857998"/>
              <a:gd name="connsiteX39" fmla="*/ 5008948 w 5947441"/>
              <a:gd name="connsiteY39" fmla="*/ 6182853 h 6857998"/>
              <a:gd name="connsiteX40" fmla="*/ 4963445 w 5947441"/>
              <a:gd name="connsiteY40" fmla="*/ 6227979 h 6857998"/>
              <a:gd name="connsiteX41" fmla="*/ 5009467 w 5947441"/>
              <a:gd name="connsiteY41" fmla="*/ 6273104 h 6857998"/>
              <a:gd name="connsiteX42" fmla="*/ 5050126 w 5947441"/>
              <a:gd name="connsiteY42" fmla="*/ 6254087 h 6857998"/>
              <a:gd name="connsiteX43" fmla="*/ 5030748 w 5947441"/>
              <a:gd name="connsiteY43" fmla="*/ 6239564 h 6857998"/>
              <a:gd name="connsiteX44" fmla="*/ 5009813 w 5947441"/>
              <a:gd name="connsiteY44" fmla="*/ 6249419 h 6857998"/>
              <a:gd name="connsiteX45" fmla="*/ 4988705 w 5947441"/>
              <a:gd name="connsiteY45" fmla="*/ 6234204 h 6857998"/>
              <a:gd name="connsiteX46" fmla="*/ 5051510 w 5947441"/>
              <a:gd name="connsiteY46" fmla="*/ 6234204 h 6857998"/>
              <a:gd name="connsiteX47" fmla="*/ 5052029 w 5947441"/>
              <a:gd name="connsiteY47" fmla="*/ 6225041 h 6857998"/>
              <a:gd name="connsiteX48" fmla="*/ 5008948 w 5947441"/>
              <a:gd name="connsiteY48" fmla="*/ 6182853 h 6857998"/>
              <a:gd name="connsiteX49" fmla="*/ 4676089 w 5947441"/>
              <a:gd name="connsiteY49" fmla="*/ 6182853 h 6857998"/>
              <a:gd name="connsiteX50" fmla="*/ 4630587 w 5947441"/>
              <a:gd name="connsiteY50" fmla="*/ 6227979 h 6857998"/>
              <a:gd name="connsiteX51" fmla="*/ 4676089 w 5947441"/>
              <a:gd name="connsiteY51" fmla="*/ 6273104 h 6857998"/>
              <a:gd name="connsiteX52" fmla="*/ 4721592 w 5947441"/>
              <a:gd name="connsiteY52" fmla="*/ 6227979 h 6857998"/>
              <a:gd name="connsiteX53" fmla="*/ 4676089 w 5947441"/>
              <a:gd name="connsiteY53" fmla="*/ 6182853 h 6857998"/>
              <a:gd name="connsiteX54" fmla="*/ 4399461 w 5947441"/>
              <a:gd name="connsiteY54" fmla="*/ 6182853 h 6857998"/>
              <a:gd name="connsiteX55" fmla="*/ 4359322 w 5947441"/>
              <a:gd name="connsiteY55" fmla="*/ 6227979 h 6857998"/>
              <a:gd name="connsiteX56" fmla="*/ 4399461 w 5947441"/>
              <a:gd name="connsiteY56" fmla="*/ 6273104 h 6857998"/>
              <a:gd name="connsiteX57" fmla="*/ 4422991 w 5947441"/>
              <a:gd name="connsiteY57" fmla="*/ 6262559 h 6857998"/>
              <a:gd name="connsiteX58" fmla="*/ 4422991 w 5947441"/>
              <a:gd name="connsiteY58" fmla="*/ 6271204 h 6857998"/>
              <a:gd name="connsiteX59" fmla="*/ 4449118 w 5947441"/>
              <a:gd name="connsiteY59" fmla="*/ 6271204 h 6857998"/>
              <a:gd name="connsiteX60" fmla="*/ 4449118 w 5947441"/>
              <a:gd name="connsiteY60" fmla="*/ 6184755 h 6857998"/>
              <a:gd name="connsiteX61" fmla="*/ 4422991 w 5947441"/>
              <a:gd name="connsiteY61" fmla="*/ 6184755 h 6857998"/>
              <a:gd name="connsiteX62" fmla="*/ 4422991 w 5947441"/>
              <a:gd name="connsiteY62" fmla="*/ 6193400 h 6857998"/>
              <a:gd name="connsiteX63" fmla="*/ 4399461 w 5947441"/>
              <a:gd name="connsiteY63" fmla="*/ 6182853 h 6857998"/>
              <a:gd name="connsiteX64" fmla="*/ 4305177 w 5947441"/>
              <a:gd name="connsiteY64" fmla="*/ 6182853 h 6857998"/>
              <a:gd name="connsiteX65" fmla="*/ 4259674 w 5947441"/>
              <a:gd name="connsiteY65" fmla="*/ 6227979 h 6857998"/>
              <a:gd name="connsiteX66" fmla="*/ 4305696 w 5947441"/>
              <a:gd name="connsiteY66" fmla="*/ 6273104 h 6857998"/>
              <a:gd name="connsiteX67" fmla="*/ 4346353 w 5947441"/>
              <a:gd name="connsiteY67" fmla="*/ 6254087 h 6857998"/>
              <a:gd name="connsiteX68" fmla="*/ 4326977 w 5947441"/>
              <a:gd name="connsiteY68" fmla="*/ 6239564 h 6857998"/>
              <a:gd name="connsiteX69" fmla="*/ 4306042 w 5947441"/>
              <a:gd name="connsiteY69" fmla="*/ 6249419 h 6857998"/>
              <a:gd name="connsiteX70" fmla="*/ 4284934 w 5947441"/>
              <a:gd name="connsiteY70" fmla="*/ 6234204 h 6857998"/>
              <a:gd name="connsiteX71" fmla="*/ 4347739 w 5947441"/>
              <a:gd name="connsiteY71" fmla="*/ 6234204 h 6857998"/>
              <a:gd name="connsiteX72" fmla="*/ 4348258 w 5947441"/>
              <a:gd name="connsiteY72" fmla="*/ 6225041 h 6857998"/>
              <a:gd name="connsiteX73" fmla="*/ 4305177 w 5947441"/>
              <a:gd name="connsiteY73" fmla="*/ 6182853 h 6857998"/>
              <a:gd name="connsiteX74" fmla="*/ 5248035 w 5947441"/>
              <a:gd name="connsiteY74" fmla="*/ 6157264 h 6857998"/>
              <a:gd name="connsiteX75" fmla="*/ 5221908 w 5947441"/>
              <a:gd name="connsiteY75" fmla="*/ 6184755 h 6857998"/>
              <a:gd name="connsiteX76" fmla="*/ 5221908 w 5947441"/>
              <a:gd name="connsiteY76" fmla="*/ 6271204 h 6857998"/>
              <a:gd name="connsiteX77" fmla="*/ 5248035 w 5947441"/>
              <a:gd name="connsiteY77" fmla="*/ 6271204 h 6857998"/>
              <a:gd name="connsiteX78" fmla="*/ 5248035 w 5947441"/>
              <a:gd name="connsiteY78" fmla="*/ 6207405 h 6857998"/>
              <a:gd name="connsiteX79" fmla="*/ 5272256 w 5947441"/>
              <a:gd name="connsiteY79" fmla="*/ 6207405 h 6857998"/>
              <a:gd name="connsiteX80" fmla="*/ 5272256 w 5947441"/>
              <a:gd name="connsiteY80" fmla="*/ 6184755 h 6857998"/>
              <a:gd name="connsiteX81" fmla="*/ 5248035 w 5947441"/>
              <a:gd name="connsiteY81" fmla="*/ 6184755 h 6857998"/>
              <a:gd name="connsiteX82" fmla="*/ 4566234 w 5947441"/>
              <a:gd name="connsiteY82" fmla="*/ 6157264 h 6857998"/>
              <a:gd name="connsiteX83" fmla="*/ 4540108 w 5947441"/>
              <a:gd name="connsiteY83" fmla="*/ 6184755 h 6857998"/>
              <a:gd name="connsiteX84" fmla="*/ 4540108 w 5947441"/>
              <a:gd name="connsiteY84" fmla="*/ 6271204 h 6857998"/>
              <a:gd name="connsiteX85" fmla="*/ 4566234 w 5947441"/>
              <a:gd name="connsiteY85" fmla="*/ 6271204 h 6857998"/>
              <a:gd name="connsiteX86" fmla="*/ 4566234 w 5947441"/>
              <a:gd name="connsiteY86" fmla="*/ 6207405 h 6857998"/>
              <a:gd name="connsiteX87" fmla="*/ 4590455 w 5947441"/>
              <a:gd name="connsiteY87" fmla="*/ 6207405 h 6857998"/>
              <a:gd name="connsiteX88" fmla="*/ 4590455 w 5947441"/>
              <a:gd name="connsiteY88" fmla="*/ 6184755 h 6857998"/>
              <a:gd name="connsiteX89" fmla="*/ 4566234 w 5947441"/>
              <a:gd name="connsiteY89" fmla="*/ 6184755 h 6857998"/>
              <a:gd name="connsiteX90" fmla="*/ 4843725 w 5947441"/>
              <a:gd name="connsiteY90" fmla="*/ 6148448 h 6857998"/>
              <a:gd name="connsiteX91" fmla="*/ 4843725 w 5947441"/>
              <a:gd name="connsiteY91" fmla="*/ 6271204 h 6857998"/>
              <a:gd name="connsiteX92" fmla="*/ 4871235 w 5947441"/>
              <a:gd name="connsiteY92" fmla="*/ 6271204 h 6857998"/>
              <a:gd name="connsiteX93" fmla="*/ 4871235 w 5947441"/>
              <a:gd name="connsiteY93" fmla="*/ 6222620 h 6857998"/>
              <a:gd name="connsiteX94" fmla="*/ 4920717 w 5947441"/>
              <a:gd name="connsiteY94" fmla="*/ 6222620 h 6857998"/>
              <a:gd name="connsiteX95" fmla="*/ 4920717 w 5947441"/>
              <a:gd name="connsiteY95" fmla="*/ 6271204 h 6857998"/>
              <a:gd name="connsiteX96" fmla="*/ 4948226 w 5947441"/>
              <a:gd name="connsiteY96" fmla="*/ 6271204 h 6857998"/>
              <a:gd name="connsiteX97" fmla="*/ 4948226 w 5947441"/>
              <a:gd name="connsiteY97" fmla="*/ 6148448 h 6857998"/>
              <a:gd name="connsiteX98" fmla="*/ 4920717 w 5947441"/>
              <a:gd name="connsiteY98" fmla="*/ 6148448 h 6857998"/>
              <a:gd name="connsiteX99" fmla="*/ 4920717 w 5947441"/>
              <a:gd name="connsiteY99" fmla="*/ 6196512 h 6857998"/>
              <a:gd name="connsiteX100" fmla="*/ 4871235 w 5947441"/>
              <a:gd name="connsiteY100" fmla="*/ 6196512 h 6857998"/>
              <a:gd name="connsiteX101" fmla="*/ 4871235 w 5947441"/>
              <a:gd name="connsiteY101" fmla="*/ 6148448 h 6857998"/>
              <a:gd name="connsiteX102" fmla="*/ 4139954 w 5947441"/>
              <a:gd name="connsiteY102" fmla="*/ 6148448 h 6857998"/>
              <a:gd name="connsiteX103" fmla="*/ 4139954 w 5947441"/>
              <a:gd name="connsiteY103" fmla="*/ 6232862 h 6857998"/>
              <a:gd name="connsiteX104" fmla="*/ 4167462 w 5947441"/>
              <a:gd name="connsiteY104" fmla="*/ 6260352 h 6857998"/>
              <a:gd name="connsiteX105" fmla="*/ 4167462 w 5947441"/>
              <a:gd name="connsiteY105" fmla="*/ 6222620 h 6857998"/>
              <a:gd name="connsiteX106" fmla="*/ 4216946 w 5947441"/>
              <a:gd name="connsiteY106" fmla="*/ 6222620 h 6857998"/>
              <a:gd name="connsiteX107" fmla="*/ 4216946 w 5947441"/>
              <a:gd name="connsiteY107" fmla="*/ 6271204 h 6857998"/>
              <a:gd name="connsiteX108" fmla="*/ 4244455 w 5947441"/>
              <a:gd name="connsiteY108" fmla="*/ 6271204 h 6857998"/>
              <a:gd name="connsiteX109" fmla="*/ 4244455 w 5947441"/>
              <a:gd name="connsiteY109" fmla="*/ 6148448 h 6857998"/>
              <a:gd name="connsiteX110" fmla="*/ 4216946 w 5947441"/>
              <a:gd name="connsiteY110" fmla="*/ 6148448 h 6857998"/>
              <a:gd name="connsiteX111" fmla="*/ 4216946 w 5947441"/>
              <a:gd name="connsiteY111" fmla="*/ 6196512 h 6857998"/>
              <a:gd name="connsiteX112" fmla="*/ 4167462 w 5947441"/>
              <a:gd name="connsiteY112" fmla="*/ 6196512 h 6857998"/>
              <a:gd name="connsiteX113" fmla="*/ 4167462 w 5947441"/>
              <a:gd name="connsiteY113" fmla="*/ 6148448 h 6857998"/>
              <a:gd name="connsiteX114" fmla="*/ 5285572 w 5947441"/>
              <a:gd name="connsiteY114" fmla="*/ 6141531 h 6857998"/>
              <a:gd name="connsiteX115" fmla="*/ 5285572 w 5947441"/>
              <a:gd name="connsiteY115" fmla="*/ 6271204 h 6857998"/>
              <a:gd name="connsiteX116" fmla="*/ 5311699 w 5947441"/>
              <a:gd name="connsiteY116" fmla="*/ 6271204 h 6857998"/>
              <a:gd name="connsiteX117" fmla="*/ 5311699 w 5947441"/>
              <a:gd name="connsiteY117" fmla="*/ 6229189 h 6857998"/>
              <a:gd name="connsiteX118" fmla="*/ 5329173 w 5947441"/>
              <a:gd name="connsiteY118" fmla="*/ 6206540 h 6857998"/>
              <a:gd name="connsiteX119" fmla="*/ 5343186 w 5947441"/>
              <a:gd name="connsiteY119" fmla="*/ 6225731 h 6857998"/>
              <a:gd name="connsiteX120" fmla="*/ 5343186 w 5947441"/>
              <a:gd name="connsiteY120" fmla="*/ 6271204 h 6857998"/>
              <a:gd name="connsiteX121" fmla="*/ 5369312 w 5947441"/>
              <a:gd name="connsiteY121" fmla="*/ 6271204 h 6857998"/>
              <a:gd name="connsiteX122" fmla="*/ 5369312 w 5947441"/>
              <a:gd name="connsiteY122" fmla="*/ 6221237 h 6857998"/>
              <a:gd name="connsiteX123" fmla="*/ 5335747 w 5947441"/>
              <a:gd name="connsiteY123" fmla="*/ 6182853 h 6857998"/>
              <a:gd name="connsiteX124" fmla="*/ 5311699 w 5947441"/>
              <a:gd name="connsiteY124" fmla="*/ 6193574 h 6857998"/>
              <a:gd name="connsiteX125" fmla="*/ 5311699 w 5947441"/>
              <a:gd name="connsiteY125" fmla="*/ 6141531 h 6857998"/>
              <a:gd name="connsiteX126" fmla="*/ 5174334 w 5947441"/>
              <a:gd name="connsiteY126" fmla="*/ 6141531 h 6857998"/>
              <a:gd name="connsiteX127" fmla="*/ 5174334 w 5947441"/>
              <a:gd name="connsiteY127" fmla="*/ 6271204 h 6857998"/>
              <a:gd name="connsiteX128" fmla="*/ 5200460 w 5947441"/>
              <a:gd name="connsiteY128" fmla="*/ 6271204 h 6857998"/>
              <a:gd name="connsiteX129" fmla="*/ 5200460 w 5947441"/>
              <a:gd name="connsiteY129" fmla="*/ 6141531 h 6857998"/>
              <a:gd name="connsiteX130" fmla="*/ 4780585 w 5947441"/>
              <a:gd name="connsiteY130" fmla="*/ 6140494 h 6857998"/>
              <a:gd name="connsiteX131" fmla="*/ 4745808 w 5947441"/>
              <a:gd name="connsiteY131" fmla="*/ 6175247 h 6857998"/>
              <a:gd name="connsiteX132" fmla="*/ 4745808 w 5947441"/>
              <a:gd name="connsiteY132" fmla="*/ 6184755 h 6857998"/>
              <a:gd name="connsiteX133" fmla="*/ 4728508 w 5947441"/>
              <a:gd name="connsiteY133" fmla="*/ 6184755 h 6857998"/>
              <a:gd name="connsiteX134" fmla="*/ 4728508 w 5947441"/>
              <a:gd name="connsiteY134" fmla="*/ 6207405 h 6857998"/>
              <a:gd name="connsiteX135" fmla="*/ 4745808 w 5947441"/>
              <a:gd name="connsiteY135" fmla="*/ 6207405 h 6857998"/>
              <a:gd name="connsiteX136" fmla="*/ 4745808 w 5947441"/>
              <a:gd name="connsiteY136" fmla="*/ 6271204 h 6857998"/>
              <a:gd name="connsiteX137" fmla="*/ 4771934 w 5947441"/>
              <a:gd name="connsiteY137" fmla="*/ 6271204 h 6857998"/>
              <a:gd name="connsiteX138" fmla="*/ 4771934 w 5947441"/>
              <a:gd name="connsiteY138" fmla="*/ 6207405 h 6857998"/>
              <a:gd name="connsiteX139" fmla="*/ 4796157 w 5947441"/>
              <a:gd name="connsiteY139" fmla="*/ 6207405 h 6857998"/>
              <a:gd name="connsiteX140" fmla="*/ 4796157 w 5947441"/>
              <a:gd name="connsiteY140" fmla="*/ 6184755 h 6857998"/>
              <a:gd name="connsiteX141" fmla="*/ 4771934 w 5947441"/>
              <a:gd name="connsiteY141" fmla="*/ 6184755 h 6857998"/>
              <a:gd name="connsiteX142" fmla="*/ 4771934 w 5947441"/>
              <a:gd name="connsiteY142" fmla="*/ 6178531 h 6857998"/>
              <a:gd name="connsiteX143" fmla="*/ 4786814 w 5947441"/>
              <a:gd name="connsiteY143" fmla="*/ 6163835 h 6857998"/>
              <a:gd name="connsiteX144" fmla="*/ 4796157 w 5947441"/>
              <a:gd name="connsiteY144" fmla="*/ 6165390 h 6857998"/>
              <a:gd name="connsiteX145" fmla="*/ 4796157 w 5947441"/>
              <a:gd name="connsiteY145" fmla="*/ 6142395 h 6857998"/>
              <a:gd name="connsiteX146" fmla="*/ 4780585 w 5947441"/>
              <a:gd name="connsiteY146" fmla="*/ 6140494 h 6857998"/>
              <a:gd name="connsiteX147" fmla="*/ 4314342 w 5947441"/>
              <a:gd name="connsiteY147" fmla="*/ 5948845 h 6857998"/>
              <a:gd name="connsiteX148" fmla="*/ 4353322 w 5947441"/>
              <a:gd name="connsiteY148" fmla="*/ 5975334 h 6857998"/>
              <a:gd name="connsiteX149" fmla="*/ 4273784 w 5947441"/>
              <a:gd name="connsiteY149" fmla="*/ 5975334 h 6857998"/>
              <a:gd name="connsiteX150" fmla="*/ 4314342 w 5947441"/>
              <a:gd name="connsiteY150" fmla="*/ 5948845 h 6857998"/>
              <a:gd name="connsiteX151" fmla="*/ 4314018 w 5947441"/>
              <a:gd name="connsiteY151" fmla="*/ 5896018 h 6857998"/>
              <a:gd name="connsiteX152" fmla="*/ 4213801 w 5947441"/>
              <a:gd name="connsiteY152" fmla="*/ 5997928 h 6857998"/>
              <a:gd name="connsiteX153" fmla="*/ 4314342 w 5947441"/>
              <a:gd name="connsiteY153" fmla="*/ 6098568 h 6857998"/>
              <a:gd name="connsiteX154" fmla="*/ 4390755 w 5947441"/>
              <a:gd name="connsiteY154" fmla="*/ 6069221 h 6857998"/>
              <a:gd name="connsiteX155" fmla="*/ 4353830 w 5947441"/>
              <a:gd name="connsiteY155" fmla="*/ 6032391 h 6857998"/>
              <a:gd name="connsiteX156" fmla="*/ 4316581 w 5947441"/>
              <a:gd name="connsiteY156" fmla="*/ 6045670 h 6857998"/>
              <a:gd name="connsiteX157" fmla="*/ 4281813 w 5947441"/>
              <a:gd name="connsiteY157" fmla="*/ 6030954 h 6857998"/>
              <a:gd name="connsiteX158" fmla="*/ 4276855 w 5947441"/>
              <a:gd name="connsiteY158" fmla="*/ 6024995 h 6857998"/>
              <a:gd name="connsiteX159" fmla="*/ 4275790 w 5947441"/>
              <a:gd name="connsiteY159" fmla="*/ 6023401 h 6857998"/>
              <a:gd name="connsiteX160" fmla="*/ 4275769 w 5947441"/>
              <a:gd name="connsiteY160" fmla="*/ 6023401 h 6857998"/>
              <a:gd name="connsiteX161" fmla="*/ 4271627 w 5947441"/>
              <a:gd name="connsiteY161" fmla="*/ 6015789 h 6857998"/>
              <a:gd name="connsiteX162" fmla="*/ 4410369 w 5947441"/>
              <a:gd name="connsiteY162" fmla="*/ 6015789 h 6857998"/>
              <a:gd name="connsiteX163" fmla="*/ 4412656 w 5947441"/>
              <a:gd name="connsiteY163" fmla="*/ 5995059 h 6857998"/>
              <a:gd name="connsiteX164" fmla="*/ 4314018 w 5947441"/>
              <a:gd name="connsiteY164" fmla="*/ 5896018 h 6857998"/>
              <a:gd name="connsiteX165" fmla="*/ 4110956 w 5947441"/>
              <a:gd name="connsiteY165" fmla="*/ 5896007 h 6857998"/>
              <a:gd name="connsiteX166" fmla="*/ 4110956 w 5947441"/>
              <a:gd name="connsiteY166" fmla="*/ 6096898 h 6857998"/>
              <a:gd name="connsiteX167" fmla="*/ 4167419 w 5947441"/>
              <a:gd name="connsiteY167" fmla="*/ 6096898 h 6857998"/>
              <a:gd name="connsiteX168" fmla="*/ 4167419 w 5947441"/>
              <a:gd name="connsiteY168" fmla="*/ 5947559 h 6857998"/>
              <a:gd name="connsiteX169" fmla="*/ 4212811 w 5947441"/>
              <a:gd name="connsiteY169" fmla="*/ 5947559 h 6857998"/>
              <a:gd name="connsiteX170" fmla="*/ 4212811 w 5947441"/>
              <a:gd name="connsiteY170" fmla="*/ 5896007 h 6857998"/>
              <a:gd name="connsiteX171" fmla="*/ 4529422 w 5947441"/>
              <a:gd name="connsiteY171" fmla="*/ 5895985 h 6857998"/>
              <a:gd name="connsiteX172" fmla="*/ 4528470 w 5947441"/>
              <a:gd name="connsiteY172" fmla="*/ 5896050 h 6857998"/>
              <a:gd name="connsiteX173" fmla="*/ 4428372 w 5947441"/>
              <a:gd name="connsiteY173" fmla="*/ 5996690 h 6857998"/>
              <a:gd name="connsiteX174" fmla="*/ 4529811 w 5947441"/>
              <a:gd name="connsiteY174" fmla="*/ 6098600 h 6857998"/>
              <a:gd name="connsiteX175" fmla="*/ 4609549 w 5947441"/>
              <a:gd name="connsiteY175" fmla="*/ 6061403 h 6857998"/>
              <a:gd name="connsiteX176" fmla="*/ 4613733 w 5947441"/>
              <a:gd name="connsiteY176" fmla="*/ 6056497 h 6857998"/>
              <a:gd name="connsiteX177" fmla="*/ 4577722 w 5947441"/>
              <a:gd name="connsiteY177" fmla="*/ 6020456 h 6857998"/>
              <a:gd name="connsiteX178" fmla="*/ 4572624 w 5947441"/>
              <a:gd name="connsiteY178" fmla="*/ 6025594 h 6857998"/>
              <a:gd name="connsiteX179" fmla="*/ 4530741 w 5947441"/>
              <a:gd name="connsiteY179" fmla="*/ 6045762 h 6857998"/>
              <a:gd name="connsiteX180" fmla="*/ 4484846 w 5947441"/>
              <a:gd name="connsiteY180" fmla="*/ 5997333 h 6857998"/>
              <a:gd name="connsiteX181" fmla="*/ 4529611 w 5947441"/>
              <a:gd name="connsiteY181" fmla="*/ 5948855 h 6857998"/>
              <a:gd name="connsiteX182" fmla="*/ 4530573 w 5947441"/>
              <a:gd name="connsiteY182" fmla="*/ 5948790 h 6857998"/>
              <a:gd name="connsiteX183" fmla="*/ 4572602 w 5947441"/>
              <a:gd name="connsiteY183" fmla="*/ 5968948 h 6857998"/>
              <a:gd name="connsiteX184" fmla="*/ 4577700 w 5947441"/>
              <a:gd name="connsiteY184" fmla="*/ 5974064 h 6857998"/>
              <a:gd name="connsiteX185" fmla="*/ 4613733 w 5947441"/>
              <a:gd name="connsiteY185" fmla="*/ 5938061 h 6857998"/>
              <a:gd name="connsiteX186" fmla="*/ 4609538 w 5947441"/>
              <a:gd name="connsiteY186" fmla="*/ 5933145 h 6857998"/>
              <a:gd name="connsiteX187" fmla="*/ 4529422 w 5947441"/>
              <a:gd name="connsiteY187" fmla="*/ 5895985 h 6857998"/>
              <a:gd name="connsiteX188" fmla="*/ 3912831 w 5947441"/>
              <a:gd name="connsiteY188" fmla="*/ 5863028 h 6857998"/>
              <a:gd name="connsiteX189" fmla="*/ 3912831 w 5947441"/>
              <a:gd name="connsiteY189" fmla="*/ 5990061 h 6857998"/>
              <a:gd name="connsiteX190" fmla="*/ 3911858 w 5947441"/>
              <a:gd name="connsiteY190" fmla="*/ 6004922 h 6857998"/>
              <a:gd name="connsiteX191" fmla="*/ 3911858 w 5947441"/>
              <a:gd name="connsiteY191" fmla="*/ 6004922 h 6857998"/>
              <a:gd name="connsiteX192" fmla="*/ 3911858 w 5947441"/>
              <a:gd name="connsiteY192" fmla="*/ 6004923 h 6857998"/>
              <a:gd name="connsiteX193" fmla="*/ 3769924 w 5947441"/>
              <a:gd name="connsiteY193" fmla="*/ 5863087 h 6857998"/>
              <a:gd name="connsiteX194" fmla="*/ 3769924 w 5947441"/>
              <a:gd name="connsiteY194" fmla="*/ 5990060 h 6857998"/>
              <a:gd name="connsiteX195" fmla="*/ 3787489 w 5947441"/>
              <a:gd name="connsiteY195" fmla="*/ 6058013 h 6857998"/>
              <a:gd name="connsiteX196" fmla="*/ 3871536 w 5947441"/>
              <a:gd name="connsiteY196" fmla="*/ 6098501 h 6857998"/>
              <a:gd name="connsiteX197" fmla="*/ 3955583 w 5947441"/>
              <a:gd name="connsiteY197" fmla="*/ 6058013 h 6857998"/>
              <a:gd name="connsiteX198" fmla="*/ 3959335 w 5947441"/>
              <a:gd name="connsiteY198" fmla="*/ 6052367 h 6857998"/>
              <a:gd name="connsiteX199" fmla="*/ 3959334 w 5947441"/>
              <a:gd name="connsiteY199" fmla="*/ 6052365 h 6857998"/>
              <a:gd name="connsiteX200" fmla="*/ 3959336 w 5947441"/>
              <a:gd name="connsiteY200" fmla="*/ 6052367 h 6857998"/>
              <a:gd name="connsiteX201" fmla="*/ 3973148 w 5947441"/>
              <a:gd name="connsiteY201" fmla="*/ 5990060 h 6857998"/>
              <a:gd name="connsiteX202" fmla="*/ 3973148 w 5947441"/>
              <a:gd name="connsiteY202" fmla="*/ 5863028 h 6857998"/>
              <a:gd name="connsiteX203" fmla="*/ 4056543 w 5947441"/>
              <a:gd name="connsiteY203" fmla="*/ 5839377 h 6857998"/>
              <a:gd name="connsiteX204" fmla="*/ 4000068 w 5947441"/>
              <a:gd name="connsiteY204" fmla="*/ 5896018 h 6857998"/>
              <a:gd name="connsiteX205" fmla="*/ 4000068 w 5947441"/>
              <a:gd name="connsiteY205" fmla="*/ 6096899 h 6857998"/>
              <a:gd name="connsiteX206" fmla="*/ 4056543 w 5947441"/>
              <a:gd name="connsiteY206" fmla="*/ 6096899 h 6857998"/>
              <a:gd name="connsiteX207" fmla="*/ 4056543 w 5947441"/>
              <a:gd name="connsiteY207" fmla="*/ 5947559 h 6857998"/>
              <a:gd name="connsiteX208" fmla="*/ 4093208 w 5947441"/>
              <a:gd name="connsiteY208" fmla="*/ 5947559 h 6857998"/>
              <a:gd name="connsiteX209" fmla="*/ 4093208 w 5947441"/>
              <a:gd name="connsiteY209" fmla="*/ 5896008 h 6857998"/>
              <a:gd name="connsiteX210" fmla="*/ 4056543 w 5947441"/>
              <a:gd name="connsiteY210" fmla="*/ 5896008 h 6857998"/>
              <a:gd name="connsiteX211" fmla="*/ 4690438 w 5947441"/>
              <a:gd name="connsiteY211" fmla="*/ 5839296 h 6857998"/>
              <a:gd name="connsiteX212" fmla="*/ 4633974 w 5947441"/>
              <a:gd name="connsiteY212" fmla="*/ 5896019 h 6857998"/>
              <a:gd name="connsiteX213" fmla="*/ 4633974 w 5947441"/>
              <a:gd name="connsiteY213" fmla="*/ 6096898 h 6857998"/>
              <a:gd name="connsiteX214" fmla="*/ 4690438 w 5947441"/>
              <a:gd name="connsiteY214" fmla="*/ 6096898 h 6857998"/>
              <a:gd name="connsiteX215" fmla="*/ 4690438 w 5947441"/>
              <a:gd name="connsiteY215" fmla="*/ 5996167 h 6857998"/>
              <a:gd name="connsiteX216" fmla="*/ 4719194 w 5947441"/>
              <a:gd name="connsiteY216" fmla="*/ 5948996 h 6857998"/>
              <a:gd name="connsiteX217" fmla="*/ 4748594 w 5947441"/>
              <a:gd name="connsiteY217" fmla="*/ 5995529 h 6857998"/>
              <a:gd name="connsiteX218" fmla="*/ 4748594 w 5947441"/>
              <a:gd name="connsiteY218" fmla="*/ 6096898 h 6857998"/>
              <a:gd name="connsiteX219" fmla="*/ 4805057 w 5947441"/>
              <a:gd name="connsiteY219" fmla="*/ 6096898 h 6857998"/>
              <a:gd name="connsiteX220" fmla="*/ 4805057 w 5947441"/>
              <a:gd name="connsiteY220" fmla="*/ 5986296 h 6857998"/>
              <a:gd name="connsiteX221" fmla="*/ 4789514 w 5947441"/>
              <a:gd name="connsiteY221" fmla="*/ 5925917 h 6857998"/>
              <a:gd name="connsiteX222" fmla="*/ 4729407 w 5947441"/>
              <a:gd name="connsiteY222" fmla="*/ 5896164 h 6857998"/>
              <a:gd name="connsiteX223" fmla="*/ 4690438 w 5947441"/>
              <a:gd name="connsiteY223" fmla="*/ 5907142 h 6857998"/>
              <a:gd name="connsiteX224" fmla="*/ 4889213 w 5947441"/>
              <a:gd name="connsiteY224" fmla="*/ 5839295 h 6857998"/>
              <a:gd name="connsiteX225" fmla="*/ 4832749 w 5947441"/>
              <a:gd name="connsiteY225" fmla="*/ 5896018 h 6857998"/>
              <a:gd name="connsiteX226" fmla="*/ 4832749 w 5947441"/>
              <a:gd name="connsiteY226" fmla="*/ 6096897 h 6857998"/>
              <a:gd name="connsiteX227" fmla="*/ 4889213 w 5947441"/>
              <a:gd name="connsiteY227" fmla="*/ 6096897 h 6857998"/>
              <a:gd name="connsiteX228" fmla="*/ 4889213 w 5947441"/>
              <a:gd name="connsiteY228" fmla="*/ 5947483 h 6857998"/>
              <a:gd name="connsiteX229" fmla="*/ 4925889 w 5947441"/>
              <a:gd name="connsiteY229" fmla="*/ 5947483 h 6857998"/>
              <a:gd name="connsiteX230" fmla="*/ 4925889 w 5947441"/>
              <a:gd name="connsiteY230" fmla="*/ 5895931 h 6857998"/>
              <a:gd name="connsiteX231" fmla="*/ 4889213 w 5947441"/>
              <a:gd name="connsiteY231" fmla="*/ 5895931 h 6857998"/>
              <a:gd name="connsiteX232" fmla="*/ 0 w 5947441"/>
              <a:gd name="connsiteY232" fmla="*/ 0 h 6857998"/>
              <a:gd name="connsiteX233" fmla="*/ 5947441 w 5947441"/>
              <a:gd name="connsiteY233" fmla="*/ 0 h 6857998"/>
              <a:gd name="connsiteX234" fmla="*/ 5947441 w 5947441"/>
              <a:gd name="connsiteY234" fmla="*/ 6857998 h 6857998"/>
              <a:gd name="connsiteX235" fmla="*/ 0 w 5947441"/>
              <a:gd name="connsiteY23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5947441" h="6857998">
                <a:moveTo>
                  <a:pt x="4676089" y="6207232"/>
                </a:moveTo>
                <a:cubicBezTo>
                  <a:pt x="4686990" y="6207232"/>
                  <a:pt x="4695295" y="6215704"/>
                  <a:pt x="4695295" y="6227979"/>
                </a:cubicBezTo>
                <a:cubicBezTo>
                  <a:pt x="4695295" y="6240255"/>
                  <a:pt x="4686990" y="6248726"/>
                  <a:pt x="4676089" y="6248726"/>
                </a:cubicBezTo>
                <a:cubicBezTo>
                  <a:pt x="4665190" y="6248726"/>
                  <a:pt x="4656884" y="6240255"/>
                  <a:pt x="4656884" y="6227979"/>
                </a:cubicBezTo>
                <a:cubicBezTo>
                  <a:pt x="4656884" y="6215704"/>
                  <a:pt x="4665190" y="6207232"/>
                  <a:pt x="4676089" y="6207232"/>
                </a:cubicBezTo>
                <a:close/>
                <a:moveTo>
                  <a:pt x="5109116" y="6206540"/>
                </a:moveTo>
                <a:cubicBezTo>
                  <a:pt x="5120881" y="6206540"/>
                  <a:pt x="5128838" y="6215531"/>
                  <a:pt x="5128838" y="6227979"/>
                </a:cubicBezTo>
                <a:cubicBezTo>
                  <a:pt x="5128838" y="6240428"/>
                  <a:pt x="5120881" y="6249419"/>
                  <a:pt x="5109116" y="6249419"/>
                </a:cubicBezTo>
                <a:cubicBezTo>
                  <a:pt x="5097350" y="6249419"/>
                  <a:pt x="5089392" y="6240428"/>
                  <a:pt x="5089392" y="6227979"/>
                </a:cubicBezTo>
                <a:cubicBezTo>
                  <a:pt x="5089392" y="6215531"/>
                  <a:pt x="5097350" y="6206540"/>
                  <a:pt x="5109116" y="6206540"/>
                </a:cubicBezTo>
                <a:close/>
                <a:moveTo>
                  <a:pt x="4405345" y="6206540"/>
                </a:moveTo>
                <a:cubicBezTo>
                  <a:pt x="4417110" y="6206540"/>
                  <a:pt x="4425068" y="6215531"/>
                  <a:pt x="4425068" y="6227979"/>
                </a:cubicBezTo>
                <a:cubicBezTo>
                  <a:pt x="4425068" y="6240428"/>
                  <a:pt x="4417110" y="6249419"/>
                  <a:pt x="4405345" y="6249419"/>
                </a:cubicBezTo>
                <a:cubicBezTo>
                  <a:pt x="4393579" y="6249419"/>
                  <a:pt x="4385621" y="6240428"/>
                  <a:pt x="4385621" y="6227979"/>
                </a:cubicBezTo>
                <a:cubicBezTo>
                  <a:pt x="4385621" y="6215531"/>
                  <a:pt x="4393579" y="6206540"/>
                  <a:pt x="4405345" y="6206540"/>
                </a:cubicBezTo>
                <a:close/>
                <a:moveTo>
                  <a:pt x="5008256" y="6204119"/>
                </a:moveTo>
                <a:cubicBezTo>
                  <a:pt x="5015868" y="6204119"/>
                  <a:pt x="5023828" y="6207923"/>
                  <a:pt x="5026076" y="6217087"/>
                </a:cubicBezTo>
                <a:lnTo>
                  <a:pt x="4989397" y="6217087"/>
                </a:lnTo>
                <a:cubicBezTo>
                  <a:pt x="4991646" y="6207577"/>
                  <a:pt x="5000643" y="6204119"/>
                  <a:pt x="5008256" y="6204119"/>
                </a:cubicBezTo>
                <a:close/>
                <a:moveTo>
                  <a:pt x="4304485" y="6204119"/>
                </a:moveTo>
                <a:cubicBezTo>
                  <a:pt x="4312097" y="6204119"/>
                  <a:pt x="4320057" y="6207923"/>
                  <a:pt x="4322305" y="6217087"/>
                </a:cubicBezTo>
                <a:lnTo>
                  <a:pt x="4285626" y="6217087"/>
                </a:lnTo>
                <a:cubicBezTo>
                  <a:pt x="4287875" y="6207577"/>
                  <a:pt x="4296872" y="6204119"/>
                  <a:pt x="4304485" y="6204119"/>
                </a:cubicBezTo>
                <a:close/>
                <a:moveTo>
                  <a:pt x="4470561" y="6184755"/>
                </a:moveTo>
                <a:lnTo>
                  <a:pt x="4470561" y="6271204"/>
                </a:lnTo>
                <a:lnTo>
                  <a:pt x="4496688" y="6271204"/>
                </a:lnTo>
                <a:lnTo>
                  <a:pt x="4496688" y="6207405"/>
                </a:lnTo>
                <a:lnTo>
                  <a:pt x="4525754" y="6207405"/>
                </a:lnTo>
                <a:lnTo>
                  <a:pt x="4525754" y="6184755"/>
                </a:lnTo>
                <a:close/>
                <a:moveTo>
                  <a:pt x="5103232" y="6182853"/>
                </a:moveTo>
                <a:cubicBezTo>
                  <a:pt x="5080568" y="6182853"/>
                  <a:pt x="5063093" y="6203429"/>
                  <a:pt x="5063093" y="6227979"/>
                </a:cubicBezTo>
                <a:cubicBezTo>
                  <a:pt x="5063093" y="6252531"/>
                  <a:pt x="5080568" y="6273104"/>
                  <a:pt x="5103232" y="6273104"/>
                </a:cubicBezTo>
                <a:cubicBezTo>
                  <a:pt x="5114824" y="6273104"/>
                  <a:pt x="5123302" y="6267228"/>
                  <a:pt x="5126764" y="6262559"/>
                </a:cubicBezTo>
                <a:lnTo>
                  <a:pt x="5126764" y="6271204"/>
                </a:lnTo>
                <a:lnTo>
                  <a:pt x="5152889" y="6271204"/>
                </a:lnTo>
                <a:lnTo>
                  <a:pt x="5152889" y="6184755"/>
                </a:lnTo>
                <a:lnTo>
                  <a:pt x="5126764" y="6184755"/>
                </a:lnTo>
                <a:lnTo>
                  <a:pt x="5126764" y="6193400"/>
                </a:lnTo>
                <a:cubicBezTo>
                  <a:pt x="5123302" y="6188732"/>
                  <a:pt x="5114824" y="6182853"/>
                  <a:pt x="5103232" y="6182853"/>
                </a:cubicBezTo>
                <a:close/>
                <a:moveTo>
                  <a:pt x="5008948" y="6182853"/>
                </a:moveTo>
                <a:cubicBezTo>
                  <a:pt x="4982649" y="6182853"/>
                  <a:pt x="4963445" y="6202218"/>
                  <a:pt x="4963445" y="6227979"/>
                </a:cubicBezTo>
                <a:cubicBezTo>
                  <a:pt x="4963445" y="6255816"/>
                  <a:pt x="4984033" y="6273104"/>
                  <a:pt x="5009467" y="6273104"/>
                </a:cubicBezTo>
                <a:cubicBezTo>
                  <a:pt x="5027634" y="6273104"/>
                  <a:pt x="5041993" y="6265498"/>
                  <a:pt x="5050126" y="6254087"/>
                </a:cubicBezTo>
                <a:lnTo>
                  <a:pt x="5030748" y="6239564"/>
                </a:lnTo>
                <a:cubicBezTo>
                  <a:pt x="5027460" y="6244577"/>
                  <a:pt x="5019847" y="6249419"/>
                  <a:pt x="5009813" y="6249419"/>
                </a:cubicBezTo>
                <a:cubicBezTo>
                  <a:pt x="4999951" y="6249419"/>
                  <a:pt x="4990262" y="6244577"/>
                  <a:pt x="4988705" y="6234204"/>
                </a:cubicBezTo>
                <a:lnTo>
                  <a:pt x="5051510" y="6234204"/>
                </a:lnTo>
                <a:cubicBezTo>
                  <a:pt x="5052029" y="6230053"/>
                  <a:pt x="5052029" y="6227288"/>
                  <a:pt x="5052029" y="6225041"/>
                </a:cubicBezTo>
                <a:cubicBezTo>
                  <a:pt x="5052029" y="6197031"/>
                  <a:pt x="5031785" y="6182853"/>
                  <a:pt x="5008948" y="6182853"/>
                </a:cubicBezTo>
                <a:close/>
                <a:moveTo>
                  <a:pt x="4676089" y="6182853"/>
                </a:moveTo>
                <a:cubicBezTo>
                  <a:pt x="4651176" y="6182853"/>
                  <a:pt x="4630587" y="6202564"/>
                  <a:pt x="4630587" y="6227979"/>
                </a:cubicBezTo>
                <a:cubicBezTo>
                  <a:pt x="4630587" y="6253395"/>
                  <a:pt x="4651176" y="6273104"/>
                  <a:pt x="4676089" y="6273104"/>
                </a:cubicBezTo>
                <a:cubicBezTo>
                  <a:pt x="4701004" y="6273104"/>
                  <a:pt x="4721592" y="6253395"/>
                  <a:pt x="4721592" y="6227979"/>
                </a:cubicBezTo>
                <a:cubicBezTo>
                  <a:pt x="4721592" y="6202564"/>
                  <a:pt x="4701004" y="6182853"/>
                  <a:pt x="4676089" y="6182853"/>
                </a:cubicBezTo>
                <a:close/>
                <a:moveTo>
                  <a:pt x="4399461" y="6182853"/>
                </a:moveTo>
                <a:cubicBezTo>
                  <a:pt x="4376797" y="6182853"/>
                  <a:pt x="4359322" y="6203429"/>
                  <a:pt x="4359322" y="6227979"/>
                </a:cubicBezTo>
                <a:cubicBezTo>
                  <a:pt x="4359322" y="6252531"/>
                  <a:pt x="4376797" y="6273104"/>
                  <a:pt x="4399461" y="6273104"/>
                </a:cubicBezTo>
                <a:cubicBezTo>
                  <a:pt x="4411053" y="6273104"/>
                  <a:pt x="4419531" y="6267228"/>
                  <a:pt x="4422991" y="6262559"/>
                </a:cubicBezTo>
                <a:lnTo>
                  <a:pt x="4422991" y="6271204"/>
                </a:lnTo>
                <a:lnTo>
                  <a:pt x="4449118" y="6271204"/>
                </a:lnTo>
                <a:lnTo>
                  <a:pt x="4449118" y="6184755"/>
                </a:lnTo>
                <a:lnTo>
                  <a:pt x="4422991" y="6184755"/>
                </a:lnTo>
                <a:lnTo>
                  <a:pt x="4422991" y="6193400"/>
                </a:lnTo>
                <a:cubicBezTo>
                  <a:pt x="4419531" y="6188732"/>
                  <a:pt x="4411053" y="6182853"/>
                  <a:pt x="4399461" y="6182853"/>
                </a:cubicBezTo>
                <a:close/>
                <a:moveTo>
                  <a:pt x="4305177" y="6182853"/>
                </a:moveTo>
                <a:cubicBezTo>
                  <a:pt x="4278879" y="6182853"/>
                  <a:pt x="4259674" y="6202218"/>
                  <a:pt x="4259674" y="6227979"/>
                </a:cubicBezTo>
                <a:cubicBezTo>
                  <a:pt x="4259674" y="6255816"/>
                  <a:pt x="4280262" y="6273104"/>
                  <a:pt x="4305696" y="6273104"/>
                </a:cubicBezTo>
                <a:cubicBezTo>
                  <a:pt x="4323861" y="6273104"/>
                  <a:pt x="4338222" y="6265498"/>
                  <a:pt x="4346353" y="6254087"/>
                </a:cubicBezTo>
                <a:lnTo>
                  <a:pt x="4326977" y="6239564"/>
                </a:lnTo>
                <a:cubicBezTo>
                  <a:pt x="4323689" y="6244577"/>
                  <a:pt x="4316076" y="6249419"/>
                  <a:pt x="4306042" y="6249419"/>
                </a:cubicBezTo>
                <a:cubicBezTo>
                  <a:pt x="4296179" y="6249419"/>
                  <a:pt x="4286491" y="6244577"/>
                  <a:pt x="4284934" y="6234204"/>
                </a:cubicBezTo>
                <a:lnTo>
                  <a:pt x="4347739" y="6234204"/>
                </a:lnTo>
                <a:cubicBezTo>
                  <a:pt x="4348258" y="6230053"/>
                  <a:pt x="4348258" y="6227288"/>
                  <a:pt x="4348258" y="6225041"/>
                </a:cubicBezTo>
                <a:cubicBezTo>
                  <a:pt x="4348258" y="6197031"/>
                  <a:pt x="4328014" y="6182853"/>
                  <a:pt x="4305177" y="6182853"/>
                </a:cubicBezTo>
                <a:close/>
                <a:moveTo>
                  <a:pt x="5248035" y="6157264"/>
                </a:moveTo>
                <a:lnTo>
                  <a:pt x="5221908" y="6184755"/>
                </a:lnTo>
                <a:lnTo>
                  <a:pt x="5221908" y="6271204"/>
                </a:lnTo>
                <a:lnTo>
                  <a:pt x="5248035" y="6271204"/>
                </a:lnTo>
                <a:lnTo>
                  <a:pt x="5248035" y="6207405"/>
                </a:lnTo>
                <a:lnTo>
                  <a:pt x="5272256" y="6207405"/>
                </a:lnTo>
                <a:lnTo>
                  <a:pt x="5272256" y="6184755"/>
                </a:lnTo>
                <a:lnTo>
                  <a:pt x="5248035" y="6184755"/>
                </a:lnTo>
                <a:close/>
                <a:moveTo>
                  <a:pt x="4566234" y="6157264"/>
                </a:moveTo>
                <a:lnTo>
                  <a:pt x="4540108" y="6184755"/>
                </a:lnTo>
                <a:lnTo>
                  <a:pt x="4540108" y="6271204"/>
                </a:lnTo>
                <a:lnTo>
                  <a:pt x="4566234" y="6271204"/>
                </a:lnTo>
                <a:lnTo>
                  <a:pt x="4566234" y="6207405"/>
                </a:lnTo>
                <a:lnTo>
                  <a:pt x="4590455" y="6207405"/>
                </a:lnTo>
                <a:lnTo>
                  <a:pt x="4590455" y="6184755"/>
                </a:lnTo>
                <a:lnTo>
                  <a:pt x="4566234" y="6184755"/>
                </a:lnTo>
                <a:close/>
                <a:moveTo>
                  <a:pt x="4843725" y="6148448"/>
                </a:moveTo>
                <a:lnTo>
                  <a:pt x="4843725" y="6271204"/>
                </a:lnTo>
                <a:lnTo>
                  <a:pt x="4871235" y="6271204"/>
                </a:lnTo>
                <a:lnTo>
                  <a:pt x="4871235" y="6222620"/>
                </a:lnTo>
                <a:lnTo>
                  <a:pt x="4920717" y="6222620"/>
                </a:lnTo>
                <a:lnTo>
                  <a:pt x="4920717" y="6271204"/>
                </a:lnTo>
                <a:lnTo>
                  <a:pt x="4948226" y="6271204"/>
                </a:lnTo>
                <a:lnTo>
                  <a:pt x="4948226" y="6148448"/>
                </a:lnTo>
                <a:lnTo>
                  <a:pt x="4920717" y="6148448"/>
                </a:lnTo>
                <a:lnTo>
                  <a:pt x="4920717" y="6196512"/>
                </a:lnTo>
                <a:lnTo>
                  <a:pt x="4871235" y="6196512"/>
                </a:lnTo>
                <a:lnTo>
                  <a:pt x="4871235" y="6148448"/>
                </a:lnTo>
                <a:close/>
                <a:moveTo>
                  <a:pt x="4139954" y="6148448"/>
                </a:moveTo>
                <a:lnTo>
                  <a:pt x="4139954" y="6232862"/>
                </a:lnTo>
                <a:lnTo>
                  <a:pt x="4167462" y="6260352"/>
                </a:lnTo>
                <a:lnTo>
                  <a:pt x="4167462" y="6222620"/>
                </a:lnTo>
                <a:lnTo>
                  <a:pt x="4216946" y="6222620"/>
                </a:lnTo>
                <a:lnTo>
                  <a:pt x="4216946" y="6271204"/>
                </a:lnTo>
                <a:lnTo>
                  <a:pt x="4244455" y="6271204"/>
                </a:lnTo>
                <a:lnTo>
                  <a:pt x="4244455" y="6148448"/>
                </a:lnTo>
                <a:lnTo>
                  <a:pt x="4216946" y="6148448"/>
                </a:lnTo>
                <a:lnTo>
                  <a:pt x="4216946" y="6196512"/>
                </a:lnTo>
                <a:lnTo>
                  <a:pt x="4167462" y="6196512"/>
                </a:lnTo>
                <a:lnTo>
                  <a:pt x="4167462" y="6148448"/>
                </a:lnTo>
                <a:close/>
                <a:moveTo>
                  <a:pt x="5285572" y="6141531"/>
                </a:moveTo>
                <a:lnTo>
                  <a:pt x="5285572" y="6271204"/>
                </a:lnTo>
                <a:lnTo>
                  <a:pt x="5311699" y="6271204"/>
                </a:lnTo>
                <a:lnTo>
                  <a:pt x="5311699" y="6229189"/>
                </a:lnTo>
                <a:cubicBezTo>
                  <a:pt x="5311699" y="6213630"/>
                  <a:pt x="5319310" y="6206540"/>
                  <a:pt x="5329173" y="6206540"/>
                </a:cubicBezTo>
                <a:cubicBezTo>
                  <a:pt x="5338516" y="6206540"/>
                  <a:pt x="5343186" y="6213802"/>
                  <a:pt x="5343186" y="6225731"/>
                </a:cubicBezTo>
                <a:lnTo>
                  <a:pt x="5343186" y="6271204"/>
                </a:lnTo>
                <a:lnTo>
                  <a:pt x="5369312" y="6271204"/>
                </a:lnTo>
                <a:lnTo>
                  <a:pt x="5369312" y="6221237"/>
                </a:lnTo>
                <a:cubicBezTo>
                  <a:pt x="5369312" y="6198586"/>
                  <a:pt x="5357028" y="6182853"/>
                  <a:pt x="5335747" y="6182853"/>
                </a:cubicBezTo>
                <a:cubicBezTo>
                  <a:pt x="5324502" y="6182853"/>
                  <a:pt x="5315850" y="6187695"/>
                  <a:pt x="5311699" y="6193574"/>
                </a:cubicBezTo>
                <a:lnTo>
                  <a:pt x="5311699" y="6141531"/>
                </a:lnTo>
                <a:close/>
                <a:moveTo>
                  <a:pt x="5174334" y="6141531"/>
                </a:moveTo>
                <a:lnTo>
                  <a:pt x="5174334" y="6271204"/>
                </a:lnTo>
                <a:lnTo>
                  <a:pt x="5200460" y="6271204"/>
                </a:lnTo>
                <a:lnTo>
                  <a:pt x="5200460" y="6141531"/>
                </a:lnTo>
                <a:close/>
                <a:moveTo>
                  <a:pt x="4780585" y="6140494"/>
                </a:moveTo>
                <a:cubicBezTo>
                  <a:pt x="4761380" y="6140494"/>
                  <a:pt x="4745808" y="6153288"/>
                  <a:pt x="4745808" y="6175247"/>
                </a:cubicBezTo>
                <a:lnTo>
                  <a:pt x="4745808" y="6184755"/>
                </a:lnTo>
                <a:lnTo>
                  <a:pt x="4728508" y="6184755"/>
                </a:lnTo>
                <a:lnTo>
                  <a:pt x="4728508" y="6207405"/>
                </a:lnTo>
                <a:lnTo>
                  <a:pt x="4745808" y="6207405"/>
                </a:lnTo>
                <a:lnTo>
                  <a:pt x="4745808" y="6271204"/>
                </a:lnTo>
                <a:lnTo>
                  <a:pt x="4771934" y="6271204"/>
                </a:lnTo>
                <a:lnTo>
                  <a:pt x="4771934" y="6207405"/>
                </a:lnTo>
                <a:lnTo>
                  <a:pt x="4796157" y="6207405"/>
                </a:lnTo>
                <a:lnTo>
                  <a:pt x="4796157" y="6184755"/>
                </a:lnTo>
                <a:lnTo>
                  <a:pt x="4771934" y="6184755"/>
                </a:lnTo>
                <a:lnTo>
                  <a:pt x="4771934" y="6178531"/>
                </a:lnTo>
                <a:cubicBezTo>
                  <a:pt x="4771934" y="6168157"/>
                  <a:pt x="4776260" y="6163835"/>
                  <a:pt x="4786814" y="6163835"/>
                </a:cubicBezTo>
                <a:cubicBezTo>
                  <a:pt x="4790620" y="6163835"/>
                  <a:pt x="4793388" y="6164354"/>
                  <a:pt x="4796157" y="6165390"/>
                </a:cubicBezTo>
                <a:lnTo>
                  <a:pt x="4796157" y="6142395"/>
                </a:lnTo>
                <a:cubicBezTo>
                  <a:pt x="4792350" y="6141185"/>
                  <a:pt x="4787505" y="6140494"/>
                  <a:pt x="4780585" y="6140494"/>
                </a:cubicBezTo>
                <a:close/>
                <a:moveTo>
                  <a:pt x="4314342" y="5948845"/>
                </a:moveTo>
                <a:cubicBezTo>
                  <a:pt x="4333989" y="5948845"/>
                  <a:pt x="4347629" y="5958197"/>
                  <a:pt x="4353322" y="5975334"/>
                </a:cubicBezTo>
                <a:lnTo>
                  <a:pt x="4273784" y="5975334"/>
                </a:lnTo>
                <a:cubicBezTo>
                  <a:pt x="4283099" y="5952465"/>
                  <a:pt x="4302832" y="5948845"/>
                  <a:pt x="4314342" y="5948845"/>
                </a:cubicBezTo>
                <a:close/>
                <a:moveTo>
                  <a:pt x="4314018" y="5896018"/>
                </a:moveTo>
                <a:cubicBezTo>
                  <a:pt x="4251288" y="5896018"/>
                  <a:pt x="4213801" y="5947840"/>
                  <a:pt x="4213801" y="5997928"/>
                </a:cubicBezTo>
                <a:cubicBezTo>
                  <a:pt x="4213801" y="6054363"/>
                  <a:pt x="4257965" y="6098568"/>
                  <a:pt x="4314342" y="6098568"/>
                </a:cubicBezTo>
                <a:cubicBezTo>
                  <a:pt x="4343596" y="6098568"/>
                  <a:pt x="4370860" y="6087984"/>
                  <a:pt x="4390755" y="6069221"/>
                </a:cubicBezTo>
                <a:lnTo>
                  <a:pt x="4353830" y="6032391"/>
                </a:lnTo>
                <a:cubicBezTo>
                  <a:pt x="4342433" y="6041921"/>
                  <a:pt x="4332286" y="6045379"/>
                  <a:pt x="4316581" y="6045670"/>
                </a:cubicBezTo>
                <a:cubicBezTo>
                  <a:pt x="4302940" y="6045541"/>
                  <a:pt x="4290657" y="6039928"/>
                  <a:pt x="4281813" y="6030954"/>
                </a:cubicBezTo>
                <a:cubicBezTo>
                  <a:pt x="4279996" y="6029101"/>
                  <a:pt x="4278358" y="6027107"/>
                  <a:pt x="4276855" y="6024995"/>
                </a:cubicBezTo>
                <a:cubicBezTo>
                  <a:pt x="4276509" y="6024460"/>
                  <a:pt x="4276103" y="6023925"/>
                  <a:pt x="4275790" y="6023401"/>
                </a:cubicBezTo>
                <a:lnTo>
                  <a:pt x="4275769" y="6023401"/>
                </a:lnTo>
                <a:cubicBezTo>
                  <a:pt x="4274184" y="6020986"/>
                  <a:pt x="4272757" y="6018463"/>
                  <a:pt x="4271627" y="6015789"/>
                </a:cubicBezTo>
                <a:lnTo>
                  <a:pt x="4410369" y="6015789"/>
                </a:lnTo>
                <a:cubicBezTo>
                  <a:pt x="4411456" y="6010581"/>
                  <a:pt x="4412656" y="6003438"/>
                  <a:pt x="4412656" y="5995059"/>
                </a:cubicBezTo>
                <a:cubicBezTo>
                  <a:pt x="4412656" y="5946376"/>
                  <a:pt x="4375769" y="5896018"/>
                  <a:pt x="4314018" y="5896018"/>
                </a:cubicBezTo>
                <a:close/>
                <a:moveTo>
                  <a:pt x="4110956" y="5896007"/>
                </a:moveTo>
                <a:lnTo>
                  <a:pt x="4110956" y="6096898"/>
                </a:lnTo>
                <a:lnTo>
                  <a:pt x="4167419" y="6096898"/>
                </a:lnTo>
                <a:lnTo>
                  <a:pt x="4167419" y="5947559"/>
                </a:lnTo>
                <a:lnTo>
                  <a:pt x="4212811" y="5947559"/>
                </a:lnTo>
                <a:lnTo>
                  <a:pt x="4212811" y="5896007"/>
                </a:lnTo>
                <a:close/>
                <a:moveTo>
                  <a:pt x="4529422" y="5895985"/>
                </a:moveTo>
                <a:lnTo>
                  <a:pt x="4528470" y="5896050"/>
                </a:lnTo>
                <a:cubicBezTo>
                  <a:pt x="4473201" y="5896471"/>
                  <a:pt x="4428372" y="5941448"/>
                  <a:pt x="4428372" y="5996690"/>
                </a:cubicBezTo>
                <a:cubicBezTo>
                  <a:pt x="4428372" y="6059636"/>
                  <a:pt x="4480905" y="6098600"/>
                  <a:pt x="4529811" y="6098600"/>
                </a:cubicBezTo>
                <a:cubicBezTo>
                  <a:pt x="4561611" y="6098600"/>
                  <a:pt x="4588432" y="6086087"/>
                  <a:pt x="4609549" y="6061403"/>
                </a:cubicBezTo>
                <a:lnTo>
                  <a:pt x="4613733" y="6056497"/>
                </a:lnTo>
                <a:lnTo>
                  <a:pt x="4577722" y="6020456"/>
                </a:lnTo>
                <a:lnTo>
                  <a:pt x="4572624" y="6025594"/>
                </a:lnTo>
                <a:cubicBezTo>
                  <a:pt x="4556826" y="6041359"/>
                  <a:pt x="4549825" y="6045638"/>
                  <a:pt x="4530741" y="6045762"/>
                </a:cubicBezTo>
                <a:cubicBezTo>
                  <a:pt x="4504574" y="6045540"/>
                  <a:pt x="4484846" y="6024719"/>
                  <a:pt x="4484846" y="5997333"/>
                </a:cubicBezTo>
                <a:cubicBezTo>
                  <a:pt x="4484846" y="5964053"/>
                  <a:pt x="4508056" y="5948877"/>
                  <a:pt x="4529611" y="5948855"/>
                </a:cubicBezTo>
                <a:lnTo>
                  <a:pt x="4530573" y="5948790"/>
                </a:lnTo>
                <a:cubicBezTo>
                  <a:pt x="4549771" y="5948899"/>
                  <a:pt x="4556918" y="5953285"/>
                  <a:pt x="4572602" y="5968948"/>
                </a:cubicBezTo>
                <a:lnTo>
                  <a:pt x="4577700" y="5974064"/>
                </a:lnTo>
                <a:lnTo>
                  <a:pt x="4613733" y="5938061"/>
                </a:lnTo>
                <a:lnTo>
                  <a:pt x="4609538" y="5933145"/>
                </a:lnTo>
                <a:cubicBezTo>
                  <a:pt x="4588334" y="5908347"/>
                  <a:pt x="4561314" y="5895807"/>
                  <a:pt x="4529422" y="5895985"/>
                </a:cubicBezTo>
                <a:close/>
                <a:moveTo>
                  <a:pt x="3912831" y="5863028"/>
                </a:moveTo>
                <a:lnTo>
                  <a:pt x="3912831" y="5990061"/>
                </a:lnTo>
                <a:cubicBezTo>
                  <a:pt x="3912831" y="5994795"/>
                  <a:pt x="3912526" y="5999870"/>
                  <a:pt x="3911858" y="6004922"/>
                </a:cubicBezTo>
                <a:lnTo>
                  <a:pt x="3911858" y="6004922"/>
                </a:lnTo>
                <a:lnTo>
                  <a:pt x="3911858" y="6004923"/>
                </a:lnTo>
                <a:lnTo>
                  <a:pt x="3769924" y="5863087"/>
                </a:lnTo>
                <a:lnTo>
                  <a:pt x="3769924" y="5990060"/>
                </a:lnTo>
                <a:cubicBezTo>
                  <a:pt x="3769924" y="6026733"/>
                  <a:pt x="3779406" y="6047268"/>
                  <a:pt x="3787489" y="6058013"/>
                </a:cubicBezTo>
                <a:cubicBezTo>
                  <a:pt x="3802091" y="6077587"/>
                  <a:pt x="3831837" y="6098501"/>
                  <a:pt x="3871536" y="6098501"/>
                </a:cubicBezTo>
                <a:cubicBezTo>
                  <a:pt x="3911235" y="6098501"/>
                  <a:pt x="3940980" y="6077587"/>
                  <a:pt x="3955583" y="6058013"/>
                </a:cubicBezTo>
                <a:cubicBezTo>
                  <a:pt x="3956814" y="6056376"/>
                  <a:pt x="3958077" y="6054481"/>
                  <a:pt x="3959335" y="6052367"/>
                </a:cubicBezTo>
                <a:lnTo>
                  <a:pt x="3959334" y="6052365"/>
                </a:lnTo>
                <a:lnTo>
                  <a:pt x="3959336" y="6052367"/>
                </a:lnTo>
                <a:cubicBezTo>
                  <a:pt x="3966334" y="6040605"/>
                  <a:pt x="3973148" y="6021145"/>
                  <a:pt x="3973148" y="5990060"/>
                </a:cubicBezTo>
                <a:lnTo>
                  <a:pt x="3973148" y="5863028"/>
                </a:lnTo>
                <a:close/>
                <a:moveTo>
                  <a:pt x="4056543" y="5839377"/>
                </a:moveTo>
                <a:lnTo>
                  <a:pt x="4000068" y="5896018"/>
                </a:lnTo>
                <a:lnTo>
                  <a:pt x="4000068" y="6096899"/>
                </a:lnTo>
                <a:lnTo>
                  <a:pt x="4056543" y="6096899"/>
                </a:lnTo>
                <a:lnTo>
                  <a:pt x="4056543" y="5947559"/>
                </a:lnTo>
                <a:lnTo>
                  <a:pt x="4093208" y="5947559"/>
                </a:lnTo>
                <a:lnTo>
                  <a:pt x="4093208" y="5896008"/>
                </a:lnTo>
                <a:lnTo>
                  <a:pt x="4056543" y="5896008"/>
                </a:lnTo>
                <a:close/>
                <a:moveTo>
                  <a:pt x="4690438" y="5839296"/>
                </a:moveTo>
                <a:lnTo>
                  <a:pt x="4633974" y="5896019"/>
                </a:lnTo>
                <a:cubicBezTo>
                  <a:pt x="4633974" y="5896019"/>
                  <a:pt x="4633499" y="6090529"/>
                  <a:pt x="4633974" y="6096898"/>
                </a:cubicBezTo>
                <a:lnTo>
                  <a:pt x="4690438" y="6096898"/>
                </a:lnTo>
                <a:lnTo>
                  <a:pt x="4690438" y="5996167"/>
                </a:lnTo>
                <a:cubicBezTo>
                  <a:pt x="4690438" y="5963103"/>
                  <a:pt x="4699029" y="5948996"/>
                  <a:pt x="4719194" y="5948996"/>
                </a:cubicBezTo>
                <a:cubicBezTo>
                  <a:pt x="4740349" y="5948996"/>
                  <a:pt x="4748594" y="5962038"/>
                  <a:pt x="4748594" y="5995529"/>
                </a:cubicBezTo>
                <a:lnTo>
                  <a:pt x="4748594" y="6096898"/>
                </a:lnTo>
                <a:lnTo>
                  <a:pt x="4805057" y="6096898"/>
                </a:lnTo>
                <a:lnTo>
                  <a:pt x="4805057" y="5986296"/>
                </a:lnTo>
                <a:cubicBezTo>
                  <a:pt x="4805057" y="5972092"/>
                  <a:pt x="4805057" y="5945647"/>
                  <a:pt x="4789514" y="5925917"/>
                </a:cubicBezTo>
                <a:cubicBezTo>
                  <a:pt x="4775522" y="5908120"/>
                  <a:pt x="4751373" y="5896164"/>
                  <a:pt x="4729407" y="5896164"/>
                </a:cubicBezTo>
                <a:cubicBezTo>
                  <a:pt x="4714891" y="5896164"/>
                  <a:pt x="4701824" y="5899849"/>
                  <a:pt x="4690438" y="5907142"/>
                </a:cubicBezTo>
                <a:close/>
                <a:moveTo>
                  <a:pt x="4889213" y="5839295"/>
                </a:moveTo>
                <a:lnTo>
                  <a:pt x="4832749" y="5896018"/>
                </a:lnTo>
                <a:lnTo>
                  <a:pt x="4832749" y="6096897"/>
                </a:lnTo>
                <a:lnTo>
                  <a:pt x="4889213" y="6096897"/>
                </a:lnTo>
                <a:lnTo>
                  <a:pt x="4889213" y="5947483"/>
                </a:lnTo>
                <a:lnTo>
                  <a:pt x="4925889" y="5947483"/>
                </a:lnTo>
                <a:lnTo>
                  <a:pt x="4925889" y="5895931"/>
                </a:lnTo>
                <a:lnTo>
                  <a:pt x="4889213" y="5895931"/>
                </a:lnTo>
                <a:close/>
                <a:moveTo>
                  <a:pt x="0" y="0"/>
                </a:moveTo>
                <a:lnTo>
                  <a:pt x="5947441" y="0"/>
                </a:lnTo>
                <a:lnTo>
                  <a:pt x="5947441" y="6857998"/>
                </a:lnTo>
                <a:lnTo>
                  <a:pt x="0" y="6857998"/>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6" name="Text Placeholder 3">
            <a:extLst>
              <a:ext uri="{FF2B5EF4-FFF2-40B4-BE49-F238E27FC236}">
                <a16:creationId xmlns:a16="http://schemas.microsoft.com/office/drawing/2014/main" id="{0B553010-FC8D-055B-FDC2-FCCD05240F7E}"/>
              </a:ext>
            </a:extLst>
          </p:cNvPr>
          <p:cNvSpPr>
            <a:spLocks noGrp="1"/>
          </p:cNvSpPr>
          <p:nvPr>
            <p:ph type="body" sz="quarter" idx="10"/>
          </p:nvPr>
        </p:nvSpPr>
        <p:spPr>
          <a:xfrm>
            <a:off x="1139124" y="2003728"/>
            <a:ext cx="4550476" cy="3650247"/>
          </a:xfrm>
        </p:spPr>
        <p:txBody>
          <a:bodyPr/>
          <a:lstStyle>
            <a:lvl1pPr>
              <a:spcAft>
                <a:spcPts val="600"/>
              </a:spcAft>
              <a:defRPr>
                <a:solidFill>
                  <a:schemeClr val="accent1"/>
                </a:solidFill>
              </a:defRPr>
            </a:lvl1pPr>
            <a:lvl2pPr>
              <a:spcAft>
                <a:spcPts val="600"/>
              </a:spcAft>
              <a:defRPr>
                <a:solidFill>
                  <a:schemeClr val="accent1"/>
                </a:solidFill>
              </a:defRPr>
            </a:lvl2pPr>
            <a:lvl3pPr>
              <a:spcAft>
                <a:spcPts val="600"/>
              </a:spcAft>
              <a:defRPr>
                <a:solidFill>
                  <a:schemeClr val="accent1"/>
                </a:solidFill>
              </a:defRPr>
            </a:lvl3pPr>
            <a:lvl4pPr>
              <a:spcAft>
                <a:spcPts val="600"/>
              </a:spcAft>
              <a:defRPr>
                <a:solidFill>
                  <a:schemeClr val="accent1"/>
                </a:solidFill>
              </a:defRPr>
            </a:lvl4pPr>
            <a:lvl5pPr>
              <a:spcAft>
                <a:spcPts val="600"/>
              </a:spcAft>
              <a:defRPr>
                <a:solidFill>
                  <a:schemeClr val="accent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Tree>
    <p:extLst>
      <p:ext uri="{BB962C8B-B14F-4D97-AF65-F5344CB8AC3E}">
        <p14:creationId xmlns:p14="http://schemas.microsoft.com/office/powerpoint/2010/main" val="37184989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ersonen I">
    <p:bg>
      <p:bgPr>
        <a:solidFill>
          <a:schemeClr val="bg1"/>
        </a:solidFill>
        <a:effectLst/>
      </p:bgPr>
    </p:bg>
    <p:spTree>
      <p:nvGrpSpPr>
        <p:cNvPr id="1" name=""/>
        <p:cNvGrpSpPr/>
        <p:nvPr/>
      </p:nvGrpSpPr>
      <p:grpSpPr>
        <a:xfrm>
          <a:off x="0" y="0"/>
          <a:ext cx="0" cy="0"/>
          <a:chOff x="0" y="0"/>
          <a:chExt cx="0" cy="0"/>
        </a:xfrm>
      </p:grpSpPr>
      <p:sp>
        <p:nvSpPr>
          <p:cNvPr id="17" name="Freeform: Shape 8">
            <a:extLst>
              <a:ext uri="{FF2B5EF4-FFF2-40B4-BE49-F238E27FC236}">
                <a16:creationId xmlns:a16="http://schemas.microsoft.com/office/drawing/2014/main" id="{72388545-BB43-7041-BE04-7D954F3D89C0}"/>
              </a:ext>
            </a:extLst>
          </p:cNvPr>
          <p:cNvSpPr/>
          <p:nvPr userDrawn="1"/>
        </p:nvSpPr>
        <p:spPr>
          <a:xfrm>
            <a:off x="5404345"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rgbClr val="00501C"/>
          </a:solidFill>
          <a:ln w="12700" cap="flat">
            <a:solidFill>
              <a:srgbClr val="00501C"/>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a:p>
        </p:txBody>
      </p:sp>
      <p:sp>
        <p:nvSpPr>
          <p:cNvPr id="5" name="Freeform: Shape 4">
            <a:extLst>
              <a:ext uri="{FF2B5EF4-FFF2-40B4-BE49-F238E27FC236}">
                <a16:creationId xmlns:a16="http://schemas.microsoft.com/office/drawing/2014/main" id="{A7551F55-3D44-B660-C394-87345B2EA1F4}"/>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00501C"/>
          </a:solidFill>
          <a:ln w="12700" cap="flat">
            <a:solidFill>
              <a:srgbClr val="00501C"/>
            </a:solidFill>
            <a:prstDash val="solid"/>
            <a:miter/>
          </a:ln>
        </p:spPr>
        <p:txBody>
          <a:bodyPr rtlCol="0" anchor="ctr"/>
          <a:lstStyle/>
          <a:p>
            <a:pPr lvl="0"/>
            <a:endParaRPr lang="en-GB"/>
          </a:p>
        </p:txBody>
      </p:sp>
      <p:sp>
        <p:nvSpPr>
          <p:cNvPr id="8" name="Freeform: Shape 7">
            <a:extLst>
              <a:ext uri="{FF2B5EF4-FFF2-40B4-BE49-F238E27FC236}">
                <a16:creationId xmlns:a16="http://schemas.microsoft.com/office/drawing/2014/main" id="{18516936-CB48-32F5-7B68-0DD20FE381CE}"/>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9" name="Freeform: Shape 8">
            <a:extLst>
              <a:ext uri="{FF2B5EF4-FFF2-40B4-BE49-F238E27FC236}">
                <a16:creationId xmlns:a16="http://schemas.microsoft.com/office/drawing/2014/main" id="{A942AD04-E3D3-1D6A-DA8F-6F5F94A7E585}"/>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00501C"/>
          </a:solidFill>
          <a:ln w="12700" cap="flat">
            <a:solidFill>
              <a:srgbClr val="00501C"/>
            </a:solidFill>
            <a:prstDash val="solid"/>
            <a:miter/>
          </a:ln>
        </p:spPr>
        <p:txBody>
          <a:bodyPr rtlCol="0" anchor="ctr"/>
          <a:lstStyle/>
          <a:p>
            <a:pPr lvl="0"/>
            <a:endParaRPr lang="en-GB"/>
          </a:p>
        </p:txBody>
      </p:sp>
      <p:sp>
        <p:nvSpPr>
          <p:cNvPr id="10" name="Freeform: Shape 9">
            <a:extLst>
              <a:ext uri="{FF2B5EF4-FFF2-40B4-BE49-F238E27FC236}">
                <a16:creationId xmlns:a16="http://schemas.microsoft.com/office/drawing/2014/main" id="{580D7B89-E3F8-CE3E-0587-13080E1C284B}"/>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5" name="Title 1">
            <a:extLst>
              <a:ext uri="{FF2B5EF4-FFF2-40B4-BE49-F238E27FC236}">
                <a16:creationId xmlns:a16="http://schemas.microsoft.com/office/drawing/2014/main" id="{168348E2-D3FF-33DB-7F3C-17893C459453}"/>
              </a:ext>
            </a:extLst>
          </p:cNvPr>
          <p:cNvSpPr>
            <a:spLocks noGrp="1"/>
          </p:cNvSpPr>
          <p:nvPr userDrawn="1">
            <p:ph type="ctrTitle" hasCustomPrompt="1"/>
          </p:nvPr>
        </p:nvSpPr>
        <p:spPr>
          <a:xfrm>
            <a:off x="1137600" y="3107125"/>
            <a:ext cx="4532030" cy="549381"/>
          </a:xfrm>
          <a:noFill/>
        </p:spPr>
        <p:txBody>
          <a:bodyPr wrap="square" anchor="b">
            <a:spAutoFit/>
          </a:bodyPr>
          <a:lstStyle>
            <a:lvl1pPr algn="l">
              <a:lnSpc>
                <a:spcPct val="80000"/>
              </a:lnSpc>
              <a:defRPr sz="4400" b="1">
                <a:solidFill>
                  <a:schemeClr val="bg1"/>
                </a:solidFill>
              </a:defRPr>
            </a:lvl1pPr>
          </a:lstStyle>
          <a:p>
            <a:r>
              <a:rPr lang="nl-NL" noProof="0" dirty="0"/>
              <a:t>Naam</a:t>
            </a:r>
          </a:p>
        </p:txBody>
      </p:sp>
      <p:sp>
        <p:nvSpPr>
          <p:cNvPr id="18" name="Subtitle 2">
            <a:extLst>
              <a:ext uri="{FF2B5EF4-FFF2-40B4-BE49-F238E27FC236}">
                <a16:creationId xmlns:a16="http://schemas.microsoft.com/office/drawing/2014/main" id="{CEED09EF-0BC4-7139-9985-72A60701D6F4}"/>
              </a:ext>
            </a:extLst>
          </p:cNvPr>
          <p:cNvSpPr>
            <a:spLocks noGrp="1"/>
          </p:cNvSpPr>
          <p:nvPr userDrawn="1">
            <p:ph type="subTitle" idx="1"/>
          </p:nvPr>
        </p:nvSpPr>
        <p:spPr>
          <a:xfrm>
            <a:off x="1137600" y="3696048"/>
            <a:ext cx="4532030" cy="369332"/>
          </a:xfrm>
          <a:noFill/>
        </p:spPr>
        <p:txBody>
          <a:bodyPr wrap="square" anchor="t">
            <a:spAutoFit/>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a:t>Klikken om de ondertitelstijl van het model te bewerken</a:t>
            </a:r>
            <a:endParaRPr lang="nl-NL" noProof="0" dirty="0"/>
          </a:p>
        </p:txBody>
      </p:sp>
      <p:sp>
        <p:nvSpPr>
          <p:cNvPr id="30" name="Picture Placeholder 8">
            <a:extLst>
              <a:ext uri="{FF2B5EF4-FFF2-40B4-BE49-F238E27FC236}">
                <a16:creationId xmlns:a16="http://schemas.microsoft.com/office/drawing/2014/main" id="{04483224-BEF7-EA53-E3A9-48A573055C9A}"/>
              </a:ext>
            </a:extLst>
          </p:cNvPr>
          <p:cNvSpPr>
            <a:spLocks noGrp="1"/>
          </p:cNvSpPr>
          <p:nvPr userDrawn="1">
            <p:ph type="pic" sz="quarter" idx="19"/>
          </p:nvPr>
        </p:nvSpPr>
        <p:spPr>
          <a:xfrm>
            <a:off x="6162676" y="1066801"/>
            <a:ext cx="4343400" cy="4324350"/>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dirty="0"/>
          </a:p>
        </p:txBody>
      </p:sp>
      <p:grpSp>
        <p:nvGrpSpPr>
          <p:cNvPr id="2" name="Groep 1">
            <a:extLst>
              <a:ext uri="{FF2B5EF4-FFF2-40B4-BE49-F238E27FC236}">
                <a16:creationId xmlns:a16="http://schemas.microsoft.com/office/drawing/2014/main" id="{B2185A22-FD6B-7FEB-20F8-CEE06F376587}"/>
              </a:ext>
            </a:extLst>
          </p:cNvPr>
          <p:cNvGrpSpPr/>
          <p:nvPr userDrawn="1"/>
        </p:nvGrpSpPr>
        <p:grpSpPr>
          <a:xfrm>
            <a:off x="10014482" y="5839298"/>
            <a:ext cx="1599388" cy="433809"/>
            <a:chOff x="3101010" y="1249096"/>
            <a:chExt cx="3978412" cy="1079079"/>
          </a:xfrm>
          <a:solidFill>
            <a:schemeClr val="bg1"/>
          </a:solidFill>
        </p:grpSpPr>
        <p:sp>
          <p:nvSpPr>
            <p:cNvPr id="3" name="Vrije vorm 2">
              <a:extLst>
                <a:ext uri="{FF2B5EF4-FFF2-40B4-BE49-F238E27FC236}">
                  <a16:creationId xmlns:a16="http://schemas.microsoft.com/office/drawing/2014/main" id="{AEF6ED20-EF99-DF9E-EEB9-C0ACC91C3AA2}"/>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288494EC-F676-9F9F-B718-A22E0798B324}"/>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6CF3897D-418C-8417-6385-D78F1DBF9572}"/>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26639E02-840D-3D7F-A839-9635D475B78F}"/>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829AC6E5-DF3F-61A6-4ECC-0FB5741768B7}"/>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98116AA6-1A93-0EB7-5613-FF62B77B2204}"/>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B649291C-7F6F-C825-8003-D78B9AAD384D}"/>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857EBBFA-8EA5-2907-1F7E-A80F5E27EB20}"/>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4148190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kst / Beeld rechts">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11" name="Text Placeholder 13">
            <a:extLst>
              <a:ext uri="{FF2B5EF4-FFF2-40B4-BE49-F238E27FC236}">
                <a16:creationId xmlns:a16="http://schemas.microsoft.com/office/drawing/2014/main" id="{671406B8-42F0-6CED-3C85-BD33A019A204}"/>
              </a:ext>
            </a:extLst>
          </p:cNvPr>
          <p:cNvSpPr>
            <a:spLocks noGrp="1"/>
          </p:cNvSpPr>
          <p:nvPr>
            <p:ph type="body" sz="quarter" idx="16"/>
          </p:nvPr>
        </p:nvSpPr>
        <p:spPr>
          <a:xfrm>
            <a:off x="1139125" y="2005200"/>
            <a:ext cx="4545423" cy="3848185"/>
          </a:xfrm>
        </p:spPr>
        <p:txBody>
          <a:bodyPr/>
          <a:lstStyle>
            <a:lvl1pPr>
              <a:defRPr sz="2400"/>
            </a:lvl1pPr>
            <a:lvl2pPr>
              <a:defRPr sz="2400"/>
            </a:lvl2pPr>
            <a:lvl3pPr>
              <a:defRPr sz="20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5" name="Tijdelijke aanduiding voor afbeelding 14">
            <a:extLst>
              <a:ext uri="{FF2B5EF4-FFF2-40B4-BE49-F238E27FC236}">
                <a16:creationId xmlns:a16="http://schemas.microsoft.com/office/drawing/2014/main" id="{7E7220D7-4BCB-1010-5FFD-1BEF18ECF4F1}"/>
              </a:ext>
            </a:extLst>
          </p:cNvPr>
          <p:cNvSpPr>
            <a:spLocks noGrp="1"/>
          </p:cNvSpPr>
          <p:nvPr>
            <p:ph type="pic" sz="quarter" idx="17"/>
          </p:nvPr>
        </p:nvSpPr>
        <p:spPr>
          <a:xfrm>
            <a:off x="6096000" y="1163155"/>
            <a:ext cx="6096000" cy="5694845"/>
          </a:xfrm>
          <a:custGeom>
            <a:avLst/>
            <a:gdLst>
              <a:gd name="connsiteX0" fmla="*/ 4824647 w 6096000"/>
              <a:gd name="connsiteY0" fmla="*/ 5044080 h 5694845"/>
              <a:gd name="connsiteX1" fmla="*/ 4843853 w 6096000"/>
              <a:gd name="connsiteY1" fmla="*/ 5064827 h 5694845"/>
              <a:gd name="connsiteX2" fmla="*/ 4824647 w 6096000"/>
              <a:gd name="connsiteY2" fmla="*/ 5085574 h 5694845"/>
              <a:gd name="connsiteX3" fmla="*/ 4805442 w 6096000"/>
              <a:gd name="connsiteY3" fmla="*/ 5064827 h 5694845"/>
              <a:gd name="connsiteX4" fmla="*/ 4824647 w 6096000"/>
              <a:gd name="connsiteY4" fmla="*/ 5044080 h 5694845"/>
              <a:gd name="connsiteX5" fmla="*/ 5257674 w 6096000"/>
              <a:gd name="connsiteY5" fmla="*/ 5043388 h 5694845"/>
              <a:gd name="connsiteX6" fmla="*/ 5277396 w 6096000"/>
              <a:gd name="connsiteY6" fmla="*/ 5064827 h 5694845"/>
              <a:gd name="connsiteX7" fmla="*/ 5257674 w 6096000"/>
              <a:gd name="connsiteY7" fmla="*/ 5086267 h 5694845"/>
              <a:gd name="connsiteX8" fmla="*/ 5237950 w 6096000"/>
              <a:gd name="connsiteY8" fmla="*/ 5064827 h 5694845"/>
              <a:gd name="connsiteX9" fmla="*/ 5257674 w 6096000"/>
              <a:gd name="connsiteY9" fmla="*/ 5043388 h 5694845"/>
              <a:gd name="connsiteX10" fmla="*/ 4553903 w 6096000"/>
              <a:gd name="connsiteY10" fmla="*/ 5043388 h 5694845"/>
              <a:gd name="connsiteX11" fmla="*/ 4573626 w 6096000"/>
              <a:gd name="connsiteY11" fmla="*/ 5064827 h 5694845"/>
              <a:gd name="connsiteX12" fmla="*/ 4553903 w 6096000"/>
              <a:gd name="connsiteY12" fmla="*/ 5086267 h 5694845"/>
              <a:gd name="connsiteX13" fmla="*/ 4534179 w 6096000"/>
              <a:gd name="connsiteY13" fmla="*/ 5064827 h 5694845"/>
              <a:gd name="connsiteX14" fmla="*/ 4553903 w 6096000"/>
              <a:gd name="connsiteY14" fmla="*/ 5043388 h 5694845"/>
              <a:gd name="connsiteX15" fmla="*/ 5156814 w 6096000"/>
              <a:gd name="connsiteY15" fmla="*/ 5040967 h 5694845"/>
              <a:gd name="connsiteX16" fmla="*/ 5174634 w 6096000"/>
              <a:gd name="connsiteY16" fmla="*/ 5053935 h 5694845"/>
              <a:gd name="connsiteX17" fmla="*/ 5137955 w 6096000"/>
              <a:gd name="connsiteY17" fmla="*/ 5053935 h 5694845"/>
              <a:gd name="connsiteX18" fmla="*/ 5156814 w 6096000"/>
              <a:gd name="connsiteY18" fmla="*/ 5040967 h 5694845"/>
              <a:gd name="connsiteX19" fmla="*/ 4453043 w 6096000"/>
              <a:gd name="connsiteY19" fmla="*/ 5040967 h 5694845"/>
              <a:gd name="connsiteX20" fmla="*/ 4470863 w 6096000"/>
              <a:gd name="connsiteY20" fmla="*/ 5053935 h 5694845"/>
              <a:gd name="connsiteX21" fmla="*/ 4434184 w 6096000"/>
              <a:gd name="connsiteY21" fmla="*/ 5053935 h 5694845"/>
              <a:gd name="connsiteX22" fmla="*/ 4453043 w 6096000"/>
              <a:gd name="connsiteY22" fmla="*/ 5040967 h 5694845"/>
              <a:gd name="connsiteX23" fmla="*/ 4619119 w 6096000"/>
              <a:gd name="connsiteY23" fmla="*/ 5021603 h 5694845"/>
              <a:gd name="connsiteX24" fmla="*/ 4619119 w 6096000"/>
              <a:gd name="connsiteY24" fmla="*/ 5108052 h 5694845"/>
              <a:gd name="connsiteX25" fmla="*/ 4645246 w 6096000"/>
              <a:gd name="connsiteY25" fmla="*/ 5108052 h 5694845"/>
              <a:gd name="connsiteX26" fmla="*/ 4645246 w 6096000"/>
              <a:gd name="connsiteY26" fmla="*/ 5044253 h 5694845"/>
              <a:gd name="connsiteX27" fmla="*/ 4674312 w 6096000"/>
              <a:gd name="connsiteY27" fmla="*/ 5044253 h 5694845"/>
              <a:gd name="connsiteX28" fmla="*/ 4674312 w 6096000"/>
              <a:gd name="connsiteY28" fmla="*/ 5021603 h 5694845"/>
              <a:gd name="connsiteX29" fmla="*/ 5251790 w 6096000"/>
              <a:gd name="connsiteY29" fmla="*/ 5019701 h 5694845"/>
              <a:gd name="connsiteX30" fmla="*/ 5211651 w 6096000"/>
              <a:gd name="connsiteY30" fmla="*/ 5064827 h 5694845"/>
              <a:gd name="connsiteX31" fmla="*/ 5251790 w 6096000"/>
              <a:gd name="connsiteY31" fmla="*/ 5109952 h 5694845"/>
              <a:gd name="connsiteX32" fmla="*/ 5275322 w 6096000"/>
              <a:gd name="connsiteY32" fmla="*/ 5099407 h 5694845"/>
              <a:gd name="connsiteX33" fmla="*/ 5275322 w 6096000"/>
              <a:gd name="connsiteY33" fmla="*/ 5108052 h 5694845"/>
              <a:gd name="connsiteX34" fmla="*/ 5301447 w 6096000"/>
              <a:gd name="connsiteY34" fmla="*/ 5108052 h 5694845"/>
              <a:gd name="connsiteX35" fmla="*/ 5301447 w 6096000"/>
              <a:gd name="connsiteY35" fmla="*/ 5021603 h 5694845"/>
              <a:gd name="connsiteX36" fmla="*/ 5275322 w 6096000"/>
              <a:gd name="connsiteY36" fmla="*/ 5021603 h 5694845"/>
              <a:gd name="connsiteX37" fmla="*/ 5275322 w 6096000"/>
              <a:gd name="connsiteY37" fmla="*/ 5030248 h 5694845"/>
              <a:gd name="connsiteX38" fmla="*/ 5251790 w 6096000"/>
              <a:gd name="connsiteY38" fmla="*/ 5019701 h 5694845"/>
              <a:gd name="connsiteX39" fmla="*/ 5157506 w 6096000"/>
              <a:gd name="connsiteY39" fmla="*/ 5019701 h 5694845"/>
              <a:gd name="connsiteX40" fmla="*/ 5112003 w 6096000"/>
              <a:gd name="connsiteY40" fmla="*/ 5064827 h 5694845"/>
              <a:gd name="connsiteX41" fmla="*/ 5158025 w 6096000"/>
              <a:gd name="connsiteY41" fmla="*/ 5109952 h 5694845"/>
              <a:gd name="connsiteX42" fmla="*/ 5198684 w 6096000"/>
              <a:gd name="connsiteY42" fmla="*/ 5090935 h 5694845"/>
              <a:gd name="connsiteX43" fmla="*/ 5179306 w 6096000"/>
              <a:gd name="connsiteY43" fmla="*/ 5076412 h 5694845"/>
              <a:gd name="connsiteX44" fmla="*/ 5158371 w 6096000"/>
              <a:gd name="connsiteY44" fmla="*/ 5086267 h 5694845"/>
              <a:gd name="connsiteX45" fmla="*/ 5137263 w 6096000"/>
              <a:gd name="connsiteY45" fmla="*/ 5071052 h 5694845"/>
              <a:gd name="connsiteX46" fmla="*/ 5200068 w 6096000"/>
              <a:gd name="connsiteY46" fmla="*/ 5071052 h 5694845"/>
              <a:gd name="connsiteX47" fmla="*/ 5200587 w 6096000"/>
              <a:gd name="connsiteY47" fmla="*/ 5061889 h 5694845"/>
              <a:gd name="connsiteX48" fmla="*/ 5157506 w 6096000"/>
              <a:gd name="connsiteY48" fmla="*/ 5019701 h 5694845"/>
              <a:gd name="connsiteX49" fmla="*/ 4824647 w 6096000"/>
              <a:gd name="connsiteY49" fmla="*/ 5019701 h 5694845"/>
              <a:gd name="connsiteX50" fmla="*/ 4779145 w 6096000"/>
              <a:gd name="connsiteY50" fmla="*/ 5064827 h 5694845"/>
              <a:gd name="connsiteX51" fmla="*/ 4824647 w 6096000"/>
              <a:gd name="connsiteY51" fmla="*/ 5109952 h 5694845"/>
              <a:gd name="connsiteX52" fmla="*/ 4870150 w 6096000"/>
              <a:gd name="connsiteY52" fmla="*/ 5064827 h 5694845"/>
              <a:gd name="connsiteX53" fmla="*/ 4824647 w 6096000"/>
              <a:gd name="connsiteY53" fmla="*/ 5019701 h 5694845"/>
              <a:gd name="connsiteX54" fmla="*/ 4548019 w 6096000"/>
              <a:gd name="connsiteY54" fmla="*/ 5019701 h 5694845"/>
              <a:gd name="connsiteX55" fmla="*/ 4507880 w 6096000"/>
              <a:gd name="connsiteY55" fmla="*/ 5064827 h 5694845"/>
              <a:gd name="connsiteX56" fmla="*/ 4548019 w 6096000"/>
              <a:gd name="connsiteY56" fmla="*/ 5109952 h 5694845"/>
              <a:gd name="connsiteX57" fmla="*/ 4571549 w 6096000"/>
              <a:gd name="connsiteY57" fmla="*/ 5099407 h 5694845"/>
              <a:gd name="connsiteX58" fmla="*/ 4571549 w 6096000"/>
              <a:gd name="connsiteY58" fmla="*/ 5108052 h 5694845"/>
              <a:gd name="connsiteX59" fmla="*/ 4597676 w 6096000"/>
              <a:gd name="connsiteY59" fmla="*/ 5108052 h 5694845"/>
              <a:gd name="connsiteX60" fmla="*/ 4597676 w 6096000"/>
              <a:gd name="connsiteY60" fmla="*/ 5021603 h 5694845"/>
              <a:gd name="connsiteX61" fmla="*/ 4571549 w 6096000"/>
              <a:gd name="connsiteY61" fmla="*/ 5021603 h 5694845"/>
              <a:gd name="connsiteX62" fmla="*/ 4571549 w 6096000"/>
              <a:gd name="connsiteY62" fmla="*/ 5030248 h 5694845"/>
              <a:gd name="connsiteX63" fmla="*/ 4548019 w 6096000"/>
              <a:gd name="connsiteY63" fmla="*/ 5019701 h 5694845"/>
              <a:gd name="connsiteX64" fmla="*/ 4453735 w 6096000"/>
              <a:gd name="connsiteY64" fmla="*/ 5019701 h 5694845"/>
              <a:gd name="connsiteX65" fmla="*/ 4408232 w 6096000"/>
              <a:gd name="connsiteY65" fmla="*/ 5064827 h 5694845"/>
              <a:gd name="connsiteX66" fmla="*/ 4454254 w 6096000"/>
              <a:gd name="connsiteY66" fmla="*/ 5109952 h 5694845"/>
              <a:gd name="connsiteX67" fmla="*/ 4494911 w 6096000"/>
              <a:gd name="connsiteY67" fmla="*/ 5090935 h 5694845"/>
              <a:gd name="connsiteX68" fmla="*/ 4475535 w 6096000"/>
              <a:gd name="connsiteY68" fmla="*/ 5076412 h 5694845"/>
              <a:gd name="connsiteX69" fmla="*/ 4454600 w 6096000"/>
              <a:gd name="connsiteY69" fmla="*/ 5086267 h 5694845"/>
              <a:gd name="connsiteX70" fmla="*/ 4433492 w 6096000"/>
              <a:gd name="connsiteY70" fmla="*/ 5071052 h 5694845"/>
              <a:gd name="connsiteX71" fmla="*/ 4496297 w 6096000"/>
              <a:gd name="connsiteY71" fmla="*/ 5071052 h 5694845"/>
              <a:gd name="connsiteX72" fmla="*/ 4496816 w 6096000"/>
              <a:gd name="connsiteY72" fmla="*/ 5061889 h 5694845"/>
              <a:gd name="connsiteX73" fmla="*/ 4453735 w 6096000"/>
              <a:gd name="connsiteY73" fmla="*/ 5019701 h 5694845"/>
              <a:gd name="connsiteX74" fmla="*/ 5396593 w 6096000"/>
              <a:gd name="connsiteY74" fmla="*/ 4994112 h 5694845"/>
              <a:gd name="connsiteX75" fmla="*/ 5370466 w 6096000"/>
              <a:gd name="connsiteY75" fmla="*/ 5021603 h 5694845"/>
              <a:gd name="connsiteX76" fmla="*/ 5370466 w 6096000"/>
              <a:gd name="connsiteY76" fmla="*/ 5108052 h 5694845"/>
              <a:gd name="connsiteX77" fmla="*/ 5396593 w 6096000"/>
              <a:gd name="connsiteY77" fmla="*/ 5108052 h 5694845"/>
              <a:gd name="connsiteX78" fmla="*/ 5396593 w 6096000"/>
              <a:gd name="connsiteY78" fmla="*/ 5044253 h 5694845"/>
              <a:gd name="connsiteX79" fmla="*/ 5420814 w 6096000"/>
              <a:gd name="connsiteY79" fmla="*/ 5044253 h 5694845"/>
              <a:gd name="connsiteX80" fmla="*/ 5420814 w 6096000"/>
              <a:gd name="connsiteY80" fmla="*/ 5021603 h 5694845"/>
              <a:gd name="connsiteX81" fmla="*/ 5396593 w 6096000"/>
              <a:gd name="connsiteY81" fmla="*/ 5021603 h 5694845"/>
              <a:gd name="connsiteX82" fmla="*/ 4714792 w 6096000"/>
              <a:gd name="connsiteY82" fmla="*/ 4994112 h 5694845"/>
              <a:gd name="connsiteX83" fmla="*/ 4688666 w 6096000"/>
              <a:gd name="connsiteY83" fmla="*/ 5021603 h 5694845"/>
              <a:gd name="connsiteX84" fmla="*/ 4688666 w 6096000"/>
              <a:gd name="connsiteY84" fmla="*/ 5108052 h 5694845"/>
              <a:gd name="connsiteX85" fmla="*/ 4714792 w 6096000"/>
              <a:gd name="connsiteY85" fmla="*/ 5108052 h 5694845"/>
              <a:gd name="connsiteX86" fmla="*/ 4714792 w 6096000"/>
              <a:gd name="connsiteY86" fmla="*/ 5044253 h 5694845"/>
              <a:gd name="connsiteX87" fmla="*/ 4739013 w 6096000"/>
              <a:gd name="connsiteY87" fmla="*/ 5044253 h 5694845"/>
              <a:gd name="connsiteX88" fmla="*/ 4739013 w 6096000"/>
              <a:gd name="connsiteY88" fmla="*/ 5021603 h 5694845"/>
              <a:gd name="connsiteX89" fmla="*/ 4714792 w 6096000"/>
              <a:gd name="connsiteY89" fmla="*/ 5021603 h 5694845"/>
              <a:gd name="connsiteX90" fmla="*/ 4992283 w 6096000"/>
              <a:gd name="connsiteY90" fmla="*/ 4985296 h 5694845"/>
              <a:gd name="connsiteX91" fmla="*/ 4992283 w 6096000"/>
              <a:gd name="connsiteY91" fmla="*/ 5108052 h 5694845"/>
              <a:gd name="connsiteX92" fmla="*/ 5019793 w 6096000"/>
              <a:gd name="connsiteY92" fmla="*/ 5108052 h 5694845"/>
              <a:gd name="connsiteX93" fmla="*/ 5019793 w 6096000"/>
              <a:gd name="connsiteY93" fmla="*/ 5059468 h 5694845"/>
              <a:gd name="connsiteX94" fmla="*/ 5069275 w 6096000"/>
              <a:gd name="connsiteY94" fmla="*/ 5059468 h 5694845"/>
              <a:gd name="connsiteX95" fmla="*/ 5069275 w 6096000"/>
              <a:gd name="connsiteY95" fmla="*/ 5108052 h 5694845"/>
              <a:gd name="connsiteX96" fmla="*/ 5096784 w 6096000"/>
              <a:gd name="connsiteY96" fmla="*/ 5108052 h 5694845"/>
              <a:gd name="connsiteX97" fmla="*/ 5096784 w 6096000"/>
              <a:gd name="connsiteY97" fmla="*/ 4985296 h 5694845"/>
              <a:gd name="connsiteX98" fmla="*/ 5069275 w 6096000"/>
              <a:gd name="connsiteY98" fmla="*/ 4985296 h 5694845"/>
              <a:gd name="connsiteX99" fmla="*/ 5069275 w 6096000"/>
              <a:gd name="connsiteY99" fmla="*/ 5033360 h 5694845"/>
              <a:gd name="connsiteX100" fmla="*/ 5019793 w 6096000"/>
              <a:gd name="connsiteY100" fmla="*/ 5033360 h 5694845"/>
              <a:gd name="connsiteX101" fmla="*/ 5019793 w 6096000"/>
              <a:gd name="connsiteY101" fmla="*/ 4985296 h 5694845"/>
              <a:gd name="connsiteX102" fmla="*/ 4288512 w 6096000"/>
              <a:gd name="connsiteY102" fmla="*/ 4985296 h 5694845"/>
              <a:gd name="connsiteX103" fmla="*/ 4288512 w 6096000"/>
              <a:gd name="connsiteY103" fmla="*/ 5069710 h 5694845"/>
              <a:gd name="connsiteX104" fmla="*/ 4316020 w 6096000"/>
              <a:gd name="connsiteY104" fmla="*/ 5097200 h 5694845"/>
              <a:gd name="connsiteX105" fmla="*/ 4316020 w 6096000"/>
              <a:gd name="connsiteY105" fmla="*/ 5059468 h 5694845"/>
              <a:gd name="connsiteX106" fmla="*/ 4365504 w 6096000"/>
              <a:gd name="connsiteY106" fmla="*/ 5059468 h 5694845"/>
              <a:gd name="connsiteX107" fmla="*/ 4365504 w 6096000"/>
              <a:gd name="connsiteY107" fmla="*/ 5108052 h 5694845"/>
              <a:gd name="connsiteX108" fmla="*/ 4393013 w 6096000"/>
              <a:gd name="connsiteY108" fmla="*/ 5108052 h 5694845"/>
              <a:gd name="connsiteX109" fmla="*/ 4393013 w 6096000"/>
              <a:gd name="connsiteY109" fmla="*/ 4985296 h 5694845"/>
              <a:gd name="connsiteX110" fmla="*/ 4365504 w 6096000"/>
              <a:gd name="connsiteY110" fmla="*/ 4985296 h 5694845"/>
              <a:gd name="connsiteX111" fmla="*/ 4365504 w 6096000"/>
              <a:gd name="connsiteY111" fmla="*/ 5033360 h 5694845"/>
              <a:gd name="connsiteX112" fmla="*/ 4316020 w 6096000"/>
              <a:gd name="connsiteY112" fmla="*/ 5033360 h 5694845"/>
              <a:gd name="connsiteX113" fmla="*/ 4316020 w 6096000"/>
              <a:gd name="connsiteY113" fmla="*/ 4985296 h 5694845"/>
              <a:gd name="connsiteX114" fmla="*/ 5434130 w 6096000"/>
              <a:gd name="connsiteY114" fmla="*/ 4978379 h 5694845"/>
              <a:gd name="connsiteX115" fmla="*/ 5434130 w 6096000"/>
              <a:gd name="connsiteY115" fmla="*/ 5108052 h 5694845"/>
              <a:gd name="connsiteX116" fmla="*/ 5460257 w 6096000"/>
              <a:gd name="connsiteY116" fmla="*/ 5108052 h 5694845"/>
              <a:gd name="connsiteX117" fmla="*/ 5460257 w 6096000"/>
              <a:gd name="connsiteY117" fmla="*/ 5066037 h 5694845"/>
              <a:gd name="connsiteX118" fmla="*/ 5477731 w 6096000"/>
              <a:gd name="connsiteY118" fmla="*/ 5043388 h 5694845"/>
              <a:gd name="connsiteX119" fmla="*/ 5491744 w 6096000"/>
              <a:gd name="connsiteY119" fmla="*/ 5062579 h 5694845"/>
              <a:gd name="connsiteX120" fmla="*/ 5491744 w 6096000"/>
              <a:gd name="connsiteY120" fmla="*/ 5108052 h 5694845"/>
              <a:gd name="connsiteX121" fmla="*/ 5517870 w 6096000"/>
              <a:gd name="connsiteY121" fmla="*/ 5108052 h 5694845"/>
              <a:gd name="connsiteX122" fmla="*/ 5517870 w 6096000"/>
              <a:gd name="connsiteY122" fmla="*/ 5058085 h 5694845"/>
              <a:gd name="connsiteX123" fmla="*/ 5484305 w 6096000"/>
              <a:gd name="connsiteY123" fmla="*/ 5019701 h 5694845"/>
              <a:gd name="connsiteX124" fmla="*/ 5460257 w 6096000"/>
              <a:gd name="connsiteY124" fmla="*/ 5030422 h 5694845"/>
              <a:gd name="connsiteX125" fmla="*/ 5460257 w 6096000"/>
              <a:gd name="connsiteY125" fmla="*/ 4978379 h 5694845"/>
              <a:gd name="connsiteX126" fmla="*/ 5322892 w 6096000"/>
              <a:gd name="connsiteY126" fmla="*/ 4978379 h 5694845"/>
              <a:gd name="connsiteX127" fmla="*/ 5322892 w 6096000"/>
              <a:gd name="connsiteY127" fmla="*/ 5108052 h 5694845"/>
              <a:gd name="connsiteX128" fmla="*/ 5349018 w 6096000"/>
              <a:gd name="connsiteY128" fmla="*/ 5108052 h 5694845"/>
              <a:gd name="connsiteX129" fmla="*/ 5349018 w 6096000"/>
              <a:gd name="connsiteY129" fmla="*/ 4978379 h 5694845"/>
              <a:gd name="connsiteX130" fmla="*/ 4929143 w 6096000"/>
              <a:gd name="connsiteY130" fmla="*/ 4977342 h 5694845"/>
              <a:gd name="connsiteX131" fmla="*/ 4894366 w 6096000"/>
              <a:gd name="connsiteY131" fmla="*/ 5012095 h 5694845"/>
              <a:gd name="connsiteX132" fmla="*/ 4894366 w 6096000"/>
              <a:gd name="connsiteY132" fmla="*/ 5021603 h 5694845"/>
              <a:gd name="connsiteX133" fmla="*/ 4877066 w 6096000"/>
              <a:gd name="connsiteY133" fmla="*/ 5021603 h 5694845"/>
              <a:gd name="connsiteX134" fmla="*/ 4877066 w 6096000"/>
              <a:gd name="connsiteY134" fmla="*/ 5044253 h 5694845"/>
              <a:gd name="connsiteX135" fmla="*/ 4894366 w 6096000"/>
              <a:gd name="connsiteY135" fmla="*/ 5044253 h 5694845"/>
              <a:gd name="connsiteX136" fmla="*/ 4894366 w 6096000"/>
              <a:gd name="connsiteY136" fmla="*/ 5108052 h 5694845"/>
              <a:gd name="connsiteX137" fmla="*/ 4920492 w 6096000"/>
              <a:gd name="connsiteY137" fmla="*/ 5108052 h 5694845"/>
              <a:gd name="connsiteX138" fmla="*/ 4920492 w 6096000"/>
              <a:gd name="connsiteY138" fmla="*/ 5044253 h 5694845"/>
              <a:gd name="connsiteX139" fmla="*/ 4944715 w 6096000"/>
              <a:gd name="connsiteY139" fmla="*/ 5044253 h 5694845"/>
              <a:gd name="connsiteX140" fmla="*/ 4944715 w 6096000"/>
              <a:gd name="connsiteY140" fmla="*/ 5021603 h 5694845"/>
              <a:gd name="connsiteX141" fmla="*/ 4920492 w 6096000"/>
              <a:gd name="connsiteY141" fmla="*/ 5021603 h 5694845"/>
              <a:gd name="connsiteX142" fmla="*/ 4920492 w 6096000"/>
              <a:gd name="connsiteY142" fmla="*/ 5015379 h 5694845"/>
              <a:gd name="connsiteX143" fmla="*/ 4935372 w 6096000"/>
              <a:gd name="connsiteY143" fmla="*/ 5000683 h 5694845"/>
              <a:gd name="connsiteX144" fmla="*/ 4944715 w 6096000"/>
              <a:gd name="connsiteY144" fmla="*/ 5002238 h 5694845"/>
              <a:gd name="connsiteX145" fmla="*/ 4944715 w 6096000"/>
              <a:gd name="connsiteY145" fmla="*/ 4979243 h 5694845"/>
              <a:gd name="connsiteX146" fmla="*/ 4929143 w 6096000"/>
              <a:gd name="connsiteY146" fmla="*/ 4977342 h 5694845"/>
              <a:gd name="connsiteX147" fmla="*/ 4462900 w 6096000"/>
              <a:gd name="connsiteY147" fmla="*/ 4785693 h 5694845"/>
              <a:gd name="connsiteX148" fmla="*/ 4501880 w 6096000"/>
              <a:gd name="connsiteY148" fmla="*/ 4812182 h 5694845"/>
              <a:gd name="connsiteX149" fmla="*/ 4422342 w 6096000"/>
              <a:gd name="connsiteY149" fmla="*/ 4812182 h 5694845"/>
              <a:gd name="connsiteX150" fmla="*/ 4462900 w 6096000"/>
              <a:gd name="connsiteY150" fmla="*/ 4785693 h 5694845"/>
              <a:gd name="connsiteX151" fmla="*/ 4462576 w 6096000"/>
              <a:gd name="connsiteY151" fmla="*/ 4732866 h 5694845"/>
              <a:gd name="connsiteX152" fmla="*/ 4362359 w 6096000"/>
              <a:gd name="connsiteY152" fmla="*/ 4834776 h 5694845"/>
              <a:gd name="connsiteX153" fmla="*/ 4462900 w 6096000"/>
              <a:gd name="connsiteY153" fmla="*/ 4935416 h 5694845"/>
              <a:gd name="connsiteX154" fmla="*/ 4539313 w 6096000"/>
              <a:gd name="connsiteY154" fmla="*/ 4906069 h 5694845"/>
              <a:gd name="connsiteX155" fmla="*/ 4502388 w 6096000"/>
              <a:gd name="connsiteY155" fmla="*/ 4869239 h 5694845"/>
              <a:gd name="connsiteX156" fmla="*/ 4465139 w 6096000"/>
              <a:gd name="connsiteY156" fmla="*/ 4882518 h 5694845"/>
              <a:gd name="connsiteX157" fmla="*/ 4430371 w 6096000"/>
              <a:gd name="connsiteY157" fmla="*/ 4867802 h 5694845"/>
              <a:gd name="connsiteX158" fmla="*/ 4425413 w 6096000"/>
              <a:gd name="connsiteY158" fmla="*/ 4861843 h 5694845"/>
              <a:gd name="connsiteX159" fmla="*/ 4424348 w 6096000"/>
              <a:gd name="connsiteY159" fmla="*/ 4860249 h 5694845"/>
              <a:gd name="connsiteX160" fmla="*/ 4424327 w 6096000"/>
              <a:gd name="connsiteY160" fmla="*/ 4860249 h 5694845"/>
              <a:gd name="connsiteX161" fmla="*/ 4420185 w 6096000"/>
              <a:gd name="connsiteY161" fmla="*/ 4852637 h 5694845"/>
              <a:gd name="connsiteX162" fmla="*/ 4558927 w 6096000"/>
              <a:gd name="connsiteY162" fmla="*/ 4852637 h 5694845"/>
              <a:gd name="connsiteX163" fmla="*/ 4561214 w 6096000"/>
              <a:gd name="connsiteY163" fmla="*/ 4831907 h 5694845"/>
              <a:gd name="connsiteX164" fmla="*/ 4462576 w 6096000"/>
              <a:gd name="connsiteY164" fmla="*/ 4732866 h 5694845"/>
              <a:gd name="connsiteX165" fmla="*/ 4259514 w 6096000"/>
              <a:gd name="connsiteY165" fmla="*/ 4732855 h 5694845"/>
              <a:gd name="connsiteX166" fmla="*/ 4259514 w 6096000"/>
              <a:gd name="connsiteY166" fmla="*/ 4933746 h 5694845"/>
              <a:gd name="connsiteX167" fmla="*/ 4315977 w 6096000"/>
              <a:gd name="connsiteY167" fmla="*/ 4933746 h 5694845"/>
              <a:gd name="connsiteX168" fmla="*/ 4315977 w 6096000"/>
              <a:gd name="connsiteY168" fmla="*/ 4784407 h 5694845"/>
              <a:gd name="connsiteX169" fmla="*/ 4361369 w 6096000"/>
              <a:gd name="connsiteY169" fmla="*/ 4784407 h 5694845"/>
              <a:gd name="connsiteX170" fmla="*/ 4361369 w 6096000"/>
              <a:gd name="connsiteY170" fmla="*/ 4732855 h 5694845"/>
              <a:gd name="connsiteX171" fmla="*/ 4677980 w 6096000"/>
              <a:gd name="connsiteY171" fmla="*/ 4732833 h 5694845"/>
              <a:gd name="connsiteX172" fmla="*/ 4677028 w 6096000"/>
              <a:gd name="connsiteY172" fmla="*/ 4732898 h 5694845"/>
              <a:gd name="connsiteX173" fmla="*/ 4576930 w 6096000"/>
              <a:gd name="connsiteY173" fmla="*/ 4833538 h 5694845"/>
              <a:gd name="connsiteX174" fmla="*/ 4678369 w 6096000"/>
              <a:gd name="connsiteY174" fmla="*/ 4935448 h 5694845"/>
              <a:gd name="connsiteX175" fmla="*/ 4758107 w 6096000"/>
              <a:gd name="connsiteY175" fmla="*/ 4898251 h 5694845"/>
              <a:gd name="connsiteX176" fmla="*/ 4762291 w 6096000"/>
              <a:gd name="connsiteY176" fmla="*/ 4893345 h 5694845"/>
              <a:gd name="connsiteX177" fmla="*/ 4726280 w 6096000"/>
              <a:gd name="connsiteY177" fmla="*/ 4857304 h 5694845"/>
              <a:gd name="connsiteX178" fmla="*/ 4721182 w 6096000"/>
              <a:gd name="connsiteY178" fmla="*/ 4862442 h 5694845"/>
              <a:gd name="connsiteX179" fmla="*/ 4679299 w 6096000"/>
              <a:gd name="connsiteY179" fmla="*/ 4882610 h 5694845"/>
              <a:gd name="connsiteX180" fmla="*/ 4633404 w 6096000"/>
              <a:gd name="connsiteY180" fmla="*/ 4834181 h 5694845"/>
              <a:gd name="connsiteX181" fmla="*/ 4678169 w 6096000"/>
              <a:gd name="connsiteY181" fmla="*/ 4785703 h 5694845"/>
              <a:gd name="connsiteX182" fmla="*/ 4679131 w 6096000"/>
              <a:gd name="connsiteY182" fmla="*/ 4785638 h 5694845"/>
              <a:gd name="connsiteX183" fmla="*/ 4721160 w 6096000"/>
              <a:gd name="connsiteY183" fmla="*/ 4805796 h 5694845"/>
              <a:gd name="connsiteX184" fmla="*/ 4726258 w 6096000"/>
              <a:gd name="connsiteY184" fmla="*/ 4810912 h 5694845"/>
              <a:gd name="connsiteX185" fmla="*/ 4762291 w 6096000"/>
              <a:gd name="connsiteY185" fmla="*/ 4774909 h 5694845"/>
              <a:gd name="connsiteX186" fmla="*/ 4758096 w 6096000"/>
              <a:gd name="connsiteY186" fmla="*/ 4769993 h 5694845"/>
              <a:gd name="connsiteX187" fmla="*/ 4677980 w 6096000"/>
              <a:gd name="connsiteY187" fmla="*/ 4732833 h 5694845"/>
              <a:gd name="connsiteX188" fmla="*/ 4061389 w 6096000"/>
              <a:gd name="connsiteY188" fmla="*/ 4699876 h 5694845"/>
              <a:gd name="connsiteX189" fmla="*/ 4061389 w 6096000"/>
              <a:gd name="connsiteY189" fmla="*/ 4826909 h 5694845"/>
              <a:gd name="connsiteX190" fmla="*/ 4060416 w 6096000"/>
              <a:gd name="connsiteY190" fmla="*/ 4841770 h 5694845"/>
              <a:gd name="connsiteX191" fmla="*/ 4060416 w 6096000"/>
              <a:gd name="connsiteY191" fmla="*/ 4841770 h 5694845"/>
              <a:gd name="connsiteX192" fmla="*/ 4060416 w 6096000"/>
              <a:gd name="connsiteY192" fmla="*/ 4841771 h 5694845"/>
              <a:gd name="connsiteX193" fmla="*/ 3918482 w 6096000"/>
              <a:gd name="connsiteY193" fmla="*/ 4699935 h 5694845"/>
              <a:gd name="connsiteX194" fmla="*/ 3918482 w 6096000"/>
              <a:gd name="connsiteY194" fmla="*/ 4826908 h 5694845"/>
              <a:gd name="connsiteX195" fmla="*/ 3936047 w 6096000"/>
              <a:gd name="connsiteY195" fmla="*/ 4894861 h 5694845"/>
              <a:gd name="connsiteX196" fmla="*/ 4020094 w 6096000"/>
              <a:gd name="connsiteY196" fmla="*/ 4935349 h 5694845"/>
              <a:gd name="connsiteX197" fmla="*/ 4104141 w 6096000"/>
              <a:gd name="connsiteY197" fmla="*/ 4894861 h 5694845"/>
              <a:gd name="connsiteX198" fmla="*/ 4107893 w 6096000"/>
              <a:gd name="connsiteY198" fmla="*/ 4889215 h 5694845"/>
              <a:gd name="connsiteX199" fmla="*/ 4107892 w 6096000"/>
              <a:gd name="connsiteY199" fmla="*/ 4889213 h 5694845"/>
              <a:gd name="connsiteX200" fmla="*/ 4107894 w 6096000"/>
              <a:gd name="connsiteY200" fmla="*/ 4889215 h 5694845"/>
              <a:gd name="connsiteX201" fmla="*/ 4121706 w 6096000"/>
              <a:gd name="connsiteY201" fmla="*/ 4826908 h 5694845"/>
              <a:gd name="connsiteX202" fmla="*/ 4121706 w 6096000"/>
              <a:gd name="connsiteY202" fmla="*/ 4699876 h 5694845"/>
              <a:gd name="connsiteX203" fmla="*/ 4205101 w 6096000"/>
              <a:gd name="connsiteY203" fmla="*/ 4676225 h 5694845"/>
              <a:gd name="connsiteX204" fmla="*/ 4148626 w 6096000"/>
              <a:gd name="connsiteY204" fmla="*/ 4732866 h 5694845"/>
              <a:gd name="connsiteX205" fmla="*/ 4148626 w 6096000"/>
              <a:gd name="connsiteY205" fmla="*/ 4933747 h 5694845"/>
              <a:gd name="connsiteX206" fmla="*/ 4205101 w 6096000"/>
              <a:gd name="connsiteY206" fmla="*/ 4933747 h 5694845"/>
              <a:gd name="connsiteX207" fmla="*/ 4205101 w 6096000"/>
              <a:gd name="connsiteY207" fmla="*/ 4784407 h 5694845"/>
              <a:gd name="connsiteX208" fmla="*/ 4241766 w 6096000"/>
              <a:gd name="connsiteY208" fmla="*/ 4784407 h 5694845"/>
              <a:gd name="connsiteX209" fmla="*/ 4241766 w 6096000"/>
              <a:gd name="connsiteY209" fmla="*/ 4732856 h 5694845"/>
              <a:gd name="connsiteX210" fmla="*/ 4205101 w 6096000"/>
              <a:gd name="connsiteY210" fmla="*/ 4732856 h 5694845"/>
              <a:gd name="connsiteX211" fmla="*/ 4838996 w 6096000"/>
              <a:gd name="connsiteY211" fmla="*/ 4676144 h 5694845"/>
              <a:gd name="connsiteX212" fmla="*/ 4782532 w 6096000"/>
              <a:gd name="connsiteY212" fmla="*/ 4732867 h 5694845"/>
              <a:gd name="connsiteX213" fmla="*/ 4782532 w 6096000"/>
              <a:gd name="connsiteY213" fmla="*/ 4933746 h 5694845"/>
              <a:gd name="connsiteX214" fmla="*/ 4838996 w 6096000"/>
              <a:gd name="connsiteY214" fmla="*/ 4933746 h 5694845"/>
              <a:gd name="connsiteX215" fmla="*/ 4838996 w 6096000"/>
              <a:gd name="connsiteY215" fmla="*/ 4833015 h 5694845"/>
              <a:gd name="connsiteX216" fmla="*/ 4867752 w 6096000"/>
              <a:gd name="connsiteY216" fmla="*/ 4785844 h 5694845"/>
              <a:gd name="connsiteX217" fmla="*/ 4897152 w 6096000"/>
              <a:gd name="connsiteY217" fmla="*/ 4832377 h 5694845"/>
              <a:gd name="connsiteX218" fmla="*/ 4897152 w 6096000"/>
              <a:gd name="connsiteY218" fmla="*/ 4933746 h 5694845"/>
              <a:gd name="connsiteX219" fmla="*/ 4953615 w 6096000"/>
              <a:gd name="connsiteY219" fmla="*/ 4933746 h 5694845"/>
              <a:gd name="connsiteX220" fmla="*/ 4953615 w 6096000"/>
              <a:gd name="connsiteY220" fmla="*/ 4823144 h 5694845"/>
              <a:gd name="connsiteX221" fmla="*/ 4938072 w 6096000"/>
              <a:gd name="connsiteY221" fmla="*/ 4762765 h 5694845"/>
              <a:gd name="connsiteX222" fmla="*/ 4877965 w 6096000"/>
              <a:gd name="connsiteY222" fmla="*/ 4733012 h 5694845"/>
              <a:gd name="connsiteX223" fmla="*/ 4838996 w 6096000"/>
              <a:gd name="connsiteY223" fmla="*/ 4743990 h 5694845"/>
              <a:gd name="connsiteX224" fmla="*/ 5037771 w 6096000"/>
              <a:gd name="connsiteY224" fmla="*/ 4676143 h 5694845"/>
              <a:gd name="connsiteX225" fmla="*/ 4981307 w 6096000"/>
              <a:gd name="connsiteY225" fmla="*/ 4732866 h 5694845"/>
              <a:gd name="connsiteX226" fmla="*/ 4981307 w 6096000"/>
              <a:gd name="connsiteY226" fmla="*/ 4933745 h 5694845"/>
              <a:gd name="connsiteX227" fmla="*/ 5037771 w 6096000"/>
              <a:gd name="connsiteY227" fmla="*/ 4933745 h 5694845"/>
              <a:gd name="connsiteX228" fmla="*/ 5037771 w 6096000"/>
              <a:gd name="connsiteY228" fmla="*/ 4784331 h 5694845"/>
              <a:gd name="connsiteX229" fmla="*/ 5074447 w 6096000"/>
              <a:gd name="connsiteY229" fmla="*/ 4784331 h 5694845"/>
              <a:gd name="connsiteX230" fmla="*/ 5074447 w 6096000"/>
              <a:gd name="connsiteY230" fmla="*/ 4732779 h 5694845"/>
              <a:gd name="connsiteX231" fmla="*/ 5037771 w 6096000"/>
              <a:gd name="connsiteY231" fmla="*/ 4732779 h 5694845"/>
              <a:gd name="connsiteX232" fmla="*/ 4656824 w 6096000"/>
              <a:gd name="connsiteY232" fmla="*/ 0 h 5694845"/>
              <a:gd name="connsiteX233" fmla="*/ 6096000 w 6096000"/>
              <a:gd name="connsiteY233" fmla="*/ 0 h 5694845"/>
              <a:gd name="connsiteX234" fmla="*/ 6096000 w 6096000"/>
              <a:gd name="connsiteY234" fmla="*/ 3891478 h 5694845"/>
              <a:gd name="connsiteX235" fmla="*/ 6096000 w 6096000"/>
              <a:gd name="connsiteY235" fmla="*/ 4014054 h 5694845"/>
              <a:gd name="connsiteX236" fmla="*/ 6096000 w 6096000"/>
              <a:gd name="connsiteY236" fmla="*/ 5694845 h 5694845"/>
              <a:gd name="connsiteX237" fmla="*/ 4415318 w 6096000"/>
              <a:gd name="connsiteY237" fmla="*/ 5694845 h 5694845"/>
              <a:gd name="connsiteX238" fmla="*/ 4276814 w 6096000"/>
              <a:gd name="connsiteY238" fmla="*/ 5694845 h 5694845"/>
              <a:gd name="connsiteX239" fmla="*/ 194959 w 6096000"/>
              <a:gd name="connsiteY239" fmla="*/ 5694845 h 5694845"/>
              <a:gd name="connsiteX240" fmla="*/ 153490 w 6096000"/>
              <a:gd name="connsiteY240" fmla="*/ 5555204 h 5694845"/>
              <a:gd name="connsiteX241" fmla="*/ 0 w 6096000"/>
              <a:gd name="connsiteY241" fmla="*/ 4360902 h 5694845"/>
              <a:gd name="connsiteX242" fmla="*/ 1738674 w 6096000"/>
              <a:gd name="connsiteY242" fmla="*/ 754023 h 5694845"/>
              <a:gd name="connsiteX243" fmla="*/ 4656824 w 6096000"/>
              <a:gd name="connsiteY243" fmla="*/ 0 h 569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6096000" h="5694845">
                <a:moveTo>
                  <a:pt x="4824647" y="5044080"/>
                </a:moveTo>
                <a:cubicBezTo>
                  <a:pt x="4835548" y="5044080"/>
                  <a:pt x="4843853" y="5052552"/>
                  <a:pt x="4843853" y="5064827"/>
                </a:cubicBezTo>
                <a:cubicBezTo>
                  <a:pt x="4843853" y="5077103"/>
                  <a:pt x="4835548" y="5085574"/>
                  <a:pt x="4824647" y="5085574"/>
                </a:cubicBezTo>
                <a:cubicBezTo>
                  <a:pt x="4813748" y="5085574"/>
                  <a:pt x="4805442" y="5077103"/>
                  <a:pt x="4805442" y="5064827"/>
                </a:cubicBezTo>
                <a:cubicBezTo>
                  <a:pt x="4805442" y="5052552"/>
                  <a:pt x="4813748" y="5044080"/>
                  <a:pt x="4824647" y="5044080"/>
                </a:cubicBezTo>
                <a:close/>
                <a:moveTo>
                  <a:pt x="5257674" y="5043388"/>
                </a:moveTo>
                <a:cubicBezTo>
                  <a:pt x="5269439" y="5043388"/>
                  <a:pt x="5277396" y="5052379"/>
                  <a:pt x="5277396" y="5064827"/>
                </a:cubicBezTo>
                <a:cubicBezTo>
                  <a:pt x="5277396" y="5077276"/>
                  <a:pt x="5269439" y="5086267"/>
                  <a:pt x="5257674" y="5086267"/>
                </a:cubicBezTo>
                <a:cubicBezTo>
                  <a:pt x="5245908" y="5086267"/>
                  <a:pt x="5237950" y="5077276"/>
                  <a:pt x="5237950" y="5064827"/>
                </a:cubicBezTo>
                <a:cubicBezTo>
                  <a:pt x="5237950" y="5052379"/>
                  <a:pt x="5245908" y="5043388"/>
                  <a:pt x="5257674" y="5043388"/>
                </a:cubicBezTo>
                <a:close/>
                <a:moveTo>
                  <a:pt x="4553903" y="5043388"/>
                </a:moveTo>
                <a:cubicBezTo>
                  <a:pt x="4565668" y="5043388"/>
                  <a:pt x="4573626" y="5052379"/>
                  <a:pt x="4573626" y="5064827"/>
                </a:cubicBezTo>
                <a:cubicBezTo>
                  <a:pt x="4573626" y="5077276"/>
                  <a:pt x="4565668" y="5086267"/>
                  <a:pt x="4553903" y="5086267"/>
                </a:cubicBezTo>
                <a:cubicBezTo>
                  <a:pt x="4542137" y="5086267"/>
                  <a:pt x="4534179" y="5077276"/>
                  <a:pt x="4534179" y="5064827"/>
                </a:cubicBezTo>
                <a:cubicBezTo>
                  <a:pt x="4534179" y="5052379"/>
                  <a:pt x="4542137" y="5043388"/>
                  <a:pt x="4553903" y="5043388"/>
                </a:cubicBezTo>
                <a:close/>
                <a:moveTo>
                  <a:pt x="5156814" y="5040967"/>
                </a:moveTo>
                <a:cubicBezTo>
                  <a:pt x="5164426" y="5040967"/>
                  <a:pt x="5172386" y="5044771"/>
                  <a:pt x="5174634" y="5053935"/>
                </a:cubicBezTo>
                <a:lnTo>
                  <a:pt x="5137955" y="5053935"/>
                </a:lnTo>
                <a:cubicBezTo>
                  <a:pt x="5140204" y="5044425"/>
                  <a:pt x="5149201" y="5040967"/>
                  <a:pt x="5156814" y="5040967"/>
                </a:cubicBezTo>
                <a:close/>
                <a:moveTo>
                  <a:pt x="4453043" y="5040967"/>
                </a:moveTo>
                <a:cubicBezTo>
                  <a:pt x="4460655" y="5040967"/>
                  <a:pt x="4468615" y="5044771"/>
                  <a:pt x="4470863" y="5053935"/>
                </a:cubicBezTo>
                <a:lnTo>
                  <a:pt x="4434184" y="5053935"/>
                </a:lnTo>
                <a:cubicBezTo>
                  <a:pt x="4436433" y="5044425"/>
                  <a:pt x="4445430" y="5040967"/>
                  <a:pt x="4453043" y="5040967"/>
                </a:cubicBezTo>
                <a:close/>
                <a:moveTo>
                  <a:pt x="4619119" y="5021603"/>
                </a:moveTo>
                <a:lnTo>
                  <a:pt x="4619119" y="5108052"/>
                </a:lnTo>
                <a:lnTo>
                  <a:pt x="4645246" y="5108052"/>
                </a:lnTo>
                <a:lnTo>
                  <a:pt x="4645246" y="5044253"/>
                </a:lnTo>
                <a:lnTo>
                  <a:pt x="4674312" y="5044253"/>
                </a:lnTo>
                <a:lnTo>
                  <a:pt x="4674312" y="5021603"/>
                </a:lnTo>
                <a:close/>
                <a:moveTo>
                  <a:pt x="5251790" y="5019701"/>
                </a:moveTo>
                <a:cubicBezTo>
                  <a:pt x="5229126" y="5019701"/>
                  <a:pt x="5211651" y="5040277"/>
                  <a:pt x="5211651" y="5064827"/>
                </a:cubicBezTo>
                <a:cubicBezTo>
                  <a:pt x="5211651" y="5089379"/>
                  <a:pt x="5229126" y="5109952"/>
                  <a:pt x="5251790" y="5109952"/>
                </a:cubicBezTo>
                <a:cubicBezTo>
                  <a:pt x="5263382" y="5109952"/>
                  <a:pt x="5271860" y="5104076"/>
                  <a:pt x="5275322" y="5099407"/>
                </a:cubicBezTo>
                <a:lnTo>
                  <a:pt x="5275322" y="5108052"/>
                </a:lnTo>
                <a:lnTo>
                  <a:pt x="5301447" y="5108052"/>
                </a:lnTo>
                <a:lnTo>
                  <a:pt x="5301447" y="5021603"/>
                </a:lnTo>
                <a:lnTo>
                  <a:pt x="5275322" y="5021603"/>
                </a:lnTo>
                <a:lnTo>
                  <a:pt x="5275322" y="5030248"/>
                </a:lnTo>
                <a:cubicBezTo>
                  <a:pt x="5271860" y="5025580"/>
                  <a:pt x="5263382" y="5019701"/>
                  <a:pt x="5251790" y="5019701"/>
                </a:cubicBezTo>
                <a:close/>
                <a:moveTo>
                  <a:pt x="5157506" y="5019701"/>
                </a:moveTo>
                <a:cubicBezTo>
                  <a:pt x="5131207" y="5019701"/>
                  <a:pt x="5112003" y="5039066"/>
                  <a:pt x="5112003" y="5064827"/>
                </a:cubicBezTo>
                <a:cubicBezTo>
                  <a:pt x="5112003" y="5092664"/>
                  <a:pt x="5132591" y="5109952"/>
                  <a:pt x="5158025" y="5109952"/>
                </a:cubicBezTo>
                <a:cubicBezTo>
                  <a:pt x="5176192" y="5109952"/>
                  <a:pt x="5190551" y="5102346"/>
                  <a:pt x="5198684" y="5090935"/>
                </a:cubicBezTo>
                <a:lnTo>
                  <a:pt x="5179306" y="5076412"/>
                </a:lnTo>
                <a:cubicBezTo>
                  <a:pt x="5176018" y="5081425"/>
                  <a:pt x="5168405" y="5086267"/>
                  <a:pt x="5158371" y="5086267"/>
                </a:cubicBezTo>
                <a:cubicBezTo>
                  <a:pt x="5148509" y="5086267"/>
                  <a:pt x="5138820" y="5081425"/>
                  <a:pt x="5137263" y="5071052"/>
                </a:cubicBezTo>
                <a:lnTo>
                  <a:pt x="5200068" y="5071052"/>
                </a:lnTo>
                <a:cubicBezTo>
                  <a:pt x="5200587" y="5066901"/>
                  <a:pt x="5200587" y="5064136"/>
                  <a:pt x="5200587" y="5061889"/>
                </a:cubicBezTo>
                <a:cubicBezTo>
                  <a:pt x="5200587" y="5033879"/>
                  <a:pt x="5180343" y="5019701"/>
                  <a:pt x="5157506" y="5019701"/>
                </a:cubicBezTo>
                <a:close/>
                <a:moveTo>
                  <a:pt x="4824647" y="5019701"/>
                </a:moveTo>
                <a:cubicBezTo>
                  <a:pt x="4799734" y="5019701"/>
                  <a:pt x="4779145" y="5039412"/>
                  <a:pt x="4779145" y="5064827"/>
                </a:cubicBezTo>
                <a:cubicBezTo>
                  <a:pt x="4779145" y="5090243"/>
                  <a:pt x="4799734" y="5109952"/>
                  <a:pt x="4824647" y="5109952"/>
                </a:cubicBezTo>
                <a:cubicBezTo>
                  <a:pt x="4849562" y="5109952"/>
                  <a:pt x="4870150" y="5090243"/>
                  <a:pt x="4870150" y="5064827"/>
                </a:cubicBezTo>
                <a:cubicBezTo>
                  <a:pt x="4870150" y="5039412"/>
                  <a:pt x="4849562" y="5019701"/>
                  <a:pt x="4824647" y="5019701"/>
                </a:cubicBezTo>
                <a:close/>
                <a:moveTo>
                  <a:pt x="4548019" y="5019701"/>
                </a:moveTo>
                <a:cubicBezTo>
                  <a:pt x="4525355" y="5019701"/>
                  <a:pt x="4507880" y="5040277"/>
                  <a:pt x="4507880" y="5064827"/>
                </a:cubicBezTo>
                <a:cubicBezTo>
                  <a:pt x="4507880" y="5089379"/>
                  <a:pt x="4525355" y="5109952"/>
                  <a:pt x="4548019" y="5109952"/>
                </a:cubicBezTo>
                <a:cubicBezTo>
                  <a:pt x="4559611" y="5109952"/>
                  <a:pt x="4568089" y="5104076"/>
                  <a:pt x="4571549" y="5099407"/>
                </a:cubicBezTo>
                <a:lnTo>
                  <a:pt x="4571549" y="5108052"/>
                </a:lnTo>
                <a:lnTo>
                  <a:pt x="4597676" y="5108052"/>
                </a:lnTo>
                <a:lnTo>
                  <a:pt x="4597676" y="5021603"/>
                </a:lnTo>
                <a:lnTo>
                  <a:pt x="4571549" y="5021603"/>
                </a:lnTo>
                <a:lnTo>
                  <a:pt x="4571549" y="5030248"/>
                </a:lnTo>
                <a:cubicBezTo>
                  <a:pt x="4568089" y="5025580"/>
                  <a:pt x="4559611" y="5019701"/>
                  <a:pt x="4548019" y="5019701"/>
                </a:cubicBezTo>
                <a:close/>
                <a:moveTo>
                  <a:pt x="4453735" y="5019701"/>
                </a:moveTo>
                <a:cubicBezTo>
                  <a:pt x="4427437" y="5019701"/>
                  <a:pt x="4408232" y="5039066"/>
                  <a:pt x="4408232" y="5064827"/>
                </a:cubicBezTo>
                <a:cubicBezTo>
                  <a:pt x="4408232" y="5092664"/>
                  <a:pt x="4428820" y="5109952"/>
                  <a:pt x="4454254" y="5109952"/>
                </a:cubicBezTo>
                <a:cubicBezTo>
                  <a:pt x="4472419" y="5109952"/>
                  <a:pt x="4486780" y="5102346"/>
                  <a:pt x="4494911" y="5090935"/>
                </a:cubicBezTo>
                <a:lnTo>
                  <a:pt x="4475535" y="5076412"/>
                </a:lnTo>
                <a:cubicBezTo>
                  <a:pt x="4472247" y="5081425"/>
                  <a:pt x="4464634" y="5086267"/>
                  <a:pt x="4454600" y="5086267"/>
                </a:cubicBezTo>
                <a:cubicBezTo>
                  <a:pt x="4444737" y="5086267"/>
                  <a:pt x="4435049" y="5081425"/>
                  <a:pt x="4433492" y="5071052"/>
                </a:cubicBezTo>
                <a:lnTo>
                  <a:pt x="4496297" y="5071052"/>
                </a:lnTo>
                <a:cubicBezTo>
                  <a:pt x="4496816" y="5066901"/>
                  <a:pt x="4496816" y="5064136"/>
                  <a:pt x="4496816" y="5061889"/>
                </a:cubicBezTo>
                <a:cubicBezTo>
                  <a:pt x="4496816" y="5033879"/>
                  <a:pt x="4476572" y="5019701"/>
                  <a:pt x="4453735" y="5019701"/>
                </a:cubicBezTo>
                <a:close/>
                <a:moveTo>
                  <a:pt x="5396593" y="4994112"/>
                </a:moveTo>
                <a:lnTo>
                  <a:pt x="5370466" y="5021603"/>
                </a:lnTo>
                <a:lnTo>
                  <a:pt x="5370466" y="5108052"/>
                </a:lnTo>
                <a:lnTo>
                  <a:pt x="5396593" y="5108052"/>
                </a:lnTo>
                <a:lnTo>
                  <a:pt x="5396593" y="5044253"/>
                </a:lnTo>
                <a:lnTo>
                  <a:pt x="5420814" y="5044253"/>
                </a:lnTo>
                <a:lnTo>
                  <a:pt x="5420814" y="5021603"/>
                </a:lnTo>
                <a:lnTo>
                  <a:pt x="5396593" y="5021603"/>
                </a:lnTo>
                <a:close/>
                <a:moveTo>
                  <a:pt x="4714792" y="4994112"/>
                </a:moveTo>
                <a:lnTo>
                  <a:pt x="4688666" y="5021603"/>
                </a:lnTo>
                <a:lnTo>
                  <a:pt x="4688666" y="5108052"/>
                </a:lnTo>
                <a:lnTo>
                  <a:pt x="4714792" y="5108052"/>
                </a:lnTo>
                <a:lnTo>
                  <a:pt x="4714792" y="5044253"/>
                </a:lnTo>
                <a:lnTo>
                  <a:pt x="4739013" y="5044253"/>
                </a:lnTo>
                <a:lnTo>
                  <a:pt x="4739013" y="5021603"/>
                </a:lnTo>
                <a:lnTo>
                  <a:pt x="4714792" y="5021603"/>
                </a:lnTo>
                <a:close/>
                <a:moveTo>
                  <a:pt x="4992283" y="4985296"/>
                </a:moveTo>
                <a:lnTo>
                  <a:pt x="4992283" y="5108052"/>
                </a:lnTo>
                <a:lnTo>
                  <a:pt x="5019793" y="5108052"/>
                </a:lnTo>
                <a:lnTo>
                  <a:pt x="5019793" y="5059468"/>
                </a:lnTo>
                <a:lnTo>
                  <a:pt x="5069275" y="5059468"/>
                </a:lnTo>
                <a:lnTo>
                  <a:pt x="5069275" y="5108052"/>
                </a:lnTo>
                <a:lnTo>
                  <a:pt x="5096784" y="5108052"/>
                </a:lnTo>
                <a:lnTo>
                  <a:pt x="5096784" y="4985296"/>
                </a:lnTo>
                <a:lnTo>
                  <a:pt x="5069275" y="4985296"/>
                </a:lnTo>
                <a:lnTo>
                  <a:pt x="5069275" y="5033360"/>
                </a:lnTo>
                <a:lnTo>
                  <a:pt x="5019793" y="5033360"/>
                </a:lnTo>
                <a:lnTo>
                  <a:pt x="5019793" y="4985296"/>
                </a:lnTo>
                <a:close/>
                <a:moveTo>
                  <a:pt x="4288512" y="4985296"/>
                </a:moveTo>
                <a:lnTo>
                  <a:pt x="4288512" y="5069710"/>
                </a:lnTo>
                <a:lnTo>
                  <a:pt x="4316020" y="5097200"/>
                </a:lnTo>
                <a:lnTo>
                  <a:pt x="4316020" y="5059468"/>
                </a:lnTo>
                <a:lnTo>
                  <a:pt x="4365504" y="5059468"/>
                </a:lnTo>
                <a:lnTo>
                  <a:pt x="4365504" y="5108052"/>
                </a:lnTo>
                <a:lnTo>
                  <a:pt x="4393013" y="5108052"/>
                </a:lnTo>
                <a:lnTo>
                  <a:pt x="4393013" y="4985296"/>
                </a:lnTo>
                <a:lnTo>
                  <a:pt x="4365504" y="4985296"/>
                </a:lnTo>
                <a:lnTo>
                  <a:pt x="4365504" y="5033360"/>
                </a:lnTo>
                <a:lnTo>
                  <a:pt x="4316020" y="5033360"/>
                </a:lnTo>
                <a:lnTo>
                  <a:pt x="4316020" y="4985296"/>
                </a:lnTo>
                <a:close/>
                <a:moveTo>
                  <a:pt x="5434130" y="4978379"/>
                </a:moveTo>
                <a:lnTo>
                  <a:pt x="5434130" y="5108052"/>
                </a:lnTo>
                <a:lnTo>
                  <a:pt x="5460257" y="5108052"/>
                </a:lnTo>
                <a:lnTo>
                  <a:pt x="5460257" y="5066037"/>
                </a:lnTo>
                <a:cubicBezTo>
                  <a:pt x="5460257" y="5050478"/>
                  <a:pt x="5467868" y="5043388"/>
                  <a:pt x="5477731" y="5043388"/>
                </a:cubicBezTo>
                <a:cubicBezTo>
                  <a:pt x="5487074" y="5043388"/>
                  <a:pt x="5491744" y="5050650"/>
                  <a:pt x="5491744" y="5062579"/>
                </a:cubicBezTo>
                <a:lnTo>
                  <a:pt x="5491744" y="5108052"/>
                </a:lnTo>
                <a:lnTo>
                  <a:pt x="5517870" y="5108052"/>
                </a:lnTo>
                <a:lnTo>
                  <a:pt x="5517870" y="5058085"/>
                </a:lnTo>
                <a:cubicBezTo>
                  <a:pt x="5517870" y="5035434"/>
                  <a:pt x="5505586" y="5019701"/>
                  <a:pt x="5484305" y="5019701"/>
                </a:cubicBezTo>
                <a:cubicBezTo>
                  <a:pt x="5473060" y="5019701"/>
                  <a:pt x="5464408" y="5024543"/>
                  <a:pt x="5460257" y="5030422"/>
                </a:cubicBezTo>
                <a:lnTo>
                  <a:pt x="5460257" y="4978379"/>
                </a:lnTo>
                <a:close/>
                <a:moveTo>
                  <a:pt x="5322892" y="4978379"/>
                </a:moveTo>
                <a:lnTo>
                  <a:pt x="5322892" y="5108052"/>
                </a:lnTo>
                <a:lnTo>
                  <a:pt x="5349018" y="5108052"/>
                </a:lnTo>
                <a:lnTo>
                  <a:pt x="5349018" y="4978379"/>
                </a:lnTo>
                <a:close/>
                <a:moveTo>
                  <a:pt x="4929143" y="4977342"/>
                </a:moveTo>
                <a:cubicBezTo>
                  <a:pt x="4909938" y="4977342"/>
                  <a:pt x="4894366" y="4990136"/>
                  <a:pt x="4894366" y="5012095"/>
                </a:cubicBezTo>
                <a:lnTo>
                  <a:pt x="4894366" y="5021603"/>
                </a:lnTo>
                <a:lnTo>
                  <a:pt x="4877066" y="5021603"/>
                </a:lnTo>
                <a:lnTo>
                  <a:pt x="4877066" y="5044253"/>
                </a:lnTo>
                <a:lnTo>
                  <a:pt x="4894366" y="5044253"/>
                </a:lnTo>
                <a:lnTo>
                  <a:pt x="4894366" y="5108052"/>
                </a:lnTo>
                <a:lnTo>
                  <a:pt x="4920492" y="5108052"/>
                </a:lnTo>
                <a:lnTo>
                  <a:pt x="4920492" y="5044253"/>
                </a:lnTo>
                <a:lnTo>
                  <a:pt x="4944715" y="5044253"/>
                </a:lnTo>
                <a:lnTo>
                  <a:pt x="4944715" y="5021603"/>
                </a:lnTo>
                <a:lnTo>
                  <a:pt x="4920492" y="5021603"/>
                </a:lnTo>
                <a:lnTo>
                  <a:pt x="4920492" y="5015379"/>
                </a:lnTo>
                <a:cubicBezTo>
                  <a:pt x="4920492" y="5005005"/>
                  <a:pt x="4924818" y="5000683"/>
                  <a:pt x="4935372" y="5000683"/>
                </a:cubicBezTo>
                <a:cubicBezTo>
                  <a:pt x="4939178" y="5000683"/>
                  <a:pt x="4941946" y="5001202"/>
                  <a:pt x="4944715" y="5002238"/>
                </a:cubicBezTo>
                <a:lnTo>
                  <a:pt x="4944715" y="4979243"/>
                </a:lnTo>
                <a:cubicBezTo>
                  <a:pt x="4940908" y="4978033"/>
                  <a:pt x="4936063" y="4977342"/>
                  <a:pt x="4929143" y="4977342"/>
                </a:cubicBezTo>
                <a:close/>
                <a:moveTo>
                  <a:pt x="4462900" y="4785693"/>
                </a:moveTo>
                <a:cubicBezTo>
                  <a:pt x="4482547" y="4785693"/>
                  <a:pt x="4496187" y="4795045"/>
                  <a:pt x="4501880" y="4812182"/>
                </a:cubicBezTo>
                <a:lnTo>
                  <a:pt x="4422342" y="4812182"/>
                </a:lnTo>
                <a:cubicBezTo>
                  <a:pt x="4431657" y="4789313"/>
                  <a:pt x="4451390" y="4785693"/>
                  <a:pt x="4462900" y="4785693"/>
                </a:cubicBezTo>
                <a:close/>
                <a:moveTo>
                  <a:pt x="4462576" y="4732866"/>
                </a:moveTo>
                <a:cubicBezTo>
                  <a:pt x="4399846" y="4732866"/>
                  <a:pt x="4362359" y="4784688"/>
                  <a:pt x="4362359" y="4834776"/>
                </a:cubicBezTo>
                <a:cubicBezTo>
                  <a:pt x="4362359" y="4891211"/>
                  <a:pt x="4406523" y="4935416"/>
                  <a:pt x="4462900" y="4935416"/>
                </a:cubicBezTo>
                <a:cubicBezTo>
                  <a:pt x="4492154" y="4935416"/>
                  <a:pt x="4519418" y="4924832"/>
                  <a:pt x="4539313" y="4906069"/>
                </a:cubicBezTo>
                <a:lnTo>
                  <a:pt x="4502388" y="4869239"/>
                </a:lnTo>
                <a:cubicBezTo>
                  <a:pt x="4490991" y="4878769"/>
                  <a:pt x="4480844" y="4882227"/>
                  <a:pt x="4465139" y="4882518"/>
                </a:cubicBezTo>
                <a:cubicBezTo>
                  <a:pt x="4451498" y="4882389"/>
                  <a:pt x="4439215" y="4876776"/>
                  <a:pt x="4430371" y="4867802"/>
                </a:cubicBezTo>
                <a:cubicBezTo>
                  <a:pt x="4428554" y="4865949"/>
                  <a:pt x="4426916" y="4863955"/>
                  <a:pt x="4425413" y="4861843"/>
                </a:cubicBezTo>
                <a:cubicBezTo>
                  <a:pt x="4425067" y="4861308"/>
                  <a:pt x="4424661" y="4860773"/>
                  <a:pt x="4424348" y="4860249"/>
                </a:cubicBezTo>
                <a:lnTo>
                  <a:pt x="4424327" y="4860249"/>
                </a:lnTo>
                <a:cubicBezTo>
                  <a:pt x="4422742" y="4857834"/>
                  <a:pt x="4421315" y="4855311"/>
                  <a:pt x="4420185" y="4852637"/>
                </a:cubicBezTo>
                <a:lnTo>
                  <a:pt x="4558927" y="4852637"/>
                </a:lnTo>
                <a:cubicBezTo>
                  <a:pt x="4560014" y="4847429"/>
                  <a:pt x="4561214" y="4840286"/>
                  <a:pt x="4561214" y="4831907"/>
                </a:cubicBezTo>
                <a:cubicBezTo>
                  <a:pt x="4561214" y="4783224"/>
                  <a:pt x="4524327" y="4732866"/>
                  <a:pt x="4462576" y="4732866"/>
                </a:cubicBezTo>
                <a:close/>
                <a:moveTo>
                  <a:pt x="4259514" y="4732855"/>
                </a:moveTo>
                <a:lnTo>
                  <a:pt x="4259514" y="4933746"/>
                </a:lnTo>
                <a:lnTo>
                  <a:pt x="4315977" y="4933746"/>
                </a:lnTo>
                <a:lnTo>
                  <a:pt x="4315977" y="4784407"/>
                </a:lnTo>
                <a:lnTo>
                  <a:pt x="4361369" y="4784407"/>
                </a:lnTo>
                <a:lnTo>
                  <a:pt x="4361369" y="4732855"/>
                </a:lnTo>
                <a:close/>
                <a:moveTo>
                  <a:pt x="4677980" y="4732833"/>
                </a:moveTo>
                <a:lnTo>
                  <a:pt x="4677028" y="4732898"/>
                </a:lnTo>
                <a:cubicBezTo>
                  <a:pt x="4621759" y="4733319"/>
                  <a:pt x="4576930" y="4778296"/>
                  <a:pt x="4576930" y="4833538"/>
                </a:cubicBezTo>
                <a:cubicBezTo>
                  <a:pt x="4576930" y="4896484"/>
                  <a:pt x="4629463" y="4935448"/>
                  <a:pt x="4678369" y="4935448"/>
                </a:cubicBezTo>
                <a:cubicBezTo>
                  <a:pt x="4710169" y="4935448"/>
                  <a:pt x="4736990" y="4922935"/>
                  <a:pt x="4758107" y="4898251"/>
                </a:cubicBezTo>
                <a:lnTo>
                  <a:pt x="4762291" y="4893345"/>
                </a:lnTo>
                <a:lnTo>
                  <a:pt x="4726280" y="4857304"/>
                </a:lnTo>
                <a:lnTo>
                  <a:pt x="4721182" y="4862442"/>
                </a:lnTo>
                <a:cubicBezTo>
                  <a:pt x="4705384" y="4878207"/>
                  <a:pt x="4698383" y="4882486"/>
                  <a:pt x="4679299" y="4882610"/>
                </a:cubicBezTo>
                <a:cubicBezTo>
                  <a:pt x="4653132" y="4882388"/>
                  <a:pt x="4633404" y="4861567"/>
                  <a:pt x="4633404" y="4834181"/>
                </a:cubicBezTo>
                <a:cubicBezTo>
                  <a:pt x="4633404" y="4800901"/>
                  <a:pt x="4656614" y="4785725"/>
                  <a:pt x="4678169" y="4785703"/>
                </a:cubicBezTo>
                <a:lnTo>
                  <a:pt x="4679131" y="4785638"/>
                </a:lnTo>
                <a:cubicBezTo>
                  <a:pt x="4698329" y="4785747"/>
                  <a:pt x="4705476" y="4790133"/>
                  <a:pt x="4721160" y="4805796"/>
                </a:cubicBezTo>
                <a:lnTo>
                  <a:pt x="4726258" y="4810912"/>
                </a:lnTo>
                <a:lnTo>
                  <a:pt x="4762291" y="4774909"/>
                </a:lnTo>
                <a:lnTo>
                  <a:pt x="4758096" y="4769993"/>
                </a:lnTo>
                <a:cubicBezTo>
                  <a:pt x="4736892" y="4745195"/>
                  <a:pt x="4709872" y="4732655"/>
                  <a:pt x="4677980" y="4732833"/>
                </a:cubicBezTo>
                <a:close/>
                <a:moveTo>
                  <a:pt x="4061389" y="4699876"/>
                </a:moveTo>
                <a:lnTo>
                  <a:pt x="4061389" y="4826909"/>
                </a:lnTo>
                <a:cubicBezTo>
                  <a:pt x="4061389" y="4831643"/>
                  <a:pt x="4061084" y="4836718"/>
                  <a:pt x="4060416" y="4841770"/>
                </a:cubicBezTo>
                <a:lnTo>
                  <a:pt x="4060416" y="4841770"/>
                </a:lnTo>
                <a:lnTo>
                  <a:pt x="4060416" y="4841771"/>
                </a:lnTo>
                <a:lnTo>
                  <a:pt x="3918482" y="4699935"/>
                </a:lnTo>
                <a:lnTo>
                  <a:pt x="3918482" y="4826908"/>
                </a:lnTo>
                <a:cubicBezTo>
                  <a:pt x="3918482" y="4863581"/>
                  <a:pt x="3927964" y="4884116"/>
                  <a:pt x="3936047" y="4894861"/>
                </a:cubicBezTo>
                <a:cubicBezTo>
                  <a:pt x="3950649" y="4914435"/>
                  <a:pt x="3980395" y="4935349"/>
                  <a:pt x="4020094" y="4935349"/>
                </a:cubicBezTo>
                <a:cubicBezTo>
                  <a:pt x="4059793" y="4935349"/>
                  <a:pt x="4089538" y="4914435"/>
                  <a:pt x="4104141" y="4894861"/>
                </a:cubicBezTo>
                <a:cubicBezTo>
                  <a:pt x="4105372" y="4893224"/>
                  <a:pt x="4106635" y="4891329"/>
                  <a:pt x="4107893" y="4889215"/>
                </a:cubicBezTo>
                <a:lnTo>
                  <a:pt x="4107892" y="4889213"/>
                </a:lnTo>
                <a:lnTo>
                  <a:pt x="4107894" y="4889215"/>
                </a:lnTo>
                <a:cubicBezTo>
                  <a:pt x="4114892" y="4877453"/>
                  <a:pt x="4121706" y="4857993"/>
                  <a:pt x="4121706" y="4826908"/>
                </a:cubicBezTo>
                <a:lnTo>
                  <a:pt x="4121706" y="4699876"/>
                </a:lnTo>
                <a:close/>
                <a:moveTo>
                  <a:pt x="4205101" y="4676225"/>
                </a:moveTo>
                <a:lnTo>
                  <a:pt x="4148626" y="4732866"/>
                </a:lnTo>
                <a:lnTo>
                  <a:pt x="4148626" y="4933747"/>
                </a:lnTo>
                <a:lnTo>
                  <a:pt x="4205101" y="4933747"/>
                </a:lnTo>
                <a:lnTo>
                  <a:pt x="4205101" y="4784407"/>
                </a:lnTo>
                <a:lnTo>
                  <a:pt x="4241766" y="4784407"/>
                </a:lnTo>
                <a:lnTo>
                  <a:pt x="4241766" y="4732856"/>
                </a:lnTo>
                <a:lnTo>
                  <a:pt x="4205101" y="4732856"/>
                </a:lnTo>
                <a:close/>
                <a:moveTo>
                  <a:pt x="4838996" y="4676144"/>
                </a:moveTo>
                <a:lnTo>
                  <a:pt x="4782532" y="4732867"/>
                </a:lnTo>
                <a:cubicBezTo>
                  <a:pt x="4782532" y="4732867"/>
                  <a:pt x="4782057" y="4927377"/>
                  <a:pt x="4782532" y="4933746"/>
                </a:cubicBezTo>
                <a:lnTo>
                  <a:pt x="4838996" y="4933746"/>
                </a:lnTo>
                <a:lnTo>
                  <a:pt x="4838996" y="4833015"/>
                </a:lnTo>
                <a:cubicBezTo>
                  <a:pt x="4838996" y="4799951"/>
                  <a:pt x="4847587" y="4785844"/>
                  <a:pt x="4867752" y="4785844"/>
                </a:cubicBezTo>
                <a:cubicBezTo>
                  <a:pt x="4888907" y="4785844"/>
                  <a:pt x="4897152" y="4798886"/>
                  <a:pt x="4897152" y="4832377"/>
                </a:cubicBezTo>
                <a:lnTo>
                  <a:pt x="4897152" y="4933746"/>
                </a:lnTo>
                <a:lnTo>
                  <a:pt x="4953615" y="4933746"/>
                </a:lnTo>
                <a:lnTo>
                  <a:pt x="4953615" y="4823144"/>
                </a:lnTo>
                <a:cubicBezTo>
                  <a:pt x="4953615" y="4808940"/>
                  <a:pt x="4953615" y="4782495"/>
                  <a:pt x="4938072" y="4762765"/>
                </a:cubicBezTo>
                <a:cubicBezTo>
                  <a:pt x="4924080" y="4744968"/>
                  <a:pt x="4899931" y="4733012"/>
                  <a:pt x="4877965" y="4733012"/>
                </a:cubicBezTo>
                <a:cubicBezTo>
                  <a:pt x="4863449" y="4733012"/>
                  <a:pt x="4850382" y="4736697"/>
                  <a:pt x="4838996" y="4743990"/>
                </a:cubicBezTo>
                <a:close/>
                <a:moveTo>
                  <a:pt x="5037771" y="4676143"/>
                </a:moveTo>
                <a:lnTo>
                  <a:pt x="4981307" y="4732866"/>
                </a:lnTo>
                <a:lnTo>
                  <a:pt x="4981307" y="4933745"/>
                </a:lnTo>
                <a:lnTo>
                  <a:pt x="5037771" y="4933745"/>
                </a:lnTo>
                <a:lnTo>
                  <a:pt x="5037771" y="4784331"/>
                </a:lnTo>
                <a:lnTo>
                  <a:pt x="5074447" y="4784331"/>
                </a:lnTo>
                <a:lnTo>
                  <a:pt x="5074447" y="4732779"/>
                </a:lnTo>
                <a:lnTo>
                  <a:pt x="5037771" y="4732779"/>
                </a:lnTo>
                <a:close/>
                <a:moveTo>
                  <a:pt x="4656824" y="0"/>
                </a:moveTo>
                <a:lnTo>
                  <a:pt x="6096000" y="0"/>
                </a:lnTo>
                <a:lnTo>
                  <a:pt x="6096000" y="3891478"/>
                </a:lnTo>
                <a:lnTo>
                  <a:pt x="6096000" y="4014054"/>
                </a:lnTo>
                <a:lnTo>
                  <a:pt x="6096000" y="5694845"/>
                </a:lnTo>
                <a:lnTo>
                  <a:pt x="4415318" y="5694845"/>
                </a:lnTo>
                <a:lnTo>
                  <a:pt x="4276814" y="5694845"/>
                </a:lnTo>
                <a:lnTo>
                  <a:pt x="194959" y="5694845"/>
                </a:lnTo>
                <a:lnTo>
                  <a:pt x="153490" y="5555204"/>
                </a:lnTo>
                <a:cubicBezTo>
                  <a:pt x="56144" y="5186140"/>
                  <a:pt x="0" y="4786883"/>
                  <a:pt x="0" y="4360902"/>
                </a:cubicBezTo>
                <a:cubicBezTo>
                  <a:pt x="0" y="2656980"/>
                  <a:pt x="898297" y="1380619"/>
                  <a:pt x="1738674" y="754023"/>
                </a:cubicBezTo>
                <a:cubicBezTo>
                  <a:pt x="2199933" y="407026"/>
                  <a:pt x="3081907" y="0"/>
                  <a:pt x="4656824" y="0"/>
                </a:cubicBezTo>
                <a:close/>
              </a:path>
            </a:pathLst>
          </a:custGeom>
          <a:solidFill>
            <a:schemeClr val="bg1">
              <a:lumMod val="95000"/>
            </a:schemeClr>
          </a:solidFill>
        </p:spPr>
        <p:txBody>
          <a:bodyPr wrap="square" tIns="1097280" anchor="ctr" anchorCtr="0">
            <a:noAutofit/>
          </a:bodyPr>
          <a:lstStyle>
            <a:lvl1pPr algn="ctr">
              <a:defRPr sz="1200"/>
            </a:lvl1pPr>
          </a:lstStyle>
          <a:p>
            <a:r>
              <a:rPr lang="nl-NL"/>
              <a:t>Klik op het pictogram als u een afbeelding wilt toevoegen</a:t>
            </a:r>
            <a:endParaRPr lang="en-GB"/>
          </a:p>
        </p:txBody>
      </p:sp>
    </p:spTree>
    <p:extLst>
      <p:ext uri="{BB962C8B-B14F-4D97-AF65-F5344CB8AC3E}">
        <p14:creationId xmlns:p14="http://schemas.microsoft.com/office/powerpoint/2010/main" val="25721737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Grafiek I / 2 kolommen + kop">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14" name="Chart Placeholder 2">
            <a:extLst>
              <a:ext uri="{FF2B5EF4-FFF2-40B4-BE49-F238E27FC236}">
                <a16:creationId xmlns:a16="http://schemas.microsoft.com/office/drawing/2014/main" id="{449B2FBB-9F5F-9ADE-2491-164C9A70C11C}"/>
              </a:ext>
            </a:extLst>
          </p:cNvPr>
          <p:cNvSpPr>
            <a:spLocks noGrp="1"/>
          </p:cNvSpPr>
          <p:nvPr>
            <p:ph type="chart" sz="quarter" idx="18" hasCustomPrompt="1"/>
          </p:nvPr>
        </p:nvSpPr>
        <p:spPr>
          <a:xfrm>
            <a:off x="1137600" y="2559600"/>
            <a:ext cx="4545013" cy="3240000"/>
          </a:xfrm>
        </p:spPr>
        <p:txBody>
          <a:bodyPr tIns="914400"/>
          <a:lstStyle>
            <a:lvl1pPr algn="ctr">
              <a:defRPr sz="1800"/>
            </a:lvl1pPr>
          </a:lstStyle>
          <a:p>
            <a:r>
              <a:rPr lang="nl-NL" dirty="0"/>
              <a:t>Grafiek</a:t>
            </a:r>
            <a:endParaRPr lang="en-US" dirty="0"/>
          </a:p>
        </p:txBody>
      </p:sp>
      <p:sp>
        <p:nvSpPr>
          <p:cNvPr id="16" name="Chart Placeholder 2">
            <a:extLst>
              <a:ext uri="{FF2B5EF4-FFF2-40B4-BE49-F238E27FC236}">
                <a16:creationId xmlns:a16="http://schemas.microsoft.com/office/drawing/2014/main" id="{C06F400B-114A-344F-4B0F-C2B8FE165BA6}"/>
              </a:ext>
            </a:extLst>
          </p:cNvPr>
          <p:cNvSpPr>
            <a:spLocks noGrp="1"/>
          </p:cNvSpPr>
          <p:nvPr>
            <p:ph type="chart" sz="quarter" idx="19" hasCustomPrompt="1"/>
          </p:nvPr>
        </p:nvSpPr>
        <p:spPr>
          <a:xfrm>
            <a:off x="6517477" y="2559600"/>
            <a:ext cx="4545013" cy="3240000"/>
          </a:xfrm>
        </p:spPr>
        <p:txBody>
          <a:bodyPr tIns="914400"/>
          <a:lstStyle>
            <a:lvl1pPr algn="ctr">
              <a:defRPr sz="1800"/>
            </a:lvl1pPr>
          </a:lstStyle>
          <a:p>
            <a:r>
              <a:rPr lang="nl-NL" dirty="0"/>
              <a:t>Grafiek</a:t>
            </a:r>
            <a:endParaRPr lang="en-US" dirty="0"/>
          </a:p>
        </p:txBody>
      </p:sp>
      <p:sp>
        <p:nvSpPr>
          <p:cNvPr id="24" name="Text Placeholder 3">
            <a:extLst>
              <a:ext uri="{FF2B5EF4-FFF2-40B4-BE49-F238E27FC236}">
                <a16:creationId xmlns:a16="http://schemas.microsoft.com/office/drawing/2014/main" id="{D0E36D55-2B5D-9460-ABD2-C26548661260}"/>
              </a:ext>
            </a:extLst>
          </p:cNvPr>
          <p:cNvSpPr>
            <a:spLocks noGrp="1"/>
          </p:cNvSpPr>
          <p:nvPr>
            <p:ph type="body" sz="half" idx="14" hasCustomPrompt="1"/>
          </p:nvPr>
        </p:nvSpPr>
        <p:spPr>
          <a:xfrm>
            <a:off x="1139126"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sp>
        <p:nvSpPr>
          <p:cNvPr id="25" name="Text Placeholder 3">
            <a:extLst>
              <a:ext uri="{FF2B5EF4-FFF2-40B4-BE49-F238E27FC236}">
                <a16:creationId xmlns:a16="http://schemas.microsoft.com/office/drawing/2014/main" id="{FAF0E0CE-9D75-49A1-C314-92D1CCB47921}"/>
              </a:ext>
            </a:extLst>
          </p:cNvPr>
          <p:cNvSpPr>
            <a:spLocks noGrp="1"/>
          </p:cNvSpPr>
          <p:nvPr>
            <p:ph type="body" sz="half" idx="15" hasCustomPrompt="1"/>
          </p:nvPr>
        </p:nvSpPr>
        <p:spPr>
          <a:xfrm>
            <a:off x="6503577"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grpSp>
        <p:nvGrpSpPr>
          <p:cNvPr id="2" name="Groep 1">
            <a:extLst>
              <a:ext uri="{FF2B5EF4-FFF2-40B4-BE49-F238E27FC236}">
                <a16:creationId xmlns:a16="http://schemas.microsoft.com/office/drawing/2014/main" id="{87828BF9-ACE5-1758-AF22-4AD73C60F006}"/>
              </a:ext>
            </a:extLst>
          </p:cNvPr>
          <p:cNvGrpSpPr/>
          <p:nvPr userDrawn="1"/>
        </p:nvGrpSpPr>
        <p:grpSpPr>
          <a:xfrm>
            <a:off x="10014482" y="5839298"/>
            <a:ext cx="1599388" cy="433809"/>
            <a:chOff x="3101010" y="1249096"/>
            <a:chExt cx="3978412" cy="1079079"/>
          </a:xfrm>
          <a:solidFill>
            <a:schemeClr val="tx2"/>
          </a:solidFill>
        </p:grpSpPr>
        <p:sp>
          <p:nvSpPr>
            <p:cNvPr id="10" name="Vrije vorm 9">
              <a:extLst>
                <a:ext uri="{FF2B5EF4-FFF2-40B4-BE49-F238E27FC236}">
                  <a16:creationId xmlns:a16="http://schemas.microsoft.com/office/drawing/2014/main" id="{5FB51F46-A8B6-9D72-8041-1611A14AB157}"/>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8204482F-C248-250A-B8A6-5F799D7FE001}"/>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C95017F0-49F6-9BF5-5D06-618DCD77DB4A}"/>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12C6C92F-32B7-AD56-C66D-E7032F3BE191}"/>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2CC7FD93-2D94-178B-AD65-3CB8FDC41C35}"/>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2D578CA8-C847-D67B-12F3-8A428274C529}"/>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B3E3E832-9F5F-53FD-E11F-A1A890234549}"/>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053F6E5A-6F07-1478-2F34-B4B9982421A2}"/>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22015873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Grafiek II / 2 kolommen">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20" name="Text Placeholder 13">
            <a:extLst>
              <a:ext uri="{FF2B5EF4-FFF2-40B4-BE49-F238E27FC236}">
                <a16:creationId xmlns:a16="http://schemas.microsoft.com/office/drawing/2014/main" id="{03AB347D-8882-2FD0-E079-612958D2016B}"/>
              </a:ext>
            </a:extLst>
          </p:cNvPr>
          <p:cNvSpPr>
            <a:spLocks noGrp="1"/>
          </p:cNvSpPr>
          <p:nvPr>
            <p:ph type="body" sz="quarter" idx="16"/>
          </p:nvPr>
        </p:nvSpPr>
        <p:spPr>
          <a:xfrm>
            <a:off x="1139125" y="2005200"/>
            <a:ext cx="4545423" cy="3848185"/>
          </a:xfrm>
        </p:spPr>
        <p:txBody>
          <a:bodyPr/>
          <a:lstStyle>
            <a:lvl1pPr>
              <a:defRPr sz="2400"/>
            </a:lvl1pPr>
            <a:lvl2pPr>
              <a:defRPr sz="2400"/>
            </a:lvl2pPr>
            <a:lvl3pPr>
              <a:defRPr sz="2000"/>
            </a:lvl3pPr>
            <a:lvl4pPr>
              <a:defRPr sz="1800"/>
            </a:lvl4pPr>
            <a:lvl5pPr>
              <a:defRPr sz="1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1" name="Chart Placeholder 2">
            <a:extLst>
              <a:ext uri="{FF2B5EF4-FFF2-40B4-BE49-F238E27FC236}">
                <a16:creationId xmlns:a16="http://schemas.microsoft.com/office/drawing/2014/main" id="{F56E271C-9600-82DF-0D31-989B97DD9B31}"/>
              </a:ext>
            </a:extLst>
          </p:cNvPr>
          <p:cNvSpPr>
            <a:spLocks noGrp="1"/>
          </p:cNvSpPr>
          <p:nvPr>
            <p:ph type="chart" sz="quarter" idx="19" hasCustomPrompt="1"/>
          </p:nvPr>
        </p:nvSpPr>
        <p:spPr>
          <a:xfrm>
            <a:off x="6517477" y="2557464"/>
            <a:ext cx="4545013" cy="3240000"/>
          </a:xfrm>
        </p:spPr>
        <p:txBody>
          <a:bodyPr tIns="914400"/>
          <a:lstStyle>
            <a:lvl1pPr algn="ctr">
              <a:defRPr sz="1800"/>
            </a:lvl1pPr>
          </a:lstStyle>
          <a:p>
            <a:r>
              <a:rPr lang="nl-NL" dirty="0"/>
              <a:t>Grafiek</a:t>
            </a:r>
            <a:endParaRPr lang="en-US" dirty="0"/>
          </a:p>
        </p:txBody>
      </p:sp>
      <p:sp>
        <p:nvSpPr>
          <p:cNvPr id="22" name="Text Placeholder 3">
            <a:extLst>
              <a:ext uri="{FF2B5EF4-FFF2-40B4-BE49-F238E27FC236}">
                <a16:creationId xmlns:a16="http://schemas.microsoft.com/office/drawing/2014/main" id="{5E8C067A-D518-F570-029F-B1C5ABC77397}"/>
              </a:ext>
            </a:extLst>
          </p:cNvPr>
          <p:cNvSpPr>
            <a:spLocks noGrp="1"/>
          </p:cNvSpPr>
          <p:nvPr>
            <p:ph type="body" sz="half" idx="15" hasCustomPrompt="1"/>
          </p:nvPr>
        </p:nvSpPr>
        <p:spPr>
          <a:xfrm>
            <a:off x="6503577" y="2005200"/>
            <a:ext cx="4545424" cy="369332"/>
          </a:xfrm>
        </p:spPr>
        <p:txBody>
          <a:bodyPr wrap="square">
            <a:spAutoFit/>
          </a:bodyPr>
          <a:lstStyle>
            <a:lvl1pPr marL="0" indent="0">
              <a:buNone/>
              <a:defRPr sz="24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itle</a:t>
            </a:r>
          </a:p>
        </p:txBody>
      </p:sp>
      <p:grpSp>
        <p:nvGrpSpPr>
          <p:cNvPr id="2" name="Groep 1">
            <a:extLst>
              <a:ext uri="{FF2B5EF4-FFF2-40B4-BE49-F238E27FC236}">
                <a16:creationId xmlns:a16="http://schemas.microsoft.com/office/drawing/2014/main" id="{2C6C5860-6860-97DE-A845-0145ECD5181C}"/>
              </a:ext>
            </a:extLst>
          </p:cNvPr>
          <p:cNvGrpSpPr/>
          <p:nvPr userDrawn="1"/>
        </p:nvGrpSpPr>
        <p:grpSpPr>
          <a:xfrm>
            <a:off x="10014482" y="5839298"/>
            <a:ext cx="1599388" cy="433809"/>
            <a:chOff x="3101010" y="1249096"/>
            <a:chExt cx="3978412" cy="1079079"/>
          </a:xfrm>
          <a:solidFill>
            <a:schemeClr val="tx2"/>
          </a:solidFill>
        </p:grpSpPr>
        <p:sp>
          <p:nvSpPr>
            <p:cNvPr id="10" name="Vrije vorm 9">
              <a:extLst>
                <a:ext uri="{FF2B5EF4-FFF2-40B4-BE49-F238E27FC236}">
                  <a16:creationId xmlns:a16="http://schemas.microsoft.com/office/drawing/2014/main" id="{057CBD5F-1B83-722B-4664-9B19874A40EE}"/>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06B4CE77-6D08-55C4-67F9-A9EFC9DE9DE5}"/>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0EAFBE9A-8298-11EC-C7CF-0C9A1C79771D}"/>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5A8F342F-8F73-639E-C5D4-6DADD79E33D2}"/>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923C9F98-1294-2AAC-A7D3-C7563397A018}"/>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25DC6592-E1B6-EF33-0F99-40EA66DC84F0}"/>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AF7E8616-B8A3-E54B-6F4A-B04A689C6831}"/>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4DBDCC78-7047-0A1C-5088-5A73202723CB}"/>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80260263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ilm ">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7C5895-80AB-C6C6-1BFE-07DBAB6DC464}"/>
              </a:ext>
            </a:extLst>
          </p:cNvPr>
          <p:cNvSpPr>
            <a:spLocks noGrp="1"/>
          </p:cNvSpPr>
          <p:nvPr>
            <p:ph type="title"/>
          </p:nvPr>
        </p:nvSpPr>
        <p:spPr/>
        <p:txBody>
          <a:bodyPr/>
          <a:lstStyle/>
          <a:p>
            <a:r>
              <a:rPr lang="nl-NL"/>
              <a:t>Klik om stijl te bewerken</a:t>
            </a:r>
            <a:endParaRPr lang="en-US"/>
          </a:p>
        </p:txBody>
      </p:sp>
      <p:sp>
        <p:nvSpPr>
          <p:cNvPr id="27" name="Media Placeholder 25">
            <a:extLst>
              <a:ext uri="{FF2B5EF4-FFF2-40B4-BE49-F238E27FC236}">
                <a16:creationId xmlns:a16="http://schemas.microsoft.com/office/drawing/2014/main" id="{7A64372C-BA04-29DD-614E-7D229BE32CA8}"/>
              </a:ext>
            </a:extLst>
          </p:cNvPr>
          <p:cNvSpPr>
            <a:spLocks noGrp="1"/>
          </p:cNvSpPr>
          <p:nvPr>
            <p:ph type="media" sz="quarter" idx="15" hasCustomPrompt="1"/>
          </p:nvPr>
        </p:nvSpPr>
        <p:spPr>
          <a:xfrm>
            <a:off x="2682875" y="2058988"/>
            <a:ext cx="6826250" cy="3856037"/>
          </a:xfrm>
          <a:noFill/>
        </p:spPr>
        <p:txBody>
          <a:bodyPr tIns="914400"/>
          <a:lstStyle>
            <a:lvl1pPr algn="ctr">
              <a:defRPr sz="1800"/>
            </a:lvl1pPr>
          </a:lstStyle>
          <a:p>
            <a:r>
              <a:rPr lang="nl-NL" dirty="0"/>
              <a:t>Media</a:t>
            </a:r>
            <a:endParaRPr lang="en-US" dirty="0"/>
          </a:p>
        </p:txBody>
      </p:sp>
      <p:grpSp>
        <p:nvGrpSpPr>
          <p:cNvPr id="2" name="Groep 1">
            <a:extLst>
              <a:ext uri="{FF2B5EF4-FFF2-40B4-BE49-F238E27FC236}">
                <a16:creationId xmlns:a16="http://schemas.microsoft.com/office/drawing/2014/main" id="{E43B9C96-A80C-E3F8-0800-9B39142529FF}"/>
              </a:ext>
            </a:extLst>
          </p:cNvPr>
          <p:cNvGrpSpPr/>
          <p:nvPr userDrawn="1"/>
        </p:nvGrpSpPr>
        <p:grpSpPr>
          <a:xfrm>
            <a:off x="10014482" y="5839298"/>
            <a:ext cx="1599388" cy="433809"/>
            <a:chOff x="3101010" y="1249096"/>
            <a:chExt cx="3978412" cy="1079079"/>
          </a:xfrm>
          <a:solidFill>
            <a:schemeClr val="tx2"/>
          </a:solidFill>
        </p:grpSpPr>
        <p:sp>
          <p:nvSpPr>
            <p:cNvPr id="10" name="Vrije vorm 9">
              <a:extLst>
                <a:ext uri="{FF2B5EF4-FFF2-40B4-BE49-F238E27FC236}">
                  <a16:creationId xmlns:a16="http://schemas.microsoft.com/office/drawing/2014/main" id="{1AED1BFD-C69F-7631-9B7D-421818A9AFCF}"/>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72FC6FC8-621A-84E8-68E1-CE07C2240D2D}"/>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C1DFC649-1904-DC13-7CE9-3B5B6CEB5BE0}"/>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7E6F67E8-173B-79FF-2D99-ACFC8C925DF7}"/>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D1BFDD35-C236-BC52-5AA1-4ECA4C76F800}"/>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8E1B1B65-2A9E-86BF-F589-9377A16DA3EA}"/>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E328645A-D84D-8000-F5C4-428A9E95E665}"/>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E196AA5C-997E-DCB5-7464-B5085B9BEA63}"/>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6936387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eeld  / full screen / tekst wit">
    <p:bg>
      <p:bgPr>
        <a:solidFill>
          <a:schemeClr val="bg1"/>
        </a:solidFill>
        <a:effectLst/>
      </p:bgPr>
    </p:bg>
    <p:spTree>
      <p:nvGrpSpPr>
        <p:cNvPr id="1" name=""/>
        <p:cNvGrpSpPr/>
        <p:nvPr/>
      </p:nvGrpSpPr>
      <p:grpSpPr>
        <a:xfrm>
          <a:off x="0" y="0"/>
          <a:ext cx="0" cy="0"/>
          <a:chOff x="0" y="0"/>
          <a:chExt cx="0" cy="0"/>
        </a:xfrm>
      </p:grpSpPr>
      <p:sp>
        <p:nvSpPr>
          <p:cNvPr id="21" name="Tijdelijke aanduiding voor afbeelding 20">
            <a:extLst>
              <a:ext uri="{FF2B5EF4-FFF2-40B4-BE49-F238E27FC236}">
                <a16:creationId xmlns:a16="http://schemas.microsoft.com/office/drawing/2014/main" id="{EB3B2FC6-0F2E-79B7-83AC-ED951D7C3CD7}"/>
              </a:ext>
            </a:extLst>
          </p:cNvPr>
          <p:cNvSpPr>
            <a:spLocks noGrp="1"/>
          </p:cNvSpPr>
          <p:nvPr>
            <p:ph type="pic" sz="quarter" idx="19"/>
          </p:nvPr>
        </p:nvSpPr>
        <p:spPr>
          <a:xfrm>
            <a:off x="0" y="-6038"/>
            <a:ext cx="12192000" cy="6864039"/>
          </a:xfrm>
          <a:custGeom>
            <a:avLst/>
            <a:gdLst>
              <a:gd name="connsiteX0" fmla="*/ 10920647 w 12192000"/>
              <a:gd name="connsiteY0" fmla="*/ 6213274 h 6864039"/>
              <a:gd name="connsiteX1" fmla="*/ 10939853 w 12192000"/>
              <a:gd name="connsiteY1" fmla="*/ 6234021 h 6864039"/>
              <a:gd name="connsiteX2" fmla="*/ 10920647 w 12192000"/>
              <a:gd name="connsiteY2" fmla="*/ 6254768 h 6864039"/>
              <a:gd name="connsiteX3" fmla="*/ 10901442 w 12192000"/>
              <a:gd name="connsiteY3" fmla="*/ 6234021 h 6864039"/>
              <a:gd name="connsiteX4" fmla="*/ 10920647 w 12192000"/>
              <a:gd name="connsiteY4" fmla="*/ 6213274 h 6864039"/>
              <a:gd name="connsiteX5" fmla="*/ 11353674 w 12192000"/>
              <a:gd name="connsiteY5" fmla="*/ 6212582 h 6864039"/>
              <a:gd name="connsiteX6" fmla="*/ 11373396 w 12192000"/>
              <a:gd name="connsiteY6" fmla="*/ 6234021 h 6864039"/>
              <a:gd name="connsiteX7" fmla="*/ 11353674 w 12192000"/>
              <a:gd name="connsiteY7" fmla="*/ 6255461 h 6864039"/>
              <a:gd name="connsiteX8" fmla="*/ 11333950 w 12192000"/>
              <a:gd name="connsiteY8" fmla="*/ 6234021 h 6864039"/>
              <a:gd name="connsiteX9" fmla="*/ 11353674 w 12192000"/>
              <a:gd name="connsiteY9" fmla="*/ 6212582 h 6864039"/>
              <a:gd name="connsiteX10" fmla="*/ 10649903 w 12192000"/>
              <a:gd name="connsiteY10" fmla="*/ 6212582 h 6864039"/>
              <a:gd name="connsiteX11" fmla="*/ 10669626 w 12192000"/>
              <a:gd name="connsiteY11" fmla="*/ 6234021 h 6864039"/>
              <a:gd name="connsiteX12" fmla="*/ 10649903 w 12192000"/>
              <a:gd name="connsiteY12" fmla="*/ 6255461 h 6864039"/>
              <a:gd name="connsiteX13" fmla="*/ 10630179 w 12192000"/>
              <a:gd name="connsiteY13" fmla="*/ 6234021 h 6864039"/>
              <a:gd name="connsiteX14" fmla="*/ 10649903 w 12192000"/>
              <a:gd name="connsiteY14" fmla="*/ 6212582 h 6864039"/>
              <a:gd name="connsiteX15" fmla="*/ 11252814 w 12192000"/>
              <a:gd name="connsiteY15" fmla="*/ 6210161 h 6864039"/>
              <a:gd name="connsiteX16" fmla="*/ 11270634 w 12192000"/>
              <a:gd name="connsiteY16" fmla="*/ 6223129 h 6864039"/>
              <a:gd name="connsiteX17" fmla="*/ 11233955 w 12192000"/>
              <a:gd name="connsiteY17" fmla="*/ 6223129 h 6864039"/>
              <a:gd name="connsiteX18" fmla="*/ 11252814 w 12192000"/>
              <a:gd name="connsiteY18" fmla="*/ 6210161 h 6864039"/>
              <a:gd name="connsiteX19" fmla="*/ 10549043 w 12192000"/>
              <a:gd name="connsiteY19" fmla="*/ 6210161 h 6864039"/>
              <a:gd name="connsiteX20" fmla="*/ 10566863 w 12192000"/>
              <a:gd name="connsiteY20" fmla="*/ 6223129 h 6864039"/>
              <a:gd name="connsiteX21" fmla="*/ 10530184 w 12192000"/>
              <a:gd name="connsiteY21" fmla="*/ 6223129 h 6864039"/>
              <a:gd name="connsiteX22" fmla="*/ 10549043 w 12192000"/>
              <a:gd name="connsiteY22" fmla="*/ 6210161 h 6864039"/>
              <a:gd name="connsiteX23" fmla="*/ 10715119 w 12192000"/>
              <a:gd name="connsiteY23" fmla="*/ 6190797 h 6864039"/>
              <a:gd name="connsiteX24" fmla="*/ 10715119 w 12192000"/>
              <a:gd name="connsiteY24" fmla="*/ 6277246 h 6864039"/>
              <a:gd name="connsiteX25" fmla="*/ 10741246 w 12192000"/>
              <a:gd name="connsiteY25" fmla="*/ 6277246 h 6864039"/>
              <a:gd name="connsiteX26" fmla="*/ 10741246 w 12192000"/>
              <a:gd name="connsiteY26" fmla="*/ 6213447 h 6864039"/>
              <a:gd name="connsiteX27" fmla="*/ 10770312 w 12192000"/>
              <a:gd name="connsiteY27" fmla="*/ 6213447 h 6864039"/>
              <a:gd name="connsiteX28" fmla="*/ 10770312 w 12192000"/>
              <a:gd name="connsiteY28" fmla="*/ 6190797 h 6864039"/>
              <a:gd name="connsiteX29" fmla="*/ 11347790 w 12192000"/>
              <a:gd name="connsiteY29" fmla="*/ 6188895 h 6864039"/>
              <a:gd name="connsiteX30" fmla="*/ 11307651 w 12192000"/>
              <a:gd name="connsiteY30" fmla="*/ 6234021 h 6864039"/>
              <a:gd name="connsiteX31" fmla="*/ 11347790 w 12192000"/>
              <a:gd name="connsiteY31" fmla="*/ 6279146 h 6864039"/>
              <a:gd name="connsiteX32" fmla="*/ 11371322 w 12192000"/>
              <a:gd name="connsiteY32" fmla="*/ 6268601 h 6864039"/>
              <a:gd name="connsiteX33" fmla="*/ 11371322 w 12192000"/>
              <a:gd name="connsiteY33" fmla="*/ 6277246 h 6864039"/>
              <a:gd name="connsiteX34" fmla="*/ 11397447 w 12192000"/>
              <a:gd name="connsiteY34" fmla="*/ 6277246 h 6864039"/>
              <a:gd name="connsiteX35" fmla="*/ 11397447 w 12192000"/>
              <a:gd name="connsiteY35" fmla="*/ 6190797 h 6864039"/>
              <a:gd name="connsiteX36" fmla="*/ 11371322 w 12192000"/>
              <a:gd name="connsiteY36" fmla="*/ 6190797 h 6864039"/>
              <a:gd name="connsiteX37" fmla="*/ 11371322 w 12192000"/>
              <a:gd name="connsiteY37" fmla="*/ 6199442 h 6864039"/>
              <a:gd name="connsiteX38" fmla="*/ 11347790 w 12192000"/>
              <a:gd name="connsiteY38" fmla="*/ 6188895 h 6864039"/>
              <a:gd name="connsiteX39" fmla="*/ 11253506 w 12192000"/>
              <a:gd name="connsiteY39" fmla="*/ 6188895 h 6864039"/>
              <a:gd name="connsiteX40" fmla="*/ 11208003 w 12192000"/>
              <a:gd name="connsiteY40" fmla="*/ 6234021 h 6864039"/>
              <a:gd name="connsiteX41" fmla="*/ 11254025 w 12192000"/>
              <a:gd name="connsiteY41" fmla="*/ 6279146 h 6864039"/>
              <a:gd name="connsiteX42" fmla="*/ 11294684 w 12192000"/>
              <a:gd name="connsiteY42" fmla="*/ 6260129 h 6864039"/>
              <a:gd name="connsiteX43" fmla="*/ 11275306 w 12192000"/>
              <a:gd name="connsiteY43" fmla="*/ 6245606 h 6864039"/>
              <a:gd name="connsiteX44" fmla="*/ 11254371 w 12192000"/>
              <a:gd name="connsiteY44" fmla="*/ 6255461 h 6864039"/>
              <a:gd name="connsiteX45" fmla="*/ 11233263 w 12192000"/>
              <a:gd name="connsiteY45" fmla="*/ 6240246 h 6864039"/>
              <a:gd name="connsiteX46" fmla="*/ 11296068 w 12192000"/>
              <a:gd name="connsiteY46" fmla="*/ 6240246 h 6864039"/>
              <a:gd name="connsiteX47" fmla="*/ 11296587 w 12192000"/>
              <a:gd name="connsiteY47" fmla="*/ 6231083 h 6864039"/>
              <a:gd name="connsiteX48" fmla="*/ 11253506 w 12192000"/>
              <a:gd name="connsiteY48" fmla="*/ 6188895 h 6864039"/>
              <a:gd name="connsiteX49" fmla="*/ 10920647 w 12192000"/>
              <a:gd name="connsiteY49" fmla="*/ 6188895 h 6864039"/>
              <a:gd name="connsiteX50" fmla="*/ 10875145 w 12192000"/>
              <a:gd name="connsiteY50" fmla="*/ 6234021 h 6864039"/>
              <a:gd name="connsiteX51" fmla="*/ 10920647 w 12192000"/>
              <a:gd name="connsiteY51" fmla="*/ 6279146 h 6864039"/>
              <a:gd name="connsiteX52" fmla="*/ 10966150 w 12192000"/>
              <a:gd name="connsiteY52" fmla="*/ 6234021 h 6864039"/>
              <a:gd name="connsiteX53" fmla="*/ 10920647 w 12192000"/>
              <a:gd name="connsiteY53" fmla="*/ 6188895 h 6864039"/>
              <a:gd name="connsiteX54" fmla="*/ 10644019 w 12192000"/>
              <a:gd name="connsiteY54" fmla="*/ 6188895 h 6864039"/>
              <a:gd name="connsiteX55" fmla="*/ 10603880 w 12192000"/>
              <a:gd name="connsiteY55" fmla="*/ 6234021 h 6864039"/>
              <a:gd name="connsiteX56" fmla="*/ 10644019 w 12192000"/>
              <a:gd name="connsiteY56" fmla="*/ 6279146 h 6864039"/>
              <a:gd name="connsiteX57" fmla="*/ 10667549 w 12192000"/>
              <a:gd name="connsiteY57" fmla="*/ 6268601 h 6864039"/>
              <a:gd name="connsiteX58" fmla="*/ 10667549 w 12192000"/>
              <a:gd name="connsiteY58" fmla="*/ 6277246 h 6864039"/>
              <a:gd name="connsiteX59" fmla="*/ 10693676 w 12192000"/>
              <a:gd name="connsiteY59" fmla="*/ 6277246 h 6864039"/>
              <a:gd name="connsiteX60" fmla="*/ 10693676 w 12192000"/>
              <a:gd name="connsiteY60" fmla="*/ 6190797 h 6864039"/>
              <a:gd name="connsiteX61" fmla="*/ 10667549 w 12192000"/>
              <a:gd name="connsiteY61" fmla="*/ 6190797 h 6864039"/>
              <a:gd name="connsiteX62" fmla="*/ 10667549 w 12192000"/>
              <a:gd name="connsiteY62" fmla="*/ 6199442 h 6864039"/>
              <a:gd name="connsiteX63" fmla="*/ 10644019 w 12192000"/>
              <a:gd name="connsiteY63" fmla="*/ 6188895 h 6864039"/>
              <a:gd name="connsiteX64" fmla="*/ 10549735 w 12192000"/>
              <a:gd name="connsiteY64" fmla="*/ 6188895 h 6864039"/>
              <a:gd name="connsiteX65" fmla="*/ 10504232 w 12192000"/>
              <a:gd name="connsiteY65" fmla="*/ 6234021 h 6864039"/>
              <a:gd name="connsiteX66" fmla="*/ 10550254 w 12192000"/>
              <a:gd name="connsiteY66" fmla="*/ 6279146 h 6864039"/>
              <a:gd name="connsiteX67" fmla="*/ 10590911 w 12192000"/>
              <a:gd name="connsiteY67" fmla="*/ 6260129 h 6864039"/>
              <a:gd name="connsiteX68" fmla="*/ 10571535 w 12192000"/>
              <a:gd name="connsiteY68" fmla="*/ 6245606 h 6864039"/>
              <a:gd name="connsiteX69" fmla="*/ 10550600 w 12192000"/>
              <a:gd name="connsiteY69" fmla="*/ 6255461 h 6864039"/>
              <a:gd name="connsiteX70" fmla="*/ 10529492 w 12192000"/>
              <a:gd name="connsiteY70" fmla="*/ 6240246 h 6864039"/>
              <a:gd name="connsiteX71" fmla="*/ 10592297 w 12192000"/>
              <a:gd name="connsiteY71" fmla="*/ 6240246 h 6864039"/>
              <a:gd name="connsiteX72" fmla="*/ 10592816 w 12192000"/>
              <a:gd name="connsiteY72" fmla="*/ 6231083 h 6864039"/>
              <a:gd name="connsiteX73" fmla="*/ 10549735 w 12192000"/>
              <a:gd name="connsiteY73" fmla="*/ 6188895 h 6864039"/>
              <a:gd name="connsiteX74" fmla="*/ 11492593 w 12192000"/>
              <a:gd name="connsiteY74" fmla="*/ 6163306 h 6864039"/>
              <a:gd name="connsiteX75" fmla="*/ 11466466 w 12192000"/>
              <a:gd name="connsiteY75" fmla="*/ 6190797 h 6864039"/>
              <a:gd name="connsiteX76" fmla="*/ 11466466 w 12192000"/>
              <a:gd name="connsiteY76" fmla="*/ 6277246 h 6864039"/>
              <a:gd name="connsiteX77" fmla="*/ 11492593 w 12192000"/>
              <a:gd name="connsiteY77" fmla="*/ 6277246 h 6864039"/>
              <a:gd name="connsiteX78" fmla="*/ 11492593 w 12192000"/>
              <a:gd name="connsiteY78" fmla="*/ 6213447 h 6864039"/>
              <a:gd name="connsiteX79" fmla="*/ 11516814 w 12192000"/>
              <a:gd name="connsiteY79" fmla="*/ 6213447 h 6864039"/>
              <a:gd name="connsiteX80" fmla="*/ 11516814 w 12192000"/>
              <a:gd name="connsiteY80" fmla="*/ 6190797 h 6864039"/>
              <a:gd name="connsiteX81" fmla="*/ 11492593 w 12192000"/>
              <a:gd name="connsiteY81" fmla="*/ 6190797 h 6864039"/>
              <a:gd name="connsiteX82" fmla="*/ 10810792 w 12192000"/>
              <a:gd name="connsiteY82" fmla="*/ 6163306 h 6864039"/>
              <a:gd name="connsiteX83" fmla="*/ 10784666 w 12192000"/>
              <a:gd name="connsiteY83" fmla="*/ 6190797 h 6864039"/>
              <a:gd name="connsiteX84" fmla="*/ 10784666 w 12192000"/>
              <a:gd name="connsiteY84" fmla="*/ 6277246 h 6864039"/>
              <a:gd name="connsiteX85" fmla="*/ 10810792 w 12192000"/>
              <a:gd name="connsiteY85" fmla="*/ 6277246 h 6864039"/>
              <a:gd name="connsiteX86" fmla="*/ 10810792 w 12192000"/>
              <a:gd name="connsiteY86" fmla="*/ 6213447 h 6864039"/>
              <a:gd name="connsiteX87" fmla="*/ 10835013 w 12192000"/>
              <a:gd name="connsiteY87" fmla="*/ 6213447 h 6864039"/>
              <a:gd name="connsiteX88" fmla="*/ 10835013 w 12192000"/>
              <a:gd name="connsiteY88" fmla="*/ 6190797 h 6864039"/>
              <a:gd name="connsiteX89" fmla="*/ 10810792 w 12192000"/>
              <a:gd name="connsiteY89" fmla="*/ 6190797 h 6864039"/>
              <a:gd name="connsiteX90" fmla="*/ 11088283 w 12192000"/>
              <a:gd name="connsiteY90" fmla="*/ 6154490 h 6864039"/>
              <a:gd name="connsiteX91" fmla="*/ 11088283 w 12192000"/>
              <a:gd name="connsiteY91" fmla="*/ 6277246 h 6864039"/>
              <a:gd name="connsiteX92" fmla="*/ 11115793 w 12192000"/>
              <a:gd name="connsiteY92" fmla="*/ 6277246 h 6864039"/>
              <a:gd name="connsiteX93" fmla="*/ 11115793 w 12192000"/>
              <a:gd name="connsiteY93" fmla="*/ 6228662 h 6864039"/>
              <a:gd name="connsiteX94" fmla="*/ 11165275 w 12192000"/>
              <a:gd name="connsiteY94" fmla="*/ 6228662 h 6864039"/>
              <a:gd name="connsiteX95" fmla="*/ 11165275 w 12192000"/>
              <a:gd name="connsiteY95" fmla="*/ 6277246 h 6864039"/>
              <a:gd name="connsiteX96" fmla="*/ 11192784 w 12192000"/>
              <a:gd name="connsiteY96" fmla="*/ 6277246 h 6864039"/>
              <a:gd name="connsiteX97" fmla="*/ 11192784 w 12192000"/>
              <a:gd name="connsiteY97" fmla="*/ 6154490 h 6864039"/>
              <a:gd name="connsiteX98" fmla="*/ 11165275 w 12192000"/>
              <a:gd name="connsiteY98" fmla="*/ 6154490 h 6864039"/>
              <a:gd name="connsiteX99" fmla="*/ 11165275 w 12192000"/>
              <a:gd name="connsiteY99" fmla="*/ 6202554 h 6864039"/>
              <a:gd name="connsiteX100" fmla="*/ 11115793 w 12192000"/>
              <a:gd name="connsiteY100" fmla="*/ 6202554 h 6864039"/>
              <a:gd name="connsiteX101" fmla="*/ 11115793 w 12192000"/>
              <a:gd name="connsiteY101" fmla="*/ 6154490 h 6864039"/>
              <a:gd name="connsiteX102" fmla="*/ 10384512 w 12192000"/>
              <a:gd name="connsiteY102" fmla="*/ 6154490 h 6864039"/>
              <a:gd name="connsiteX103" fmla="*/ 10384512 w 12192000"/>
              <a:gd name="connsiteY103" fmla="*/ 6238904 h 6864039"/>
              <a:gd name="connsiteX104" fmla="*/ 10412020 w 12192000"/>
              <a:gd name="connsiteY104" fmla="*/ 6266394 h 6864039"/>
              <a:gd name="connsiteX105" fmla="*/ 10412020 w 12192000"/>
              <a:gd name="connsiteY105" fmla="*/ 6228662 h 6864039"/>
              <a:gd name="connsiteX106" fmla="*/ 10461504 w 12192000"/>
              <a:gd name="connsiteY106" fmla="*/ 6228662 h 6864039"/>
              <a:gd name="connsiteX107" fmla="*/ 10461504 w 12192000"/>
              <a:gd name="connsiteY107" fmla="*/ 6277246 h 6864039"/>
              <a:gd name="connsiteX108" fmla="*/ 10489013 w 12192000"/>
              <a:gd name="connsiteY108" fmla="*/ 6277246 h 6864039"/>
              <a:gd name="connsiteX109" fmla="*/ 10489013 w 12192000"/>
              <a:gd name="connsiteY109" fmla="*/ 6154490 h 6864039"/>
              <a:gd name="connsiteX110" fmla="*/ 10461504 w 12192000"/>
              <a:gd name="connsiteY110" fmla="*/ 6154490 h 6864039"/>
              <a:gd name="connsiteX111" fmla="*/ 10461504 w 12192000"/>
              <a:gd name="connsiteY111" fmla="*/ 6202554 h 6864039"/>
              <a:gd name="connsiteX112" fmla="*/ 10412020 w 12192000"/>
              <a:gd name="connsiteY112" fmla="*/ 6202554 h 6864039"/>
              <a:gd name="connsiteX113" fmla="*/ 10412020 w 12192000"/>
              <a:gd name="connsiteY113" fmla="*/ 6154490 h 6864039"/>
              <a:gd name="connsiteX114" fmla="*/ 11530130 w 12192000"/>
              <a:gd name="connsiteY114" fmla="*/ 6147573 h 6864039"/>
              <a:gd name="connsiteX115" fmla="*/ 11530130 w 12192000"/>
              <a:gd name="connsiteY115" fmla="*/ 6277246 h 6864039"/>
              <a:gd name="connsiteX116" fmla="*/ 11556257 w 12192000"/>
              <a:gd name="connsiteY116" fmla="*/ 6277246 h 6864039"/>
              <a:gd name="connsiteX117" fmla="*/ 11556257 w 12192000"/>
              <a:gd name="connsiteY117" fmla="*/ 6235231 h 6864039"/>
              <a:gd name="connsiteX118" fmla="*/ 11573731 w 12192000"/>
              <a:gd name="connsiteY118" fmla="*/ 6212582 h 6864039"/>
              <a:gd name="connsiteX119" fmla="*/ 11587744 w 12192000"/>
              <a:gd name="connsiteY119" fmla="*/ 6231773 h 6864039"/>
              <a:gd name="connsiteX120" fmla="*/ 11587744 w 12192000"/>
              <a:gd name="connsiteY120" fmla="*/ 6277246 h 6864039"/>
              <a:gd name="connsiteX121" fmla="*/ 11613870 w 12192000"/>
              <a:gd name="connsiteY121" fmla="*/ 6277246 h 6864039"/>
              <a:gd name="connsiteX122" fmla="*/ 11613870 w 12192000"/>
              <a:gd name="connsiteY122" fmla="*/ 6227279 h 6864039"/>
              <a:gd name="connsiteX123" fmla="*/ 11580305 w 12192000"/>
              <a:gd name="connsiteY123" fmla="*/ 6188895 h 6864039"/>
              <a:gd name="connsiteX124" fmla="*/ 11556257 w 12192000"/>
              <a:gd name="connsiteY124" fmla="*/ 6199616 h 6864039"/>
              <a:gd name="connsiteX125" fmla="*/ 11556257 w 12192000"/>
              <a:gd name="connsiteY125" fmla="*/ 6147573 h 6864039"/>
              <a:gd name="connsiteX126" fmla="*/ 11418892 w 12192000"/>
              <a:gd name="connsiteY126" fmla="*/ 6147573 h 6864039"/>
              <a:gd name="connsiteX127" fmla="*/ 11418892 w 12192000"/>
              <a:gd name="connsiteY127" fmla="*/ 6277246 h 6864039"/>
              <a:gd name="connsiteX128" fmla="*/ 11445018 w 12192000"/>
              <a:gd name="connsiteY128" fmla="*/ 6277246 h 6864039"/>
              <a:gd name="connsiteX129" fmla="*/ 11445018 w 12192000"/>
              <a:gd name="connsiteY129" fmla="*/ 6147573 h 6864039"/>
              <a:gd name="connsiteX130" fmla="*/ 11025143 w 12192000"/>
              <a:gd name="connsiteY130" fmla="*/ 6146536 h 6864039"/>
              <a:gd name="connsiteX131" fmla="*/ 10990366 w 12192000"/>
              <a:gd name="connsiteY131" fmla="*/ 6181289 h 6864039"/>
              <a:gd name="connsiteX132" fmla="*/ 10990366 w 12192000"/>
              <a:gd name="connsiteY132" fmla="*/ 6190797 h 6864039"/>
              <a:gd name="connsiteX133" fmla="*/ 10973066 w 12192000"/>
              <a:gd name="connsiteY133" fmla="*/ 6190797 h 6864039"/>
              <a:gd name="connsiteX134" fmla="*/ 10973066 w 12192000"/>
              <a:gd name="connsiteY134" fmla="*/ 6213447 h 6864039"/>
              <a:gd name="connsiteX135" fmla="*/ 10990366 w 12192000"/>
              <a:gd name="connsiteY135" fmla="*/ 6213447 h 6864039"/>
              <a:gd name="connsiteX136" fmla="*/ 10990366 w 12192000"/>
              <a:gd name="connsiteY136" fmla="*/ 6277246 h 6864039"/>
              <a:gd name="connsiteX137" fmla="*/ 11016492 w 12192000"/>
              <a:gd name="connsiteY137" fmla="*/ 6277246 h 6864039"/>
              <a:gd name="connsiteX138" fmla="*/ 11016492 w 12192000"/>
              <a:gd name="connsiteY138" fmla="*/ 6213447 h 6864039"/>
              <a:gd name="connsiteX139" fmla="*/ 11040715 w 12192000"/>
              <a:gd name="connsiteY139" fmla="*/ 6213447 h 6864039"/>
              <a:gd name="connsiteX140" fmla="*/ 11040715 w 12192000"/>
              <a:gd name="connsiteY140" fmla="*/ 6190797 h 6864039"/>
              <a:gd name="connsiteX141" fmla="*/ 11016492 w 12192000"/>
              <a:gd name="connsiteY141" fmla="*/ 6190797 h 6864039"/>
              <a:gd name="connsiteX142" fmla="*/ 11016492 w 12192000"/>
              <a:gd name="connsiteY142" fmla="*/ 6184573 h 6864039"/>
              <a:gd name="connsiteX143" fmla="*/ 11031372 w 12192000"/>
              <a:gd name="connsiteY143" fmla="*/ 6169877 h 6864039"/>
              <a:gd name="connsiteX144" fmla="*/ 11040715 w 12192000"/>
              <a:gd name="connsiteY144" fmla="*/ 6171432 h 6864039"/>
              <a:gd name="connsiteX145" fmla="*/ 11040715 w 12192000"/>
              <a:gd name="connsiteY145" fmla="*/ 6148437 h 6864039"/>
              <a:gd name="connsiteX146" fmla="*/ 11025143 w 12192000"/>
              <a:gd name="connsiteY146" fmla="*/ 6146536 h 6864039"/>
              <a:gd name="connsiteX147" fmla="*/ 10558900 w 12192000"/>
              <a:gd name="connsiteY147" fmla="*/ 5954887 h 6864039"/>
              <a:gd name="connsiteX148" fmla="*/ 10597880 w 12192000"/>
              <a:gd name="connsiteY148" fmla="*/ 5981376 h 6864039"/>
              <a:gd name="connsiteX149" fmla="*/ 10518342 w 12192000"/>
              <a:gd name="connsiteY149" fmla="*/ 5981376 h 6864039"/>
              <a:gd name="connsiteX150" fmla="*/ 10558900 w 12192000"/>
              <a:gd name="connsiteY150" fmla="*/ 5954887 h 6864039"/>
              <a:gd name="connsiteX151" fmla="*/ 10558576 w 12192000"/>
              <a:gd name="connsiteY151" fmla="*/ 5902060 h 6864039"/>
              <a:gd name="connsiteX152" fmla="*/ 10458359 w 12192000"/>
              <a:gd name="connsiteY152" fmla="*/ 6003970 h 6864039"/>
              <a:gd name="connsiteX153" fmla="*/ 10558900 w 12192000"/>
              <a:gd name="connsiteY153" fmla="*/ 6104610 h 6864039"/>
              <a:gd name="connsiteX154" fmla="*/ 10635313 w 12192000"/>
              <a:gd name="connsiteY154" fmla="*/ 6075263 h 6864039"/>
              <a:gd name="connsiteX155" fmla="*/ 10598388 w 12192000"/>
              <a:gd name="connsiteY155" fmla="*/ 6038433 h 6864039"/>
              <a:gd name="connsiteX156" fmla="*/ 10561139 w 12192000"/>
              <a:gd name="connsiteY156" fmla="*/ 6051712 h 6864039"/>
              <a:gd name="connsiteX157" fmla="*/ 10526371 w 12192000"/>
              <a:gd name="connsiteY157" fmla="*/ 6036996 h 6864039"/>
              <a:gd name="connsiteX158" fmla="*/ 10521413 w 12192000"/>
              <a:gd name="connsiteY158" fmla="*/ 6031037 h 6864039"/>
              <a:gd name="connsiteX159" fmla="*/ 10520348 w 12192000"/>
              <a:gd name="connsiteY159" fmla="*/ 6029443 h 6864039"/>
              <a:gd name="connsiteX160" fmla="*/ 10520327 w 12192000"/>
              <a:gd name="connsiteY160" fmla="*/ 6029443 h 6864039"/>
              <a:gd name="connsiteX161" fmla="*/ 10516185 w 12192000"/>
              <a:gd name="connsiteY161" fmla="*/ 6021831 h 6864039"/>
              <a:gd name="connsiteX162" fmla="*/ 10654927 w 12192000"/>
              <a:gd name="connsiteY162" fmla="*/ 6021831 h 6864039"/>
              <a:gd name="connsiteX163" fmla="*/ 10657214 w 12192000"/>
              <a:gd name="connsiteY163" fmla="*/ 6001101 h 6864039"/>
              <a:gd name="connsiteX164" fmla="*/ 10558576 w 12192000"/>
              <a:gd name="connsiteY164" fmla="*/ 5902060 h 6864039"/>
              <a:gd name="connsiteX165" fmla="*/ 10355514 w 12192000"/>
              <a:gd name="connsiteY165" fmla="*/ 5902049 h 6864039"/>
              <a:gd name="connsiteX166" fmla="*/ 10355514 w 12192000"/>
              <a:gd name="connsiteY166" fmla="*/ 6102940 h 6864039"/>
              <a:gd name="connsiteX167" fmla="*/ 10411977 w 12192000"/>
              <a:gd name="connsiteY167" fmla="*/ 6102940 h 6864039"/>
              <a:gd name="connsiteX168" fmla="*/ 10411977 w 12192000"/>
              <a:gd name="connsiteY168" fmla="*/ 5953601 h 6864039"/>
              <a:gd name="connsiteX169" fmla="*/ 10457369 w 12192000"/>
              <a:gd name="connsiteY169" fmla="*/ 5953601 h 6864039"/>
              <a:gd name="connsiteX170" fmla="*/ 10457369 w 12192000"/>
              <a:gd name="connsiteY170" fmla="*/ 5902049 h 6864039"/>
              <a:gd name="connsiteX171" fmla="*/ 10773980 w 12192000"/>
              <a:gd name="connsiteY171" fmla="*/ 5902027 h 6864039"/>
              <a:gd name="connsiteX172" fmla="*/ 10773028 w 12192000"/>
              <a:gd name="connsiteY172" fmla="*/ 5902092 h 6864039"/>
              <a:gd name="connsiteX173" fmla="*/ 10672930 w 12192000"/>
              <a:gd name="connsiteY173" fmla="*/ 6002732 h 6864039"/>
              <a:gd name="connsiteX174" fmla="*/ 10774369 w 12192000"/>
              <a:gd name="connsiteY174" fmla="*/ 6104642 h 6864039"/>
              <a:gd name="connsiteX175" fmla="*/ 10854107 w 12192000"/>
              <a:gd name="connsiteY175" fmla="*/ 6067445 h 6864039"/>
              <a:gd name="connsiteX176" fmla="*/ 10858291 w 12192000"/>
              <a:gd name="connsiteY176" fmla="*/ 6062539 h 6864039"/>
              <a:gd name="connsiteX177" fmla="*/ 10822280 w 12192000"/>
              <a:gd name="connsiteY177" fmla="*/ 6026498 h 6864039"/>
              <a:gd name="connsiteX178" fmla="*/ 10817182 w 12192000"/>
              <a:gd name="connsiteY178" fmla="*/ 6031636 h 6864039"/>
              <a:gd name="connsiteX179" fmla="*/ 10775299 w 12192000"/>
              <a:gd name="connsiteY179" fmla="*/ 6051804 h 6864039"/>
              <a:gd name="connsiteX180" fmla="*/ 10729404 w 12192000"/>
              <a:gd name="connsiteY180" fmla="*/ 6003375 h 6864039"/>
              <a:gd name="connsiteX181" fmla="*/ 10774169 w 12192000"/>
              <a:gd name="connsiteY181" fmla="*/ 5954897 h 6864039"/>
              <a:gd name="connsiteX182" fmla="*/ 10775131 w 12192000"/>
              <a:gd name="connsiteY182" fmla="*/ 5954832 h 6864039"/>
              <a:gd name="connsiteX183" fmla="*/ 10817160 w 12192000"/>
              <a:gd name="connsiteY183" fmla="*/ 5974990 h 6864039"/>
              <a:gd name="connsiteX184" fmla="*/ 10822258 w 12192000"/>
              <a:gd name="connsiteY184" fmla="*/ 5980106 h 6864039"/>
              <a:gd name="connsiteX185" fmla="*/ 10858291 w 12192000"/>
              <a:gd name="connsiteY185" fmla="*/ 5944103 h 6864039"/>
              <a:gd name="connsiteX186" fmla="*/ 10854096 w 12192000"/>
              <a:gd name="connsiteY186" fmla="*/ 5939187 h 6864039"/>
              <a:gd name="connsiteX187" fmla="*/ 10773980 w 12192000"/>
              <a:gd name="connsiteY187" fmla="*/ 5902027 h 6864039"/>
              <a:gd name="connsiteX188" fmla="*/ 10157389 w 12192000"/>
              <a:gd name="connsiteY188" fmla="*/ 5869070 h 6864039"/>
              <a:gd name="connsiteX189" fmla="*/ 10157389 w 12192000"/>
              <a:gd name="connsiteY189" fmla="*/ 5996103 h 6864039"/>
              <a:gd name="connsiteX190" fmla="*/ 10156416 w 12192000"/>
              <a:gd name="connsiteY190" fmla="*/ 6010964 h 6864039"/>
              <a:gd name="connsiteX191" fmla="*/ 10156416 w 12192000"/>
              <a:gd name="connsiteY191" fmla="*/ 6010964 h 6864039"/>
              <a:gd name="connsiteX192" fmla="*/ 10156416 w 12192000"/>
              <a:gd name="connsiteY192" fmla="*/ 6010965 h 6864039"/>
              <a:gd name="connsiteX193" fmla="*/ 10014482 w 12192000"/>
              <a:gd name="connsiteY193" fmla="*/ 5869129 h 6864039"/>
              <a:gd name="connsiteX194" fmla="*/ 10014482 w 12192000"/>
              <a:gd name="connsiteY194" fmla="*/ 5996102 h 6864039"/>
              <a:gd name="connsiteX195" fmla="*/ 10032047 w 12192000"/>
              <a:gd name="connsiteY195" fmla="*/ 6064055 h 6864039"/>
              <a:gd name="connsiteX196" fmla="*/ 10116094 w 12192000"/>
              <a:gd name="connsiteY196" fmla="*/ 6104543 h 6864039"/>
              <a:gd name="connsiteX197" fmla="*/ 10200141 w 12192000"/>
              <a:gd name="connsiteY197" fmla="*/ 6064055 h 6864039"/>
              <a:gd name="connsiteX198" fmla="*/ 10203893 w 12192000"/>
              <a:gd name="connsiteY198" fmla="*/ 6058409 h 6864039"/>
              <a:gd name="connsiteX199" fmla="*/ 10203892 w 12192000"/>
              <a:gd name="connsiteY199" fmla="*/ 6058407 h 6864039"/>
              <a:gd name="connsiteX200" fmla="*/ 10203894 w 12192000"/>
              <a:gd name="connsiteY200" fmla="*/ 6058409 h 6864039"/>
              <a:gd name="connsiteX201" fmla="*/ 10217706 w 12192000"/>
              <a:gd name="connsiteY201" fmla="*/ 5996102 h 6864039"/>
              <a:gd name="connsiteX202" fmla="*/ 10217706 w 12192000"/>
              <a:gd name="connsiteY202" fmla="*/ 5869070 h 6864039"/>
              <a:gd name="connsiteX203" fmla="*/ 10301101 w 12192000"/>
              <a:gd name="connsiteY203" fmla="*/ 5845419 h 6864039"/>
              <a:gd name="connsiteX204" fmla="*/ 10244626 w 12192000"/>
              <a:gd name="connsiteY204" fmla="*/ 5902060 h 6864039"/>
              <a:gd name="connsiteX205" fmla="*/ 10244626 w 12192000"/>
              <a:gd name="connsiteY205" fmla="*/ 6102941 h 6864039"/>
              <a:gd name="connsiteX206" fmla="*/ 10301101 w 12192000"/>
              <a:gd name="connsiteY206" fmla="*/ 6102941 h 6864039"/>
              <a:gd name="connsiteX207" fmla="*/ 10301101 w 12192000"/>
              <a:gd name="connsiteY207" fmla="*/ 5953601 h 6864039"/>
              <a:gd name="connsiteX208" fmla="*/ 10337766 w 12192000"/>
              <a:gd name="connsiteY208" fmla="*/ 5953601 h 6864039"/>
              <a:gd name="connsiteX209" fmla="*/ 10337766 w 12192000"/>
              <a:gd name="connsiteY209" fmla="*/ 5902050 h 6864039"/>
              <a:gd name="connsiteX210" fmla="*/ 10301101 w 12192000"/>
              <a:gd name="connsiteY210" fmla="*/ 5902050 h 6864039"/>
              <a:gd name="connsiteX211" fmla="*/ 10934996 w 12192000"/>
              <a:gd name="connsiteY211" fmla="*/ 5845338 h 6864039"/>
              <a:gd name="connsiteX212" fmla="*/ 10878532 w 12192000"/>
              <a:gd name="connsiteY212" fmla="*/ 5902061 h 6864039"/>
              <a:gd name="connsiteX213" fmla="*/ 10878532 w 12192000"/>
              <a:gd name="connsiteY213" fmla="*/ 6102940 h 6864039"/>
              <a:gd name="connsiteX214" fmla="*/ 10934996 w 12192000"/>
              <a:gd name="connsiteY214" fmla="*/ 6102940 h 6864039"/>
              <a:gd name="connsiteX215" fmla="*/ 10934996 w 12192000"/>
              <a:gd name="connsiteY215" fmla="*/ 6002209 h 6864039"/>
              <a:gd name="connsiteX216" fmla="*/ 10963752 w 12192000"/>
              <a:gd name="connsiteY216" fmla="*/ 5955038 h 6864039"/>
              <a:gd name="connsiteX217" fmla="*/ 10993152 w 12192000"/>
              <a:gd name="connsiteY217" fmla="*/ 6001571 h 6864039"/>
              <a:gd name="connsiteX218" fmla="*/ 10993152 w 12192000"/>
              <a:gd name="connsiteY218" fmla="*/ 6102940 h 6864039"/>
              <a:gd name="connsiteX219" fmla="*/ 11049615 w 12192000"/>
              <a:gd name="connsiteY219" fmla="*/ 6102940 h 6864039"/>
              <a:gd name="connsiteX220" fmla="*/ 11049615 w 12192000"/>
              <a:gd name="connsiteY220" fmla="*/ 5992338 h 6864039"/>
              <a:gd name="connsiteX221" fmla="*/ 11034072 w 12192000"/>
              <a:gd name="connsiteY221" fmla="*/ 5931959 h 6864039"/>
              <a:gd name="connsiteX222" fmla="*/ 10973965 w 12192000"/>
              <a:gd name="connsiteY222" fmla="*/ 5902206 h 6864039"/>
              <a:gd name="connsiteX223" fmla="*/ 10934996 w 12192000"/>
              <a:gd name="connsiteY223" fmla="*/ 5913184 h 6864039"/>
              <a:gd name="connsiteX224" fmla="*/ 11133771 w 12192000"/>
              <a:gd name="connsiteY224" fmla="*/ 5845337 h 6864039"/>
              <a:gd name="connsiteX225" fmla="*/ 11077307 w 12192000"/>
              <a:gd name="connsiteY225" fmla="*/ 5902060 h 6864039"/>
              <a:gd name="connsiteX226" fmla="*/ 11077307 w 12192000"/>
              <a:gd name="connsiteY226" fmla="*/ 6102939 h 6864039"/>
              <a:gd name="connsiteX227" fmla="*/ 11133771 w 12192000"/>
              <a:gd name="connsiteY227" fmla="*/ 6102939 h 6864039"/>
              <a:gd name="connsiteX228" fmla="*/ 11133771 w 12192000"/>
              <a:gd name="connsiteY228" fmla="*/ 5953525 h 6864039"/>
              <a:gd name="connsiteX229" fmla="*/ 11170447 w 12192000"/>
              <a:gd name="connsiteY229" fmla="*/ 5953525 h 6864039"/>
              <a:gd name="connsiteX230" fmla="*/ 11170447 w 12192000"/>
              <a:gd name="connsiteY230" fmla="*/ 5901973 h 6864039"/>
              <a:gd name="connsiteX231" fmla="*/ 11133771 w 12192000"/>
              <a:gd name="connsiteY231" fmla="*/ 5901973 h 6864039"/>
              <a:gd name="connsiteX232" fmla="*/ 0 w 12192000"/>
              <a:gd name="connsiteY232" fmla="*/ 0 h 6864039"/>
              <a:gd name="connsiteX233" fmla="*/ 12192000 w 12192000"/>
              <a:gd name="connsiteY233" fmla="*/ 0 h 6864039"/>
              <a:gd name="connsiteX234" fmla="*/ 12192000 w 12192000"/>
              <a:gd name="connsiteY234" fmla="*/ 6864039 h 6864039"/>
              <a:gd name="connsiteX235" fmla="*/ 0 w 12192000"/>
              <a:gd name="connsiteY235" fmla="*/ 6864039 h 686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192000" h="6864039">
                <a:moveTo>
                  <a:pt x="10920647" y="6213274"/>
                </a:moveTo>
                <a:cubicBezTo>
                  <a:pt x="10931548" y="6213274"/>
                  <a:pt x="10939853" y="6221746"/>
                  <a:pt x="10939853" y="6234021"/>
                </a:cubicBezTo>
                <a:cubicBezTo>
                  <a:pt x="10939853" y="6246297"/>
                  <a:pt x="10931548" y="6254768"/>
                  <a:pt x="10920647" y="6254768"/>
                </a:cubicBezTo>
                <a:cubicBezTo>
                  <a:pt x="10909748" y="6254768"/>
                  <a:pt x="10901442" y="6246297"/>
                  <a:pt x="10901442" y="6234021"/>
                </a:cubicBezTo>
                <a:cubicBezTo>
                  <a:pt x="10901442" y="6221746"/>
                  <a:pt x="10909748" y="6213274"/>
                  <a:pt x="10920647" y="6213274"/>
                </a:cubicBezTo>
                <a:close/>
                <a:moveTo>
                  <a:pt x="11353674" y="6212582"/>
                </a:moveTo>
                <a:cubicBezTo>
                  <a:pt x="11365439" y="6212582"/>
                  <a:pt x="11373396" y="6221573"/>
                  <a:pt x="11373396" y="6234021"/>
                </a:cubicBezTo>
                <a:cubicBezTo>
                  <a:pt x="11373396" y="6246470"/>
                  <a:pt x="11365439" y="6255461"/>
                  <a:pt x="11353674" y="6255461"/>
                </a:cubicBezTo>
                <a:cubicBezTo>
                  <a:pt x="11341908" y="6255461"/>
                  <a:pt x="11333950" y="6246470"/>
                  <a:pt x="11333950" y="6234021"/>
                </a:cubicBezTo>
                <a:cubicBezTo>
                  <a:pt x="11333950" y="6221573"/>
                  <a:pt x="11341908" y="6212582"/>
                  <a:pt x="11353674" y="6212582"/>
                </a:cubicBezTo>
                <a:close/>
                <a:moveTo>
                  <a:pt x="10649903" y="6212582"/>
                </a:moveTo>
                <a:cubicBezTo>
                  <a:pt x="10661668" y="6212582"/>
                  <a:pt x="10669626" y="6221573"/>
                  <a:pt x="10669626" y="6234021"/>
                </a:cubicBezTo>
                <a:cubicBezTo>
                  <a:pt x="10669626" y="6246470"/>
                  <a:pt x="10661668" y="6255461"/>
                  <a:pt x="10649903" y="6255461"/>
                </a:cubicBezTo>
                <a:cubicBezTo>
                  <a:pt x="10638137" y="6255461"/>
                  <a:pt x="10630179" y="6246470"/>
                  <a:pt x="10630179" y="6234021"/>
                </a:cubicBezTo>
                <a:cubicBezTo>
                  <a:pt x="10630179" y="6221573"/>
                  <a:pt x="10638137" y="6212582"/>
                  <a:pt x="10649903" y="6212582"/>
                </a:cubicBezTo>
                <a:close/>
                <a:moveTo>
                  <a:pt x="11252814" y="6210161"/>
                </a:moveTo>
                <a:cubicBezTo>
                  <a:pt x="11260426" y="6210161"/>
                  <a:pt x="11268386" y="6213965"/>
                  <a:pt x="11270634" y="6223129"/>
                </a:cubicBezTo>
                <a:lnTo>
                  <a:pt x="11233955" y="6223129"/>
                </a:lnTo>
                <a:cubicBezTo>
                  <a:pt x="11236204" y="6213619"/>
                  <a:pt x="11245201" y="6210161"/>
                  <a:pt x="11252814" y="6210161"/>
                </a:cubicBezTo>
                <a:close/>
                <a:moveTo>
                  <a:pt x="10549043" y="6210161"/>
                </a:moveTo>
                <a:cubicBezTo>
                  <a:pt x="10556655" y="6210161"/>
                  <a:pt x="10564615" y="6213965"/>
                  <a:pt x="10566863" y="6223129"/>
                </a:cubicBezTo>
                <a:lnTo>
                  <a:pt x="10530184" y="6223129"/>
                </a:lnTo>
                <a:cubicBezTo>
                  <a:pt x="10532433" y="6213619"/>
                  <a:pt x="10541430" y="6210161"/>
                  <a:pt x="10549043" y="6210161"/>
                </a:cubicBezTo>
                <a:close/>
                <a:moveTo>
                  <a:pt x="10715119" y="6190797"/>
                </a:moveTo>
                <a:lnTo>
                  <a:pt x="10715119" y="6277246"/>
                </a:lnTo>
                <a:lnTo>
                  <a:pt x="10741246" y="6277246"/>
                </a:lnTo>
                <a:lnTo>
                  <a:pt x="10741246" y="6213447"/>
                </a:lnTo>
                <a:lnTo>
                  <a:pt x="10770312" y="6213447"/>
                </a:lnTo>
                <a:lnTo>
                  <a:pt x="10770312" y="6190797"/>
                </a:lnTo>
                <a:close/>
                <a:moveTo>
                  <a:pt x="11347790" y="6188895"/>
                </a:moveTo>
                <a:cubicBezTo>
                  <a:pt x="11325126" y="6188895"/>
                  <a:pt x="11307651" y="6209471"/>
                  <a:pt x="11307651" y="6234021"/>
                </a:cubicBezTo>
                <a:cubicBezTo>
                  <a:pt x="11307651" y="6258573"/>
                  <a:pt x="11325126" y="6279146"/>
                  <a:pt x="11347790" y="6279146"/>
                </a:cubicBezTo>
                <a:cubicBezTo>
                  <a:pt x="11359382" y="6279146"/>
                  <a:pt x="11367860" y="6273270"/>
                  <a:pt x="11371322" y="6268601"/>
                </a:cubicBezTo>
                <a:lnTo>
                  <a:pt x="11371322" y="6277246"/>
                </a:lnTo>
                <a:lnTo>
                  <a:pt x="11397447" y="6277246"/>
                </a:lnTo>
                <a:lnTo>
                  <a:pt x="11397447" y="6190797"/>
                </a:lnTo>
                <a:lnTo>
                  <a:pt x="11371322" y="6190797"/>
                </a:lnTo>
                <a:lnTo>
                  <a:pt x="11371322" y="6199442"/>
                </a:lnTo>
                <a:cubicBezTo>
                  <a:pt x="11367860" y="6194774"/>
                  <a:pt x="11359382" y="6188895"/>
                  <a:pt x="11347790" y="6188895"/>
                </a:cubicBezTo>
                <a:close/>
                <a:moveTo>
                  <a:pt x="11253506" y="6188895"/>
                </a:moveTo>
                <a:cubicBezTo>
                  <a:pt x="11227207" y="6188895"/>
                  <a:pt x="11208003" y="6208260"/>
                  <a:pt x="11208003" y="6234021"/>
                </a:cubicBezTo>
                <a:cubicBezTo>
                  <a:pt x="11208003" y="6261858"/>
                  <a:pt x="11228591" y="6279146"/>
                  <a:pt x="11254025" y="6279146"/>
                </a:cubicBezTo>
                <a:cubicBezTo>
                  <a:pt x="11272192" y="6279146"/>
                  <a:pt x="11286551" y="6271540"/>
                  <a:pt x="11294684" y="6260129"/>
                </a:cubicBezTo>
                <a:lnTo>
                  <a:pt x="11275306" y="6245606"/>
                </a:lnTo>
                <a:cubicBezTo>
                  <a:pt x="11272018" y="6250619"/>
                  <a:pt x="11264405" y="6255461"/>
                  <a:pt x="11254371" y="6255461"/>
                </a:cubicBezTo>
                <a:cubicBezTo>
                  <a:pt x="11244509" y="6255461"/>
                  <a:pt x="11234820" y="6250619"/>
                  <a:pt x="11233263" y="6240246"/>
                </a:cubicBezTo>
                <a:lnTo>
                  <a:pt x="11296068" y="6240246"/>
                </a:lnTo>
                <a:cubicBezTo>
                  <a:pt x="11296587" y="6236095"/>
                  <a:pt x="11296587" y="6233330"/>
                  <a:pt x="11296587" y="6231083"/>
                </a:cubicBezTo>
                <a:cubicBezTo>
                  <a:pt x="11296587" y="6203073"/>
                  <a:pt x="11276343" y="6188895"/>
                  <a:pt x="11253506" y="6188895"/>
                </a:cubicBezTo>
                <a:close/>
                <a:moveTo>
                  <a:pt x="10920647" y="6188895"/>
                </a:moveTo>
                <a:cubicBezTo>
                  <a:pt x="10895734" y="6188895"/>
                  <a:pt x="10875145" y="6208606"/>
                  <a:pt x="10875145" y="6234021"/>
                </a:cubicBezTo>
                <a:cubicBezTo>
                  <a:pt x="10875145" y="6259437"/>
                  <a:pt x="10895734" y="6279146"/>
                  <a:pt x="10920647" y="6279146"/>
                </a:cubicBezTo>
                <a:cubicBezTo>
                  <a:pt x="10945562" y="6279146"/>
                  <a:pt x="10966150" y="6259437"/>
                  <a:pt x="10966150" y="6234021"/>
                </a:cubicBezTo>
                <a:cubicBezTo>
                  <a:pt x="10966150" y="6208606"/>
                  <a:pt x="10945562" y="6188895"/>
                  <a:pt x="10920647" y="6188895"/>
                </a:cubicBezTo>
                <a:close/>
                <a:moveTo>
                  <a:pt x="10644019" y="6188895"/>
                </a:moveTo>
                <a:cubicBezTo>
                  <a:pt x="10621355" y="6188895"/>
                  <a:pt x="10603880" y="6209471"/>
                  <a:pt x="10603880" y="6234021"/>
                </a:cubicBezTo>
                <a:cubicBezTo>
                  <a:pt x="10603880" y="6258573"/>
                  <a:pt x="10621355" y="6279146"/>
                  <a:pt x="10644019" y="6279146"/>
                </a:cubicBezTo>
                <a:cubicBezTo>
                  <a:pt x="10655611" y="6279146"/>
                  <a:pt x="10664089" y="6273270"/>
                  <a:pt x="10667549" y="6268601"/>
                </a:cubicBezTo>
                <a:lnTo>
                  <a:pt x="10667549" y="6277246"/>
                </a:lnTo>
                <a:lnTo>
                  <a:pt x="10693676" y="6277246"/>
                </a:lnTo>
                <a:lnTo>
                  <a:pt x="10693676" y="6190797"/>
                </a:lnTo>
                <a:lnTo>
                  <a:pt x="10667549" y="6190797"/>
                </a:lnTo>
                <a:lnTo>
                  <a:pt x="10667549" y="6199442"/>
                </a:lnTo>
                <a:cubicBezTo>
                  <a:pt x="10664089" y="6194774"/>
                  <a:pt x="10655611" y="6188895"/>
                  <a:pt x="10644019" y="6188895"/>
                </a:cubicBezTo>
                <a:close/>
                <a:moveTo>
                  <a:pt x="10549735" y="6188895"/>
                </a:moveTo>
                <a:cubicBezTo>
                  <a:pt x="10523437" y="6188895"/>
                  <a:pt x="10504232" y="6208260"/>
                  <a:pt x="10504232" y="6234021"/>
                </a:cubicBezTo>
                <a:cubicBezTo>
                  <a:pt x="10504232" y="6261858"/>
                  <a:pt x="10524820" y="6279146"/>
                  <a:pt x="10550254" y="6279146"/>
                </a:cubicBezTo>
                <a:cubicBezTo>
                  <a:pt x="10568419" y="6279146"/>
                  <a:pt x="10582780" y="6271540"/>
                  <a:pt x="10590911" y="6260129"/>
                </a:cubicBezTo>
                <a:lnTo>
                  <a:pt x="10571535" y="6245606"/>
                </a:lnTo>
                <a:cubicBezTo>
                  <a:pt x="10568247" y="6250619"/>
                  <a:pt x="10560634" y="6255461"/>
                  <a:pt x="10550600" y="6255461"/>
                </a:cubicBezTo>
                <a:cubicBezTo>
                  <a:pt x="10540737" y="6255461"/>
                  <a:pt x="10531049" y="6250619"/>
                  <a:pt x="10529492" y="6240246"/>
                </a:cubicBezTo>
                <a:lnTo>
                  <a:pt x="10592297" y="6240246"/>
                </a:lnTo>
                <a:cubicBezTo>
                  <a:pt x="10592816" y="6236095"/>
                  <a:pt x="10592816" y="6233330"/>
                  <a:pt x="10592816" y="6231083"/>
                </a:cubicBezTo>
                <a:cubicBezTo>
                  <a:pt x="10592816" y="6203073"/>
                  <a:pt x="10572572" y="6188895"/>
                  <a:pt x="10549735" y="6188895"/>
                </a:cubicBezTo>
                <a:close/>
                <a:moveTo>
                  <a:pt x="11492593" y="6163306"/>
                </a:moveTo>
                <a:lnTo>
                  <a:pt x="11466466" y="6190797"/>
                </a:lnTo>
                <a:lnTo>
                  <a:pt x="11466466" y="6277246"/>
                </a:lnTo>
                <a:lnTo>
                  <a:pt x="11492593" y="6277246"/>
                </a:lnTo>
                <a:lnTo>
                  <a:pt x="11492593" y="6213447"/>
                </a:lnTo>
                <a:lnTo>
                  <a:pt x="11516814" y="6213447"/>
                </a:lnTo>
                <a:lnTo>
                  <a:pt x="11516814" y="6190797"/>
                </a:lnTo>
                <a:lnTo>
                  <a:pt x="11492593" y="6190797"/>
                </a:lnTo>
                <a:close/>
                <a:moveTo>
                  <a:pt x="10810792" y="6163306"/>
                </a:moveTo>
                <a:lnTo>
                  <a:pt x="10784666" y="6190797"/>
                </a:lnTo>
                <a:lnTo>
                  <a:pt x="10784666" y="6277246"/>
                </a:lnTo>
                <a:lnTo>
                  <a:pt x="10810792" y="6277246"/>
                </a:lnTo>
                <a:lnTo>
                  <a:pt x="10810792" y="6213447"/>
                </a:lnTo>
                <a:lnTo>
                  <a:pt x="10835013" y="6213447"/>
                </a:lnTo>
                <a:lnTo>
                  <a:pt x="10835013" y="6190797"/>
                </a:lnTo>
                <a:lnTo>
                  <a:pt x="10810792" y="6190797"/>
                </a:lnTo>
                <a:close/>
                <a:moveTo>
                  <a:pt x="11088283" y="6154490"/>
                </a:moveTo>
                <a:lnTo>
                  <a:pt x="11088283" y="6277246"/>
                </a:lnTo>
                <a:lnTo>
                  <a:pt x="11115793" y="6277246"/>
                </a:lnTo>
                <a:lnTo>
                  <a:pt x="11115793" y="6228662"/>
                </a:lnTo>
                <a:lnTo>
                  <a:pt x="11165275" y="6228662"/>
                </a:lnTo>
                <a:lnTo>
                  <a:pt x="11165275" y="6277246"/>
                </a:lnTo>
                <a:lnTo>
                  <a:pt x="11192784" y="6277246"/>
                </a:lnTo>
                <a:lnTo>
                  <a:pt x="11192784" y="6154490"/>
                </a:lnTo>
                <a:lnTo>
                  <a:pt x="11165275" y="6154490"/>
                </a:lnTo>
                <a:lnTo>
                  <a:pt x="11165275" y="6202554"/>
                </a:lnTo>
                <a:lnTo>
                  <a:pt x="11115793" y="6202554"/>
                </a:lnTo>
                <a:lnTo>
                  <a:pt x="11115793" y="6154490"/>
                </a:lnTo>
                <a:close/>
                <a:moveTo>
                  <a:pt x="10384512" y="6154490"/>
                </a:moveTo>
                <a:lnTo>
                  <a:pt x="10384512" y="6238904"/>
                </a:lnTo>
                <a:lnTo>
                  <a:pt x="10412020" y="6266394"/>
                </a:lnTo>
                <a:lnTo>
                  <a:pt x="10412020" y="6228662"/>
                </a:lnTo>
                <a:lnTo>
                  <a:pt x="10461504" y="6228662"/>
                </a:lnTo>
                <a:lnTo>
                  <a:pt x="10461504" y="6277246"/>
                </a:lnTo>
                <a:lnTo>
                  <a:pt x="10489013" y="6277246"/>
                </a:lnTo>
                <a:lnTo>
                  <a:pt x="10489013" y="6154490"/>
                </a:lnTo>
                <a:lnTo>
                  <a:pt x="10461504" y="6154490"/>
                </a:lnTo>
                <a:lnTo>
                  <a:pt x="10461504" y="6202554"/>
                </a:lnTo>
                <a:lnTo>
                  <a:pt x="10412020" y="6202554"/>
                </a:lnTo>
                <a:lnTo>
                  <a:pt x="10412020" y="6154490"/>
                </a:lnTo>
                <a:close/>
                <a:moveTo>
                  <a:pt x="11530130" y="6147573"/>
                </a:moveTo>
                <a:lnTo>
                  <a:pt x="11530130" y="6277246"/>
                </a:lnTo>
                <a:lnTo>
                  <a:pt x="11556257" y="6277246"/>
                </a:lnTo>
                <a:lnTo>
                  <a:pt x="11556257" y="6235231"/>
                </a:lnTo>
                <a:cubicBezTo>
                  <a:pt x="11556257" y="6219672"/>
                  <a:pt x="11563868" y="6212582"/>
                  <a:pt x="11573731" y="6212582"/>
                </a:cubicBezTo>
                <a:cubicBezTo>
                  <a:pt x="11583074" y="6212582"/>
                  <a:pt x="11587744" y="6219844"/>
                  <a:pt x="11587744" y="6231773"/>
                </a:cubicBezTo>
                <a:lnTo>
                  <a:pt x="11587744" y="6277246"/>
                </a:lnTo>
                <a:lnTo>
                  <a:pt x="11613870" y="6277246"/>
                </a:lnTo>
                <a:lnTo>
                  <a:pt x="11613870" y="6227279"/>
                </a:lnTo>
                <a:cubicBezTo>
                  <a:pt x="11613870" y="6204628"/>
                  <a:pt x="11601586" y="6188895"/>
                  <a:pt x="11580305" y="6188895"/>
                </a:cubicBezTo>
                <a:cubicBezTo>
                  <a:pt x="11569060" y="6188895"/>
                  <a:pt x="11560408" y="6193737"/>
                  <a:pt x="11556257" y="6199616"/>
                </a:cubicBezTo>
                <a:lnTo>
                  <a:pt x="11556257" y="6147573"/>
                </a:lnTo>
                <a:close/>
                <a:moveTo>
                  <a:pt x="11418892" y="6147573"/>
                </a:moveTo>
                <a:lnTo>
                  <a:pt x="11418892" y="6277246"/>
                </a:lnTo>
                <a:lnTo>
                  <a:pt x="11445018" y="6277246"/>
                </a:lnTo>
                <a:lnTo>
                  <a:pt x="11445018" y="6147573"/>
                </a:lnTo>
                <a:close/>
                <a:moveTo>
                  <a:pt x="11025143" y="6146536"/>
                </a:moveTo>
                <a:cubicBezTo>
                  <a:pt x="11005938" y="6146536"/>
                  <a:pt x="10990366" y="6159330"/>
                  <a:pt x="10990366" y="6181289"/>
                </a:cubicBezTo>
                <a:lnTo>
                  <a:pt x="10990366" y="6190797"/>
                </a:lnTo>
                <a:lnTo>
                  <a:pt x="10973066" y="6190797"/>
                </a:lnTo>
                <a:lnTo>
                  <a:pt x="10973066" y="6213447"/>
                </a:lnTo>
                <a:lnTo>
                  <a:pt x="10990366" y="6213447"/>
                </a:lnTo>
                <a:lnTo>
                  <a:pt x="10990366" y="6277246"/>
                </a:lnTo>
                <a:lnTo>
                  <a:pt x="11016492" y="6277246"/>
                </a:lnTo>
                <a:lnTo>
                  <a:pt x="11016492" y="6213447"/>
                </a:lnTo>
                <a:lnTo>
                  <a:pt x="11040715" y="6213447"/>
                </a:lnTo>
                <a:lnTo>
                  <a:pt x="11040715" y="6190797"/>
                </a:lnTo>
                <a:lnTo>
                  <a:pt x="11016492" y="6190797"/>
                </a:lnTo>
                <a:lnTo>
                  <a:pt x="11016492" y="6184573"/>
                </a:lnTo>
                <a:cubicBezTo>
                  <a:pt x="11016492" y="6174199"/>
                  <a:pt x="11020818" y="6169877"/>
                  <a:pt x="11031372" y="6169877"/>
                </a:cubicBezTo>
                <a:cubicBezTo>
                  <a:pt x="11035178" y="6169877"/>
                  <a:pt x="11037946" y="6170396"/>
                  <a:pt x="11040715" y="6171432"/>
                </a:cubicBezTo>
                <a:lnTo>
                  <a:pt x="11040715" y="6148437"/>
                </a:lnTo>
                <a:cubicBezTo>
                  <a:pt x="11036908" y="6147227"/>
                  <a:pt x="11032063" y="6146536"/>
                  <a:pt x="11025143" y="6146536"/>
                </a:cubicBezTo>
                <a:close/>
                <a:moveTo>
                  <a:pt x="10558900" y="5954887"/>
                </a:moveTo>
                <a:cubicBezTo>
                  <a:pt x="10578547" y="5954887"/>
                  <a:pt x="10592187" y="5964239"/>
                  <a:pt x="10597880" y="5981376"/>
                </a:cubicBezTo>
                <a:lnTo>
                  <a:pt x="10518342" y="5981376"/>
                </a:lnTo>
                <a:cubicBezTo>
                  <a:pt x="10527657" y="5958507"/>
                  <a:pt x="10547390" y="5954887"/>
                  <a:pt x="10558900" y="5954887"/>
                </a:cubicBezTo>
                <a:close/>
                <a:moveTo>
                  <a:pt x="10558576" y="5902060"/>
                </a:moveTo>
                <a:cubicBezTo>
                  <a:pt x="10495846" y="5902060"/>
                  <a:pt x="10458359" y="5953882"/>
                  <a:pt x="10458359" y="6003970"/>
                </a:cubicBezTo>
                <a:cubicBezTo>
                  <a:pt x="10458359" y="6060405"/>
                  <a:pt x="10502523" y="6104610"/>
                  <a:pt x="10558900" y="6104610"/>
                </a:cubicBezTo>
                <a:cubicBezTo>
                  <a:pt x="10588154" y="6104610"/>
                  <a:pt x="10615418" y="6094026"/>
                  <a:pt x="10635313" y="6075263"/>
                </a:cubicBezTo>
                <a:lnTo>
                  <a:pt x="10598388" y="6038433"/>
                </a:lnTo>
                <a:cubicBezTo>
                  <a:pt x="10586991" y="6047963"/>
                  <a:pt x="10576844" y="6051421"/>
                  <a:pt x="10561139" y="6051712"/>
                </a:cubicBezTo>
                <a:cubicBezTo>
                  <a:pt x="10547498" y="6051583"/>
                  <a:pt x="10535215" y="6045970"/>
                  <a:pt x="10526371" y="6036996"/>
                </a:cubicBezTo>
                <a:cubicBezTo>
                  <a:pt x="10524554" y="6035143"/>
                  <a:pt x="10522916" y="6033149"/>
                  <a:pt x="10521413" y="6031037"/>
                </a:cubicBezTo>
                <a:cubicBezTo>
                  <a:pt x="10521067" y="6030502"/>
                  <a:pt x="10520661" y="6029967"/>
                  <a:pt x="10520348" y="6029443"/>
                </a:cubicBezTo>
                <a:lnTo>
                  <a:pt x="10520327" y="6029443"/>
                </a:lnTo>
                <a:cubicBezTo>
                  <a:pt x="10518742" y="6027028"/>
                  <a:pt x="10517315" y="6024505"/>
                  <a:pt x="10516185" y="6021831"/>
                </a:cubicBezTo>
                <a:lnTo>
                  <a:pt x="10654927" y="6021831"/>
                </a:lnTo>
                <a:cubicBezTo>
                  <a:pt x="10656014" y="6016623"/>
                  <a:pt x="10657214" y="6009480"/>
                  <a:pt x="10657214" y="6001101"/>
                </a:cubicBezTo>
                <a:cubicBezTo>
                  <a:pt x="10657214" y="5952418"/>
                  <a:pt x="10620327" y="5902060"/>
                  <a:pt x="10558576" y="5902060"/>
                </a:cubicBezTo>
                <a:close/>
                <a:moveTo>
                  <a:pt x="10355514" y="5902049"/>
                </a:moveTo>
                <a:lnTo>
                  <a:pt x="10355514" y="6102940"/>
                </a:lnTo>
                <a:lnTo>
                  <a:pt x="10411977" y="6102940"/>
                </a:lnTo>
                <a:lnTo>
                  <a:pt x="10411977" y="5953601"/>
                </a:lnTo>
                <a:lnTo>
                  <a:pt x="10457369" y="5953601"/>
                </a:lnTo>
                <a:lnTo>
                  <a:pt x="10457369" y="5902049"/>
                </a:lnTo>
                <a:close/>
                <a:moveTo>
                  <a:pt x="10773980" y="5902027"/>
                </a:moveTo>
                <a:lnTo>
                  <a:pt x="10773028" y="5902092"/>
                </a:lnTo>
                <a:cubicBezTo>
                  <a:pt x="10717759" y="5902513"/>
                  <a:pt x="10672930" y="5947490"/>
                  <a:pt x="10672930" y="6002732"/>
                </a:cubicBezTo>
                <a:cubicBezTo>
                  <a:pt x="10672930" y="6065678"/>
                  <a:pt x="10725463" y="6104642"/>
                  <a:pt x="10774369" y="6104642"/>
                </a:cubicBezTo>
                <a:cubicBezTo>
                  <a:pt x="10806169" y="6104642"/>
                  <a:pt x="10832990" y="6092129"/>
                  <a:pt x="10854107" y="6067445"/>
                </a:cubicBezTo>
                <a:lnTo>
                  <a:pt x="10858291" y="6062539"/>
                </a:lnTo>
                <a:lnTo>
                  <a:pt x="10822280" y="6026498"/>
                </a:lnTo>
                <a:lnTo>
                  <a:pt x="10817182" y="6031636"/>
                </a:lnTo>
                <a:cubicBezTo>
                  <a:pt x="10801384" y="6047401"/>
                  <a:pt x="10794383" y="6051680"/>
                  <a:pt x="10775299" y="6051804"/>
                </a:cubicBezTo>
                <a:cubicBezTo>
                  <a:pt x="10749132" y="6051582"/>
                  <a:pt x="10729404" y="6030761"/>
                  <a:pt x="10729404" y="6003375"/>
                </a:cubicBezTo>
                <a:cubicBezTo>
                  <a:pt x="10729404" y="5970095"/>
                  <a:pt x="10752614" y="5954919"/>
                  <a:pt x="10774169" y="5954897"/>
                </a:cubicBezTo>
                <a:lnTo>
                  <a:pt x="10775131" y="5954832"/>
                </a:lnTo>
                <a:cubicBezTo>
                  <a:pt x="10794329" y="5954941"/>
                  <a:pt x="10801476" y="5959327"/>
                  <a:pt x="10817160" y="5974990"/>
                </a:cubicBezTo>
                <a:lnTo>
                  <a:pt x="10822258" y="5980106"/>
                </a:lnTo>
                <a:lnTo>
                  <a:pt x="10858291" y="5944103"/>
                </a:lnTo>
                <a:lnTo>
                  <a:pt x="10854096" y="5939187"/>
                </a:lnTo>
                <a:cubicBezTo>
                  <a:pt x="10832892" y="5914389"/>
                  <a:pt x="10805872" y="5901849"/>
                  <a:pt x="10773980" y="5902027"/>
                </a:cubicBezTo>
                <a:close/>
                <a:moveTo>
                  <a:pt x="10157389" y="5869070"/>
                </a:moveTo>
                <a:lnTo>
                  <a:pt x="10157389" y="5996103"/>
                </a:lnTo>
                <a:cubicBezTo>
                  <a:pt x="10157389" y="6000837"/>
                  <a:pt x="10157084" y="6005912"/>
                  <a:pt x="10156416" y="6010964"/>
                </a:cubicBezTo>
                <a:lnTo>
                  <a:pt x="10156416" y="6010964"/>
                </a:lnTo>
                <a:lnTo>
                  <a:pt x="10156416" y="6010965"/>
                </a:lnTo>
                <a:lnTo>
                  <a:pt x="10014482" y="5869129"/>
                </a:lnTo>
                <a:lnTo>
                  <a:pt x="10014482" y="5996102"/>
                </a:lnTo>
                <a:cubicBezTo>
                  <a:pt x="10014482" y="6032775"/>
                  <a:pt x="10023964" y="6053310"/>
                  <a:pt x="10032047" y="6064055"/>
                </a:cubicBezTo>
                <a:cubicBezTo>
                  <a:pt x="10046649" y="6083629"/>
                  <a:pt x="10076395" y="6104543"/>
                  <a:pt x="10116094" y="6104543"/>
                </a:cubicBezTo>
                <a:cubicBezTo>
                  <a:pt x="10155793" y="6104543"/>
                  <a:pt x="10185538" y="6083629"/>
                  <a:pt x="10200141" y="6064055"/>
                </a:cubicBezTo>
                <a:cubicBezTo>
                  <a:pt x="10201372" y="6062418"/>
                  <a:pt x="10202635" y="6060523"/>
                  <a:pt x="10203893" y="6058409"/>
                </a:cubicBezTo>
                <a:lnTo>
                  <a:pt x="10203892" y="6058407"/>
                </a:lnTo>
                <a:lnTo>
                  <a:pt x="10203894" y="6058409"/>
                </a:lnTo>
                <a:cubicBezTo>
                  <a:pt x="10210892" y="6046647"/>
                  <a:pt x="10217706" y="6027187"/>
                  <a:pt x="10217706" y="5996102"/>
                </a:cubicBezTo>
                <a:lnTo>
                  <a:pt x="10217706" y="5869070"/>
                </a:lnTo>
                <a:close/>
                <a:moveTo>
                  <a:pt x="10301101" y="5845419"/>
                </a:moveTo>
                <a:lnTo>
                  <a:pt x="10244626" y="5902060"/>
                </a:lnTo>
                <a:lnTo>
                  <a:pt x="10244626" y="6102941"/>
                </a:lnTo>
                <a:lnTo>
                  <a:pt x="10301101" y="6102941"/>
                </a:lnTo>
                <a:lnTo>
                  <a:pt x="10301101" y="5953601"/>
                </a:lnTo>
                <a:lnTo>
                  <a:pt x="10337766" y="5953601"/>
                </a:lnTo>
                <a:lnTo>
                  <a:pt x="10337766" y="5902050"/>
                </a:lnTo>
                <a:lnTo>
                  <a:pt x="10301101" y="5902050"/>
                </a:lnTo>
                <a:close/>
                <a:moveTo>
                  <a:pt x="10934996" y="5845338"/>
                </a:moveTo>
                <a:lnTo>
                  <a:pt x="10878532" y="5902061"/>
                </a:lnTo>
                <a:cubicBezTo>
                  <a:pt x="10878532" y="5902061"/>
                  <a:pt x="10878057" y="6096571"/>
                  <a:pt x="10878532" y="6102940"/>
                </a:cubicBezTo>
                <a:lnTo>
                  <a:pt x="10934996" y="6102940"/>
                </a:lnTo>
                <a:lnTo>
                  <a:pt x="10934996" y="6002209"/>
                </a:lnTo>
                <a:cubicBezTo>
                  <a:pt x="10934996" y="5969145"/>
                  <a:pt x="10943587" y="5955038"/>
                  <a:pt x="10963752" y="5955038"/>
                </a:cubicBezTo>
                <a:cubicBezTo>
                  <a:pt x="10984907" y="5955038"/>
                  <a:pt x="10993152" y="5968080"/>
                  <a:pt x="10993152" y="6001571"/>
                </a:cubicBezTo>
                <a:lnTo>
                  <a:pt x="10993152" y="6102940"/>
                </a:lnTo>
                <a:lnTo>
                  <a:pt x="11049615" y="6102940"/>
                </a:lnTo>
                <a:lnTo>
                  <a:pt x="11049615" y="5992338"/>
                </a:lnTo>
                <a:cubicBezTo>
                  <a:pt x="11049615" y="5978134"/>
                  <a:pt x="11049615" y="5951689"/>
                  <a:pt x="11034072" y="5931959"/>
                </a:cubicBezTo>
                <a:cubicBezTo>
                  <a:pt x="11020080" y="5914162"/>
                  <a:pt x="10995931" y="5902206"/>
                  <a:pt x="10973965" y="5902206"/>
                </a:cubicBezTo>
                <a:cubicBezTo>
                  <a:pt x="10959449" y="5902206"/>
                  <a:pt x="10946382" y="5905891"/>
                  <a:pt x="10934996" y="5913184"/>
                </a:cubicBezTo>
                <a:close/>
                <a:moveTo>
                  <a:pt x="11133771" y="5845337"/>
                </a:moveTo>
                <a:lnTo>
                  <a:pt x="11077307" y="5902060"/>
                </a:lnTo>
                <a:lnTo>
                  <a:pt x="11077307" y="6102939"/>
                </a:lnTo>
                <a:lnTo>
                  <a:pt x="11133771" y="6102939"/>
                </a:lnTo>
                <a:lnTo>
                  <a:pt x="11133771" y="5953525"/>
                </a:lnTo>
                <a:lnTo>
                  <a:pt x="11170447" y="5953525"/>
                </a:lnTo>
                <a:lnTo>
                  <a:pt x="11170447" y="5901973"/>
                </a:lnTo>
                <a:lnTo>
                  <a:pt x="11133771" y="5901973"/>
                </a:lnTo>
                <a:close/>
                <a:moveTo>
                  <a:pt x="0" y="0"/>
                </a:moveTo>
                <a:lnTo>
                  <a:pt x="12192000" y="0"/>
                </a:lnTo>
                <a:lnTo>
                  <a:pt x="12192000" y="6864039"/>
                </a:lnTo>
                <a:lnTo>
                  <a:pt x="0" y="6864039"/>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dirty="0"/>
              <a:t>Klik op het pictogram als u een afbeelding wilt toevoegen</a:t>
            </a:r>
            <a:endParaRPr lang="en-GB" dirty="0"/>
          </a:p>
        </p:txBody>
      </p:sp>
      <p:sp>
        <p:nvSpPr>
          <p:cNvPr id="3" name="Titel 1">
            <a:extLst>
              <a:ext uri="{FF2B5EF4-FFF2-40B4-BE49-F238E27FC236}">
                <a16:creationId xmlns:a16="http://schemas.microsoft.com/office/drawing/2014/main" id="{FFD0E52D-7DC6-4860-01BD-6B56A7AC1CE5}"/>
              </a:ext>
            </a:extLst>
          </p:cNvPr>
          <p:cNvSpPr>
            <a:spLocks noGrp="1"/>
          </p:cNvSpPr>
          <p:nvPr>
            <p:ph type="title" hasCustomPrompt="1"/>
          </p:nvPr>
        </p:nvSpPr>
        <p:spPr>
          <a:xfrm>
            <a:off x="1137600" y="2801001"/>
            <a:ext cx="5016576" cy="969496"/>
          </a:xfrm>
        </p:spPr>
        <p:txBody>
          <a:bodyPr wrap="square" anchor="b" anchorCtr="0">
            <a:spAutoFit/>
          </a:bodyPr>
          <a:lstStyle>
            <a:lvl1pPr>
              <a:defRPr sz="7000">
                <a:solidFill>
                  <a:schemeClr val="bg1"/>
                </a:solidFill>
              </a:defRPr>
            </a:lvl1pPr>
          </a:lstStyle>
          <a:p>
            <a:r>
              <a:rPr lang="nl-NL" dirty="0"/>
              <a:t>Tekst</a:t>
            </a:r>
          </a:p>
        </p:txBody>
      </p:sp>
    </p:spTree>
    <p:extLst>
      <p:ext uri="{BB962C8B-B14F-4D97-AF65-F5344CB8AC3E}">
        <p14:creationId xmlns:p14="http://schemas.microsoft.com/office/powerpoint/2010/main" val="13455179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I / Beeld">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3E331EB8-7C40-852C-F16C-5795466EFC26}"/>
              </a:ext>
            </a:extLst>
          </p:cNvPr>
          <p:cNvSpPr/>
          <p:nvPr userDrawn="1"/>
        </p:nvSpPr>
        <p:spPr>
          <a:xfrm>
            <a:off x="6096000"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chemeClr val="accent3"/>
          </a:solidFill>
          <a:ln w="12700"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9" name="Freeform: Shape 8">
            <a:extLst>
              <a:ext uri="{FF2B5EF4-FFF2-40B4-BE49-F238E27FC236}">
                <a16:creationId xmlns:a16="http://schemas.microsoft.com/office/drawing/2014/main" id="{0B1B35FF-50C1-C14B-ECED-876FAF17DECF}"/>
              </a:ext>
            </a:extLst>
          </p:cNvPr>
          <p:cNvSpPr/>
          <p:nvPr userDrawn="1"/>
        </p:nvSpPr>
        <p:spPr>
          <a:xfrm>
            <a:off x="0" y="585773"/>
            <a:ext cx="6096000" cy="6272226"/>
          </a:xfrm>
          <a:custGeom>
            <a:avLst/>
            <a:gdLst>
              <a:gd name="connsiteX0" fmla="*/ 4998000 w 6096000"/>
              <a:gd name="connsiteY0" fmla="*/ 1045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272226">
                <a:moveTo>
                  <a:pt x="4998000" y="1045"/>
                </a:moveTo>
                <a:cubicBezTo>
                  <a:pt x="5278788" y="-4567"/>
                  <a:pt x="5544424" y="12614"/>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lose/>
              </a:path>
            </a:pathLst>
          </a:custGeom>
          <a:solidFill>
            <a:srgbClr val="007D7D"/>
          </a:solidFill>
          <a:ln w="12700">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0" name="Freeform: Shape 9">
            <a:extLst>
              <a:ext uri="{FF2B5EF4-FFF2-40B4-BE49-F238E27FC236}">
                <a16:creationId xmlns:a16="http://schemas.microsoft.com/office/drawing/2014/main" id="{462910F0-768E-6243-6F1F-698D6D4E36D9}"/>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chemeClr val="accent2"/>
          </a:solidFill>
          <a:ln w="12700"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1" name="Picture Placeholder 8">
            <a:extLst>
              <a:ext uri="{FF2B5EF4-FFF2-40B4-BE49-F238E27FC236}">
                <a16:creationId xmlns:a16="http://schemas.microsoft.com/office/drawing/2014/main" id="{A242C25F-1824-87D5-9D77-D14E7ADF3195}"/>
              </a:ext>
            </a:extLst>
          </p:cNvPr>
          <p:cNvSpPr>
            <a:spLocks noGrp="1"/>
          </p:cNvSpPr>
          <p:nvPr>
            <p:ph type="pic" sz="quarter" idx="11"/>
          </p:nvPr>
        </p:nvSpPr>
        <p:spPr>
          <a:xfrm>
            <a:off x="6096000" y="0"/>
            <a:ext cx="6096000" cy="5705659"/>
          </a:xfrm>
          <a:custGeom>
            <a:avLst/>
            <a:gdLst>
              <a:gd name="connsiteX0" fmla="*/ 0 w 6096000"/>
              <a:gd name="connsiteY0" fmla="*/ 0 h 5705659"/>
              <a:gd name="connsiteX1" fmla="*/ 6096000 w 6096000"/>
              <a:gd name="connsiteY1" fmla="*/ 0 h 5705659"/>
              <a:gd name="connsiteX2" fmla="*/ 6096000 w 6096000"/>
              <a:gd name="connsiteY2" fmla="*/ 5705659 h 5705659"/>
              <a:gd name="connsiteX3" fmla="*/ 2934617 w 6096000"/>
              <a:gd name="connsiteY3" fmla="*/ 2549416 h 5705659"/>
              <a:gd name="connsiteX4" fmla="*/ 119700 w 6096000"/>
              <a:gd name="connsiteY4" fmla="*/ 724468 h 5705659"/>
              <a:gd name="connsiteX5" fmla="*/ 0 w 6096000"/>
              <a:gd name="connsiteY5" fmla="*/ 693739 h 570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5705659">
                <a:moveTo>
                  <a:pt x="0" y="0"/>
                </a:moveTo>
                <a:lnTo>
                  <a:pt x="6096000" y="0"/>
                </a:lnTo>
                <a:lnTo>
                  <a:pt x="6096000" y="5705659"/>
                </a:lnTo>
                <a:lnTo>
                  <a:pt x="2934617" y="2549416"/>
                </a:lnTo>
                <a:cubicBezTo>
                  <a:pt x="1797550" y="1414196"/>
                  <a:pt x="828266" y="922995"/>
                  <a:pt x="119700" y="724468"/>
                </a:cubicBezTo>
                <a:lnTo>
                  <a:pt x="0" y="693739"/>
                </a:lnTo>
                <a:close/>
              </a:path>
            </a:pathLst>
          </a:custGeom>
          <a:solidFill>
            <a:schemeClr val="bg1">
              <a:lumMod val="95000"/>
            </a:schemeClr>
          </a:solidFill>
        </p:spPr>
        <p:txBody>
          <a:bodyPr wrap="square" lIns="0" tIns="1097280">
            <a:noAutofit/>
          </a:bodyPr>
          <a:lstStyle>
            <a:lvl1pPr algn="ctr">
              <a:defRPr sz="1800"/>
            </a:lvl1pPr>
          </a:lstStyle>
          <a:p>
            <a:r>
              <a:rPr lang="nl-NL"/>
              <a:t>Klik op het pictogram als u een afbeelding wilt toevoegen</a:t>
            </a:r>
            <a:endParaRPr lang="en-GB"/>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5" name="Title 1">
            <a:extLst>
              <a:ext uri="{FF2B5EF4-FFF2-40B4-BE49-F238E27FC236}">
                <a16:creationId xmlns:a16="http://schemas.microsoft.com/office/drawing/2014/main" id="{EFEB8386-CF97-8FD8-6A1A-FE43E19603FA}"/>
              </a:ext>
            </a:extLst>
          </p:cNvPr>
          <p:cNvSpPr>
            <a:spLocks noGrp="1"/>
          </p:cNvSpPr>
          <p:nvPr>
            <p:ph type="ctrTitle" hasCustomPrompt="1"/>
          </p:nvPr>
        </p:nvSpPr>
        <p:spPr>
          <a:xfrm>
            <a:off x="1137600" y="4726041"/>
            <a:ext cx="6894373" cy="874022"/>
          </a:xfrm>
          <a:noFill/>
        </p:spPr>
        <p:txBody>
          <a:bodyPr wrap="square" anchor="b">
            <a:spAutoFit/>
          </a:bodyPr>
          <a:lstStyle>
            <a:lvl1pPr algn="l">
              <a:lnSpc>
                <a:spcPct val="80000"/>
              </a:lnSpc>
              <a:defRPr sz="7000" b="1">
                <a:solidFill>
                  <a:schemeClr val="bg1"/>
                </a:solidFill>
                <a:latin typeface="+mn-lt"/>
              </a:defRPr>
            </a:lvl1pPr>
          </a:lstStyle>
          <a:p>
            <a:r>
              <a:rPr lang="nl-NL" noProof="0" dirty="0"/>
              <a:t>Tekst</a:t>
            </a:r>
          </a:p>
        </p:txBody>
      </p:sp>
      <p:sp>
        <p:nvSpPr>
          <p:cNvPr id="4" name="Freeform: Shape 3">
            <a:extLst>
              <a:ext uri="{FF2B5EF4-FFF2-40B4-BE49-F238E27FC236}">
                <a16:creationId xmlns:a16="http://schemas.microsoft.com/office/drawing/2014/main" id="{F9643337-EDA8-DCC2-5C96-060ED8196F27}"/>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E2391183-0B13-93D9-5DC9-1F76830F77F4}"/>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grpSp>
        <p:nvGrpSpPr>
          <p:cNvPr id="2" name="Groep 1">
            <a:extLst>
              <a:ext uri="{FF2B5EF4-FFF2-40B4-BE49-F238E27FC236}">
                <a16:creationId xmlns:a16="http://schemas.microsoft.com/office/drawing/2014/main" id="{EB44D972-F2BC-6451-B8AF-5CF367EDB785}"/>
              </a:ext>
            </a:extLst>
          </p:cNvPr>
          <p:cNvGrpSpPr/>
          <p:nvPr userDrawn="1"/>
        </p:nvGrpSpPr>
        <p:grpSpPr>
          <a:xfrm>
            <a:off x="10015200" y="5839200"/>
            <a:ext cx="1599388" cy="433809"/>
            <a:chOff x="3101010" y="1249096"/>
            <a:chExt cx="3978412" cy="1079079"/>
          </a:xfrm>
          <a:solidFill>
            <a:schemeClr val="bg1"/>
          </a:solidFill>
        </p:grpSpPr>
        <p:sp>
          <p:nvSpPr>
            <p:cNvPr id="7" name="Vrije vorm 6">
              <a:extLst>
                <a:ext uri="{FF2B5EF4-FFF2-40B4-BE49-F238E27FC236}">
                  <a16:creationId xmlns:a16="http://schemas.microsoft.com/office/drawing/2014/main" id="{7A17BEBD-541C-62C9-5B83-CC820C89489E}"/>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CA53B140-655E-0694-5DA5-24D04E2AA61D}"/>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51544EB8-32F8-C658-B40B-DEB1D93E46F2}"/>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FA6F1BBA-6B5A-F4CF-6B72-03A7E202C486}"/>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2FE2280A-8D5E-1065-1FE0-E59F121F92C1}"/>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5F98E97C-09CC-D102-F22D-4BF41B322088}"/>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2A350E60-760A-6B4F-927C-0B2EE93B113A}"/>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644AC435-8246-B0CF-93C9-FC9DA309D676}"/>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3963020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II / Beeld">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388BD3DF-5077-2355-AF8F-B39143205CE2}"/>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chemeClr val="accent3"/>
          </a:solidFill>
          <a:ln w="12700" cap="flat">
            <a:solidFill>
              <a:schemeClr val="accent3"/>
            </a:solidFill>
            <a:prstDash val="solid"/>
            <a:miter/>
          </a:ln>
        </p:spPr>
        <p:txBody>
          <a:bodyPr rtlCol="0" anchor="ctr"/>
          <a:lstStyle/>
          <a:p>
            <a:pPr lvl="0"/>
            <a:endParaRPr lang="en-GB"/>
          </a:p>
        </p:txBody>
      </p:sp>
      <p:sp>
        <p:nvSpPr>
          <p:cNvPr id="6" name="Freeform: Shape 5">
            <a:extLst>
              <a:ext uri="{FF2B5EF4-FFF2-40B4-BE49-F238E27FC236}">
                <a16:creationId xmlns:a16="http://schemas.microsoft.com/office/drawing/2014/main" id="{A4D412FA-C7FF-CBB7-C9D2-653E72187486}"/>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chemeClr val="accent3"/>
          </a:solidFill>
          <a:ln w="12700" cap="flat">
            <a:solidFill>
              <a:schemeClr val="accent3"/>
            </a:solidFill>
            <a:prstDash val="solid"/>
            <a:miter/>
          </a:ln>
        </p:spPr>
        <p:txBody>
          <a:bodyPr rtlCol="0" anchor="ctr"/>
          <a:lstStyle/>
          <a:p>
            <a:pPr lvl="0"/>
            <a:endParaRPr lang="en-GB"/>
          </a:p>
        </p:txBody>
      </p:sp>
      <p:sp>
        <p:nvSpPr>
          <p:cNvPr id="7" name="Freeform: Shape 6">
            <a:extLst>
              <a:ext uri="{FF2B5EF4-FFF2-40B4-BE49-F238E27FC236}">
                <a16:creationId xmlns:a16="http://schemas.microsoft.com/office/drawing/2014/main" id="{495C3930-4C45-BF09-CEAA-E1BEB805AC7C}"/>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rgbClr val="007D7D"/>
          </a:solidFill>
          <a:ln w="12700">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1" name="Freeform: Shape 10">
            <a:extLst>
              <a:ext uri="{FF2B5EF4-FFF2-40B4-BE49-F238E27FC236}">
                <a16:creationId xmlns:a16="http://schemas.microsoft.com/office/drawing/2014/main" id="{43ACE0DC-0C0B-C412-6BAF-490F0ABD075C}"/>
              </a:ext>
            </a:extLst>
          </p:cNvPr>
          <p:cNvSpPr/>
          <p:nvPr userDrawn="1"/>
        </p:nvSpPr>
        <p:spPr>
          <a:xfrm>
            <a:off x="5414619"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2"/>
          </a:solidFill>
          <a:ln w="19050"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2" name="Picture Placeholder 16">
            <a:extLst>
              <a:ext uri="{FF2B5EF4-FFF2-40B4-BE49-F238E27FC236}">
                <a16:creationId xmlns:a16="http://schemas.microsoft.com/office/drawing/2014/main" id="{33FD8816-4A3C-7887-129D-FE0A6E099F05}"/>
              </a:ext>
            </a:extLst>
          </p:cNvPr>
          <p:cNvSpPr>
            <a:spLocks noGrp="1"/>
          </p:cNvSpPr>
          <p:nvPr>
            <p:ph type="pic" sz="quarter" idx="11"/>
          </p:nvPr>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0 w 4740914"/>
              <a:gd name="connsiteY0" fmla="*/ 685800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589444 w 5330358"/>
              <a:gd name="connsiteY0" fmla="*/ 6858000 h 6858000"/>
              <a:gd name="connsiteX1" fmla="*/ 594525 w 5330358"/>
              <a:gd name="connsiteY1" fmla="*/ 4813300 h 6858000"/>
              <a:gd name="connsiteX2" fmla="*/ 5325277 w 5330358"/>
              <a:gd name="connsiteY2" fmla="*/ 5190 h 6858000"/>
              <a:gd name="connsiteX3" fmla="*/ 5325277 w 5330358"/>
              <a:gd name="connsiteY3" fmla="*/ 0 h 6858000"/>
              <a:gd name="connsiteX4" fmla="*/ 5330358 w 5330358"/>
              <a:gd name="connsiteY4" fmla="*/ 0 h 6858000"/>
              <a:gd name="connsiteX5" fmla="*/ 5330358 w 5330358"/>
              <a:gd name="connsiteY5" fmla="*/ 6858000 h 6858000"/>
              <a:gd name="connsiteX6" fmla="*/ 589444 w 5330358"/>
              <a:gd name="connsiteY6" fmla="*/ 6858000 h 6858000"/>
              <a:gd name="connsiteX0" fmla="*/ 0 w 4740914"/>
              <a:gd name="connsiteY0" fmla="*/ 6858000 h 6858000"/>
              <a:gd name="connsiteX1" fmla="*/ 5081 w 4740914"/>
              <a:gd name="connsiteY1" fmla="*/ 4813300 h 6858000"/>
              <a:gd name="connsiteX2" fmla="*/ 4735833 w 4740914"/>
              <a:gd name="connsiteY2" fmla="*/ 5190 h 6858000"/>
              <a:gd name="connsiteX3" fmla="*/ 4735833 w 4740914"/>
              <a:gd name="connsiteY3" fmla="*/ 0 h 6858000"/>
              <a:gd name="connsiteX4" fmla="*/ 4740914 w 4740914"/>
              <a:gd name="connsiteY4" fmla="*/ 0 h 6858000"/>
              <a:gd name="connsiteX5" fmla="*/ 4740914 w 4740914"/>
              <a:gd name="connsiteY5" fmla="*/ 6858000 h 6858000"/>
              <a:gd name="connsiteX6" fmla="*/ 0 w 474091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0914" h="6858000">
                <a:moveTo>
                  <a:pt x="0" y="6858000"/>
                </a:moveTo>
                <a:cubicBezTo>
                  <a:pt x="1694" y="6176433"/>
                  <a:pt x="3387" y="5494867"/>
                  <a:pt x="5081" y="4813300"/>
                </a:cubicBezTo>
                <a:lnTo>
                  <a:pt x="4735833" y="5190"/>
                </a:lnTo>
                <a:lnTo>
                  <a:pt x="4735833" y="0"/>
                </a:lnTo>
                <a:lnTo>
                  <a:pt x="4740914" y="0"/>
                </a:lnTo>
                <a:lnTo>
                  <a:pt x="4740914" y="6858000"/>
                </a:lnTo>
                <a:lnTo>
                  <a:pt x="0" y="6858000"/>
                </a:lnTo>
                <a:close/>
              </a:path>
            </a:pathLst>
          </a:custGeom>
          <a:solidFill>
            <a:schemeClr val="bg1">
              <a:lumMod val="95000"/>
            </a:schemeClr>
          </a:solidFill>
        </p:spPr>
        <p:txBody>
          <a:bodyPr wrap="square" bIns="731520" anchor="b" anchorCtr="0">
            <a:noAutofit/>
          </a:bodyPr>
          <a:lstStyle>
            <a:lvl1pPr algn="ctr">
              <a:defRPr sz="1800"/>
            </a:lvl1pPr>
          </a:lstStyle>
          <a:p>
            <a:r>
              <a:rPr lang="nl-NL"/>
              <a:t>Klik op het pictogram als u een afbeelding wilt toevoegen</a:t>
            </a:r>
            <a:endParaRPr lang="en-GB"/>
          </a:p>
        </p:txBody>
      </p:sp>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4" name="Title 1">
            <a:extLst>
              <a:ext uri="{FF2B5EF4-FFF2-40B4-BE49-F238E27FC236}">
                <a16:creationId xmlns:a16="http://schemas.microsoft.com/office/drawing/2014/main" id="{DE2E557A-19C9-D444-522B-0B576F560246}"/>
              </a:ext>
            </a:extLst>
          </p:cNvPr>
          <p:cNvSpPr>
            <a:spLocks noGrp="1"/>
          </p:cNvSpPr>
          <p:nvPr>
            <p:ph type="ctrTitle" hasCustomPrompt="1"/>
          </p:nvPr>
        </p:nvSpPr>
        <p:spPr>
          <a:xfrm>
            <a:off x="1137600" y="2991989"/>
            <a:ext cx="5113198" cy="874022"/>
          </a:xfrm>
          <a:noFill/>
        </p:spPr>
        <p:txBody>
          <a:bodyPr wrap="square" anchor="ctr">
            <a:spAutoFit/>
          </a:bodyPr>
          <a:lstStyle>
            <a:lvl1pPr algn="l">
              <a:lnSpc>
                <a:spcPct val="80000"/>
              </a:lnSpc>
              <a:defRPr sz="7000" b="1">
                <a:solidFill>
                  <a:schemeClr val="bg1"/>
                </a:solidFill>
                <a:latin typeface="+mj-lt"/>
              </a:defRPr>
            </a:lvl1pPr>
          </a:lstStyle>
          <a:p>
            <a:r>
              <a:rPr lang="nl-NL" noProof="0" dirty="0"/>
              <a:t>Tekst</a:t>
            </a:r>
          </a:p>
        </p:txBody>
      </p:sp>
      <p:sp>
        <p:nvSpPr>
          <p:cNvPr id="2" name="Freeform: Shape 1">
            <a:extLst>
              <a:ext uri="{FF2B5EF4-FFF2-40B4-BE49-F238E27FC236}">
                <a16:creationId xmlns:a16="http://schemas.microsoft.com/office/drawing/2014/main" id="{344E64F0-C52E-6D68-BE3C-A79D8444EEA7}"/>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Tree>
    <p:extLst>
      <p:ext uri="{BB962C8B-B14F-4D97-AF65-F5344CB8AC3E}">
        <p14:creationId xmlns:p14="http://schemas.microsoft.com/office/powerpoint/2010/main" val="33468314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Quote I / Geen beeld">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55B0A47A-78A3-37F6-51E6-7249AD112B25}"/>
              </a:ext>
            </a:extLst>
          </p:cNvPr>
          <p:cNvSpPr/>
          <p:nvPr userDrawn="1"/>
        </p:nvSpPr>
        <p:spPr>
          <a:xfrm>
            <a:off x="6096000"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chemeClr val="accent3"/>
          </a:solidFill>
          <a:ln w="12700"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21" name="Freeform: Shape 20">
            <a:extLst>
              <a:ext uri="{FF2B5EF4-FFF2-40B4-BE49-F238E27FC236}">
                <a16:creationId xmlns:a16="http://schemas.microsoft.com/office/drawing/2014/main" id="{70F638A8-CE00-2246-9705-0AD81E488F6D}"/>
              </a:ext>
            </a:extLst>
          </p:cNvPr>
          <p:cNvSpPr/>
          <p:nvPr userDrawn="1"/>
        </p:nvSpPr>
        <p:spPr>
          <a:xfrm>
            <a:off x="0" y="585773"/>
            <a:ext cx="6096000" cy="6272226"/>
          </a:xfrm>
          <a:custGeom>
            <a:avLst/>
            <a:gdLst>
              <a:gd name="connsiteX0" fmla="*/ 4998000 w 6096000"/>
              <a:gd name="connsiteY0" fmla="*/ 1045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272226">
                <a:moveTo>
                  <a:pt x="4998000" y="1045"/>
                </a:moveTo>
                <a:cubicBezTo>
                  <a:pt x="5278788" y="-4567"/>
                  <a:pt x="5544424" y="12614"/>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lose/>
              </a:path>
            </a:pathLst>
          </a:custGeom>
          <a:solidFill>
            <a:srgbClr val="007D7D"/>
          </a:solidFill>
          <a:ln w="12700">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22" name="Freeform: Shape 21">
            <a:extLst>
              <a:ext uri="{FF2B5EF4-FFF2-40B4-BE49-F238E27FC236}">
                <a16:creationId xmlns:a16="http://schemas.microsoft.com/office/drawing/2014/main" id="{BAA15937-2888-E3A7-E5DE-DA5CCF97C2CC}"/>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chemeClr val="accent3"/>
          </a:solidFill>
          <a:ln w="12700"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3" name="Freeform: Shape 22">
            <a:extLst>
              <a:ext uri="{FF2B5EF4-FFF2-40B4-BE49-F238E27FC236}">
                <a16:creationId xmlns:a16="http://schemas.microsoft.com/office/drawing/2014/main" id="{0C5F40A5-7648-692A-437C-6AC9BDF6E66F}"/>
              </a:ext>
            </a:extLst>
          </p:cNvPr>
          <p:cNvSpPr/>
          <p:nvPr userDrawn="1"/>
        </p:nvSpPr>
        <p:spPr>
          <a:xfrm>
            <a:off x="6096000" y="-1"/>
            <a:ext cx="6096000" cy="5705659"/>
          </a:xfrm>
          <a:custGeom>
            <a:avLst/>
            <a:gdLst>
              <a:gd name="connsiteX0" fmla="*/ 0 w 6096000"/>
              <a:gd name="connsiteY0" fmla="*/ 0 h 5705659"/>
              <a:gd name="connsiteX1" fmla="*/ 6096000 w 6096000"/>
              <a:gd name="connsiteY1" fmla="*/ 0 h 5705659"/>
              <a:gd name="connsiteX2" fmla="*/ 6096000 w 6096000"/>
              <a:gd name="connsiteY2" fmla="*/ 5705659 h 5705659"/>
              <a:gd name="connsiteX3" fmla="*/ 2934617 w 6096000"/>
              <a:gd name="connsiteY3" fmla="*/ 2549416 h 5705659"/>
              <a:gd name="connsiteX4" fmla="*/ 119700 w 6096000"/>
              <a:gd name="connsiteY4" fmla="*/ 724468 h 5705659"/>
              <a:gd name="connsiteX5" fmla="*/ 0 w 6096000"/>
              <a:gd name="connsiteY5" fmla="*/ 693739 h 5705659"/>
              <a:gd name="connsiteX6" fmla="*/ 0 w 6096000"/>
              <a:gd name="connsiteY6" fmla="*/ 0 h 570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05659">
                <a:moveTo>
                  <a:pt x="0" y="0"/>
                </a:moveTo>
                <a:lnTo>
                  <a:pt x="6096000" y="0"/>
                </a:lnTo>
                <a:lnTo>
                  <a:pt x="6096000" y="5705659"/>
                </a:lnTo>
                <a:lnTo>
                  <a:pt x="2934617" y="2549416"/>
                </a:lnTo>
                <a:cubicBezTo>
                  <a:pt x="1797550" y="1414196"/>
                  <a:pt x="828266" y="922995"/>
                  <a:pt x="119700" y="724468"/>
                </a:cubicBezTo>
                <a:lnTo>
                  <a:pt x="0" y="693739"/>
                </a:lnTo>
                <a:lnTo>
                  <a:pt x="0" y="0"/>
                </a:lnTo>
                <a:close/>
              </a:path>
            </a:pathLst>
          </a:custGeom>
          <a:solidFill>
            <a:srgbClr val="007D7D"/>
          </a:solidFill>
          <a:ln w="12700">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26C28EB2-02D8-B783-2BC2-460EFB5D34BF}"/>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4ACAE26E-9C3B-4548-9C9C-EE9FF02E9DD7}"/>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2" name="Title 1">
            <a:extLst>
              <a:ext uri="{FF2B5EF4-FFF2-40B4-BE49-F238E27FC236}">
                <a16:creationId xmlns:a16="http://schemas.microsoft.com/office/drawing/2014/main" id="{EBB84997-60E2-6FBA-FC37-732BFA28E5CF}"/>
              </a:ext>
            </a:extLst>
          </p:cNvPr>
          <p:cNvSpPr>
            <a:spLocks noGrp="1"/>
          </p:cNvSpPr>
          <p:nvPr>
            <p:ph type="ctrTitle" hasCustomPrompt="1"/>
          </p:nvPr>
        </p:nvSpPr>
        <p:spPr>
          <a:xfrm>
            <a:off x="1137600" y="2991989"/>
            <a:ext cx="9842677" cy="874022"/>
          </a:xfrm>
          <a:noFill/>
        </p:spPr>
        <p:txBody>
          <a:bodyPr wrap="square" anchor="ctr">
            <a:spAutoFit/>
          </a:bodyPr>
          <a:lstStyle>
            <a:lvl1pPr algn="l">
              <a:lnSpc>
                <a:spcPct val="80000"/>
              </a:lnSpc>
              <a:defRPr sz="7000" b="1">
                <a:solidFill>
                  <a:schemeClr val="bg1"/>
                </a:solidFill>
                <a:latin typeface="+mj-lt"/>
              </a:defRPr>
            </a:lvl1pPr>
          </a:lstStyle>
          <a:p>
            <a:r>
              <a:rPr lang="nl-NL" noProof="0" dirty="0"/>
              <a:t>Tekst</a:t>
            </a:r>
          </a:p>
        </p:txBody>
      </p:sp>
      <p:grpSp>
        <p:nvGrpSpPr>
          <p:cNvPr id="14" name="Groep 13">
            <a:extLst>
              <a:ext uri="{FF2B5EF4-FFF2-40B4-BE49-F238E27FC236}">
                <a16:creationId xmlns:a16="http://schemas.microsoft.com/office/drawing/2014/main" id="{932E1815-302C-19EA-3F7B-E97FA3979A29}"/>
              </a:ext>
            </a:extLst>
          </p:cNvPr>
          <p:cNvGrpSpPr/>
          <p:nvPr userDrawn="1"/>
        </p:nvGrpSpPr>
        <p:grpSpPr>
          <a:xfrm>
            <a:off x="10014482" y="5839298"/>
            <a:ext cx="1599388" cy="433809"/>
            <a:chOff x="3101010" y="1249096"/>
            <a:chExt cx="3978412" cy="1079079"/>
          </a:xfrm>
          <a:solidFill>
            <a:schemeClr val="bg1"/>
          </a:solidFill>
        </p:grpSpPr>
        <p:sp>
          <p:nvSpPr>
            <p:cNvPr id="15" name="Vrije vorm 14">
              <a:extLst>
                <a:ext uri="{FF2B5EF4-FFF2-40B4-BE49-F238E27FC236}">
                  <a16:creationId xmlns:a16="http://schemas.microsoft.com/office/drawing/2014/main" id="{BDA7CBF7-8097-A454-A4B7-742B2FFBA978}"/>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DFBD8059-415C-808D-D073-3C710E1DC553}"/>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A570D4F4-263A-BBD4-5528-1572FCA5CC84}"/>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8CB00C56-4102-DA3A-0E54-595532D8725E}"/>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BF6C5D9A-5F86-1DF2-86CC-D6154916D095}"/>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25" name="Vrije vorm 24">
              <a:extLst>
                <a:ext uri="{FF2B5EF4-FFF2-40B4-BE49-F238E27FC236}">
                  <a16:creationId xmlns:a16="http://schemas.microsoft.com/office/drawing/2014/main" id="{E3DEC318-2B91-E05F-5F5D-673D5FA68039}"/>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6" name="Vrije vorm 25">
              <a:extLst>
                <a:ext uri="{FF2B5EF4-FFF2-40B4-BE49-F238E27FC236}">
                  <a16:creationId xmlns:a16="http://schemas.microsoft.com/office/drawing/2014/main" id="{98914031-F402-C4BF-3165-A84184CB0ACC}"/>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CCA8B5E7-E060-B23B-C847-3223D2E4E0CD}"/>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9118399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Quote II / Geen beeld">
    <p:bg>
      <p:bgPr>
        <a:solidFill>
          <a:schemeClr val="bg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17381B48-F85F-CC9D-4EEE-8F1F8C5B59F8}"/>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21" name="Freeform: Shape 20">
            <a:extLst>
              <a:ext uri="{FF2B5EF4-FFF2-40B4-BE49-F238E27FC236}">
                <a16:creationId xmlns:a16="http://schemas.microsoft.com/office/drawing/2014/main" id="{8E6E5843-9E1F-8BB9-B88E-066933D07ACB}"/>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2C33C330-E60E-448C-F314-B2AF1F6E2F6F}"/>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grpSp>
        <p:nvGrpSpPr>
          <p:cNvPr id="9" name="Group 8">
            <a:extLst>
              <a:ext uri="{FF2B5EF4-FFF2-40B4-BE49-F238E27FC236}">
                <a16:creationId xmlns:a16="http://schemas.microsoft.com/office/drawing/2014/main" id="{AE1A9A02-0721-1E49-0D7B-35CA9360B37B}"/>
              </a:ext>
            </a:extLst>
          </p:cNvPr>
          <p:cNvGrpSpPr/>
          <p:nvPr userDrawn="1"/>
        </p:nvGrpSpPr>
        <p:grpSpPr>
          <a:xfrm>
            <a:off x="2733675" y="-761999"/>
            <a:ext cx="6724650" cy="608276"/>
            <a:chOff x="2733675" y="-761999"/>
            <a:chExt cx="6724650" cy="608276"/>
          </a:xfrm>
        </p:grpSpPr>
        <p:sp>
          <p:nvSpPr>
            <p:cNvPr id="11" name="Rectangle 10">
              <a:extLst>
                <a:ext uri="{FF2B5EF4-FFF2-40B4-BE49-F238E27FC236}">
                  <a16:creationId xmlns:a16="http://schemas.microsoft.com/office/drawing/2014/main" id="{E1AB7697-F3F4-C614-5BF6-0E2173469BB3}"/>
                </a:ext>
              </a:extLst>
            </p:cNvPr>
            <p:cNvSpPr/>
            <p:nvPr userDrawn="1"/>
          </p:nvSpPr>
          <p:spPr>
            <a:xfrm>
              <a:off x="2733675" y="-761999"/>
              <a:ext cx="6724650" cy="608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2" name="TextBox 11">
              <a:extLst>
                <a:ext uri="{FF2B5EF4-FFF2-40B4-BE49-F238E27FC236}">
                  <a16:creationId xmlns:a16="http://schemas.microsoft.com/office/drawing/2014/main" id="{7E9187E0-0B39-F232-D77C-79A07412CD4E}"/>
                </a:ext>
              </a:extLst>
            </p:cNvPr>
            <p:cNvSpPr txBox="1"/>
            <p:nvPr userDrawn="1"/>
          </p:nvSpPr>
          <p:spPr>
            <a:xfrm>
              <a:off x="2910676" y="-581676"/>
              <a:ext cx="5476534" cy="261610"/>
            </a:xfrm>
            <a:prstGeom prst="rect">
              <a:avLst/>
            </a:prstGeom>
            <a:noFill/>
          </p:spPr>
          <p:txBody>
            <a:bodyPr wrap="square" rtlCol="0">
              <a:spAutoFit/>
            </a:bodyPr>
            <a:lstStyle/>
            <a:p>
              <a:pPr algn="ctr"/>
              <a:r>
                <a:rPr lang="nl-NL" sz="1100" noProof="1">
                  <a:solidFill>
                    <a:schemeClr val="tx1"/>
                  </a:solidFill>
                </a:rPr>
                <a:t>kies een accentkleuren voor het benadrukken van tekst</a:t>
              </a:r>
            </a:p>
          </p:txBody>
        </p:sp>
        <p:grpSp>
          <p:nvGrpSpPr>
            <p:cNvPr id="13" name="Group 12">
              <a:extLst>
                <a:ext uri="{FF2B5EF4-FFF2-40B4-BE49-F238E27FC236}">
                  <a16:creationId xmlns:a16="http://schemas.microsoft.com/office/drawing/2014/main" id="{7E5D4576-8B12-5F81-6571-8A1134EAAD38}"/>
                </a:ext>
              </a:extLst>
            </p:cNvPr>
            <p:cNvGrpSpPr/>
            <p:nvPr userDrawn="1"/>
          </p:nvGrpSpPr>
          <p:grpSpPr>
            <a:xfrm>
              <a:off x="7643344" y="-543417"/>
              <a:ext cx="743866" cy="176763"/>
              <a:chOff x="2853192" y="-519709"/>
              <a:chExt cx="1108074" cy="263308"/>
            </a:xfrm>
          </p:grpSpPr>
          <p:sp>
            <p:nvSpPr>
              <p:cNvPr id="15" name="Rectangle 14">
                <a:extLst>
                  <a:ext uri="{FF2B5EF4-FFF2-40B4-BE49-F238E27FC236}">
                    <a16:creationId xmlns:a16="http://schemas.microsoft.com/office/drawing/2014/main" id="{5E41FEB2-C0C2-E70C-2972-36DC4842D372}"/>
                  </a:ext>
                </a:extLst>
              </p:cNvPr>
              <p:cNvSpPr/>
              <p:nvPr userDrawn="1"/>
            </p:nvSpPr>
            <p:spPr>
              <a:xfrm>
                <a:off x="2853192" y="-519709"/>
                <a:ext cx="276225" cy="26330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6" name="Rectangle 15">
                <a:extLst>
                  <a:ext uri="{FF2B5EF4-FFF2-40B4-BE49-F238E27FC236}">
                    <a16:creationId xmlns:a16="http://schemas.microsoft.com/office/drawing/2014/main" id="{AE7D052D-1493-662D-E87D-8619F658B6AB}"/>
                  </a:ext>
                </a:extLst>
              </p:cNvPr>
              <p:cNvSpPr/>
              <p:nvPr userDrawn="1"/>
            </p:nvSpPr>
            <p:spPr>
              <a:xfrm>
                <a:off x="3685041" y="-519709"/>
                <a:ext cx="276225" cy="263308"/>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sp>
            <p:nvSpPr>
              <p:cNvPr id="17" name="Rectangle 16">
                <a:extLst>
                  <a:ext uri="{FF2B5EF4-FFF2-40B4-BE49-F238E27FC236}">
                    <a16:creationId xmlns:a16="http://schemas.microsoft.com/office/drawing/2014/main" id="{84AFA136-0E93-C01C-99FE-125B40B30FF7}"/>
                  </a:ext>
                </a:extLst>
              </p:cNvPr>
              <p:cNvSpPr/>
              <p:nvPr userDrawn="1"/>
            </p:nvSpPr>
            <p:spPr>
              <a:xfrm>
                <a:off x="3279436" y="-519709"/>
                <a:ext cx="276225" cy="263308"/>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cxnSp>
          <p:nvCxnSpPr>
            <p:cNvPr id="14" name="Straight Connector 13">
              <a:extLst>
                <a:ext uri="{FF2B5EF4-FFF2-40B4-BE49-F238E27FC236}">
                  <a16:creationId xmlns:a16="http://schemas.microsoft.com/office/drawing/2014/main" id="{F41224A1-3FD0-5921-415F-01F773597C00}"/>
                </a:ext>
              </a:extLst>
            </p:cNvPr>
            <p:cNvCxnSpPr>
              <a:cxnSpLocks/>
            </p:cNvCxnSpPr>
            <p:nvPr userDrawn="1"/>
          </p:nvCxnSpPr>
          <p:spPr>
            <a:xfrm>
              <a:off x="2771998" y="-255323"/>
              <a:ext cx="6648005"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 name="Freeform: Shape 6">
            <a:extLst>
              <a:ext uri="{FF2B5EF4-FFF2-40B4-BE49-F238E27FC236}">
                <a16:creationId xmlns:a16="http://schemas.microsoft.com/office/drawing/2014/main" id="{456C001A-B31A-618C-E86E-7566F7569973}"/>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007D7D"/>
          </a:solidFill>
          <a:ln w="6208" cap="flat">
            <a:solidFill>
              <a:srgbClr val="007D7D"/>
            </a:solidFill>
            <a:prstDash val="solid"/>
            <a:miter/>
          </a:ln>
        </p:spPr>
        <p:txBody>
          <a:bodyPr rtlCol="0" anchor="ctr"/>
          <a:lstStyle/>
          <a:p>
            <a:pPr lvl="0"/>
            <a:endParaRPr lang="en-GB"/>
          </a:p>
        </p:txBody>
      </p:sp>
      <p:sp>
        <p:nvSpPr>
          <p:cNvPr id="20" name="Freeform: Shape 19">
            <a:extLst>
              <a:ext uri="{FF2B5EF4-FFF2-40B4-BE49-F238E27FC236}">
                <a16:creationId xmlns:a16="http://schemas.microsoft.com/office/drawing/2014/main" id="{554C28EF-90AB-7402-1CC6-DF8DADF370A9}"/>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007D7D"/>
          </a:solidFill>
          <a:ln w="12700" cap="flat">
            <a:solidFill>
              <a:srgbClr val="007D7D"/>
            </a:solidFill>
            <a:prstDash val="solid"/>
            <a:miter/>
          </a:ln>
        </p:spPr>
        <p:txBody>
          <a:bodyPr rtlCol="0" anchor="ctr"/>
          <a:lstStyle/>
          <a:p>
            <a:pPr lvl="0"/>
            <a:endParaRPr lang="en-GB"/>
          </a:p>
        </p:txBody>
      </p:sp>
      <p:sp>
        <p:nvSpPr>
          <p:cNvPr id="22" name="Freeform: Shape 21">
            <a:extLst>
              <a:ext uri="{FF2B5EF4-FFF2-40B4-BE49-F238E27FC236}">
                <a16:creationId xmlns:a16="http://schemas.microsoft.com/office/drawing/2014/main" id="{DBE96EC5-2DA0-BE73-7A00-EFF481534ED3}"/>
              </a:ext>
            </a:extLst>
          </p:cNvPr>
          <p:cNvSpPr/>
          <p:nvPr userDrawn="1"/>
        </p:nvSpPr>
        <p:spPr>
          <a:xfrm>
            <a:off x="5414619"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2"/>
          </a:soli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 name="Title 1">
            <a:extLst>
              <a:ext uri="{FF2B5EF4-FFF2-40B4-BE49-F238E27FC236}">
                <a16:creationId xmlns:a16="http://schemas.microsoft.com/office/drawing/2014/main" id="{308BD9C9-2E7A-AA45-6BAB-B5BF96D70F16}"/>
              </a:ext>
            </a:extLst>
          </p:cNvPr>
          <p:cNvSpPr>
            <a:spLocks noGrp="1"/>
          </p:cNvSpPr>
          <p:nvPr>
            <p:ph type="ctrTitle" hasCustomPrompt="1"/>
          </p:nvPr>
        </p:nvSpPr>
        <p:spPr>
          <a:xfrm>
            <a:off x="1137600" y="2991989"/>
            <a:ext cx="9842677" cy="874022"/>
          </a:xfrm>
          <a:noFill/>
        </p:spPr>
        <p:txBody>
          <a:bodyPr wrap="square" anchor="ctr">
            <a:spAutoFit/>
          </a:bodyPr>
          <a:lstStyle>
            <a:lvl1pPr algn="l">
              <a:lnSpc>
                <a:spcPct val="80000"/>
              </a:lnSpc>
              <a:defRPr sz="7000" b="1">
                <a:solidFill>
                  <a:schemeClr val="bg1"/>
                </a:solidFill>
                <a:latin typeface="+mj-lt"/>
              </a:defRPr>
            </a:lvl1pPr>
          </a:lstStyle>
          <a:p>
            <a:r>
              <a:rPr lang="nl-NL" noProof="0" dirty="0"/>
              <a:t>Tekst</a:t>
            </a:r>
          </a:p>
        </p:txBody>
      </p:sp>
      <p:grpSp>
        <p:nvGrpSpPr>
          <p:cNvPr id="3" name="Groep 2">
            <a:extLst>
              <a:ext uri="{FF2B5EF4-FFF2-40B4-BE49-F238E27FC236}">
                <a16:creationId xmlns:a16="http://schemas.microsoft.com/office/drawing/2014/main" id="{7349DF31-DC39-8D27-42D2-062507C1A0CB}"/>
              </a:ext>
            </a:extLst>
          </p:cNvPr>
          <p:cNvGrpSpPr/>
          <p:nvPr userDrawn="1"/>
        </p:nvGrpSpPr>
        <p:grpSpPr>
          <a:xfrm>
            <a:off x="10015200" y="5839200"/>
            <a:ext cx="1599388" cy="433809"/>
            <a:chOff x="3101010" y="1249096"/>
            <a:chExt cx="3978412" cy="1079079"/>
          </a:xfrm>
          <a:solidFill>
            <a:schemeClr val="bg1"/>
          </a:solidFill>
        </p:grpSpPr>
        <p:sp>
          <p:nvSpPr>
            <p:cNvPr id="4" name="Vrije vorm 3">
              <a:extLst>
                <a:ext uri="{FF2B5EF4-FFF2-40B4-BE49-F238E27FC236}">
                  <a16:creationId xmlns:a16="http://schemas.microsoft.com/office/drawing/2014/main" id="{A0A40D54-F904-DBA3-223E-43E1A01C6626}"/>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25D41D95-8DC2-B69A-3AF8-BEA828B03069}"/>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7FF90BAC-48FC-4A75-DAAF-4A32960FF208}"/>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B8FD446C-424F-4371-0534-E5FBF31437F9}"/>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1FC03636-D3CC-4BBD-41E6-977E275DBD69}"/>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F26BDCC9-8B2B-D866-12BD-CF409D14255F}"/>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5" name="Vrije vorm 24">
              <a:extLst>
                <a:ext uri="{FF2B5EF4-FFF2-40B4-BE49-F238E27FC236}">
                  <a16:creationId xmlns:a16="http://schemas.microsoft.com/office/drawing/2014/main" id="{F077CF78-A9E5-63E1-7279-3F6A1BD6117C}"/>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6" name="Vrije vorm 25">
              <a:extLst>
                <a:ext uri="{FF2B5EF4-FFF2-40B4-BE49-F238E27FC236}">
                  <a16:creationId xmlns:a16="http://schemas.microsoft.com/office/drawing/2014/main" id="{D8FC5EF6-F236-AD67-3589-F01644CC797B}"/>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9650321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eeld I">
    <p:bg>
      <p:bgPr>
        <a:solidFill>
          <a:schemeClr val="bg1"/>
        </a:soli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21776F47-32C9-9C8E-B319-73A7A122AD42}"/>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BD92EE7E-9B70-5398-06AF-122C02566FF5}"/>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5" name="Picture Placeholder 2">
            <a:extLst>
              <a:ext uri="{FF2B5EF4-FFF2-40B4-BE49-F238E27FC236}">
                <a16:creationId xmlns:a16="http://schemas.microsoft.com/office/drawing/2014/main" id="{1338318C-7CFB-43D2-38E8-5C3C3E498969}"/>
              </a:ext>
            </a:extLst>
          </p:cNvPr>
          <p:cNvSpPr>
            <a:spLocks noGrp="1"/>
          </p:cNvSpPr>
          <p:nvPr>
            <p:ph type="pic" sz="quarter" idx="10"/>
          </p:nvPr>
        </p:nvSpPr>
        <p:spPr>
          <a:xfrm>
            <a:off x="0" y="546736"/>
            <a:ext cx="8858789" cy="6311263"/>
          </a:xfrm>
          <a:custGeom>
            <a:avLst/>
            <a:gdLst>
              <a:gd name="connsiteX0" fmla="*/ 0 w 8858789"/>
              <a:gd name="connsiteY0" fmla="*/ 0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9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0 w 8858789"/>
              <a:gd name="connsiteY0" fmla="*/ 4342128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9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98900 w 8957689"/>
              <a:gd name="connsiteY0" fmla="*/ 3795391 h 6311263"/>
              <a:gd name="connsiteX1" fmla="*/ 98901 w 8957689"/>
              <a:gd name="connsiteY1" fmla="*/ 3780248 h 6311263"/>
              <a:gd name="connsiteX2" fmla="*/ 1434066 w 8957689"/>
              <a:gd name="connsiteY2" fmla="*/ 1712382 h 6311263"/>
              <a:gd name="connsiteX3" fmla="*/ 5386652 w 8957689"/>
              <a:gd name="connsiteY3" fmla="*/ 1066 h 6311263"/>
              <a:gd name="connsiteX4" fmla="*/ 6178419 w 8957689"/>
              <a:gd name="connsiteY4" fmla="*/ 48251 h 6311263"/>
              <a:gd name="connsiteX5" fmla="*/ 8925370 w 8957689"/>
              <a:gd name="connsiteY5" fmla="*/ 1494767 h 6311263"/>
              <a:gd name="connsiteX6" fmla="*/ 8957689 w 8957689"/>
              <a:gd name="connsiteY6" fmla="*/ 1525097 h 6311263"/>
              <a:gd name="connsiteX7" fmla="*/ 8957689 w 8957689"/>
              <a:gd name="connsiteY7" fmla="*/ 1538249 h 6311263"/>
              <a:gd name="connsiteX8" fmla="*/ 4208438 w 8957689"/>
              <a:gd name="connsiteY8" fmla="*/ 6311263 h 6311263"/>
              <a:gd name="connsiteX9" fmla="*/ 98901 w 8957689"/>
              <a:gd name="connsiteY9" fmla="*/ 6311263 h 6311263"/>
              <a:gd name="connsiteX10" fmla="*/ 98901 w 8957689"/>
              <a:gd name="connsiteY10" fmla="*/ 3795389 h 6311263"/>
              <a:gd name="connsiteX11" fmla="*/ 98900 w 8957689"/>
              <a:gd name="connsiteY11" fmla="*/ 3795391 h 6311263"/>
              <a:gd name="connsiteX0" fmla="*/ 0 w 8858789"/>
              <a:gd name="connsiteY0" fmla="*/ 3795391 h 6311263"/>
              <a:gd name="connsiteX1" fmla="*/ 1 w 8858789"/>
              <a:gd name="connsiteY1" fmla="*/ 3780248 h 6311263"/>
              <a:gd name="connsiteX2" fmla="*/ 1335166 w 8858789"/>
              <a:gd name="connsiteY2" fmla="*/ 1712382 h 6311263"/>
              <a:gd name="connsiteX3" fmla="*/ 5287752 w 8858789"/>
              <a:gd name="connsiteY3" fmla="*/ 1066 h 6311263"/>
              <a:gd name="connsiteX4" fmla="*/ 6079519 w 8858789"/>
              <a:gd name="connsiteY4" fmla="*/ 48251 h 6311263"/>
              <a:gd name="connsiteX5" fmla="*/ 8826470 w 8858789"/>
              <a:gd name="connsiteY5" fmla="*/ 1494767 h 6311263"/>
              <a:gd name="connsiteX6" fmla="*/ 8858789 w 8858789"/>
              <a:gd name="connsiteY6" fmla="*/ 1525097 h 6311263"/>
              <a:gd name="connsiteX7" fmla="*/ 8858789 w 8858789"/>
              <a:gd name="connsiteY7" fmla="*/ 1538249 h 6311263"/>
              <a:gd name="connsiteX8" fmla="*/ 4109538 w 8858789"/>
              <a:gd name="connsiteY8" fmla="*/ 6311263 h 6311263"/>
              <a:gd name="connsiteX9" fmla="*/ 1 w 8858789"/>
              <a:gd name="connsiteY9" fmla="*/ 6311263 h 6311263"/>
              <a:gd name="connsiteX10" fmla="*/ 1 w 8858789"/>
              <a:gd name="connsiteY10" fmla="*/ 3795389 h 6311263"/>
              <a:gd name="connsiteX11" fmla="*/ 0 w 8858789"/>
              <a:gd name="connsiteY11" fmla="*/ 3795391 h 63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789" h="6311263">
                <a:moveTo>
                  <a:pt x="0" y="3795391"/>
                </a:moveTo>
                <a:cubicBezTo>
                  <a:pt x="0" y="3790343"/>
                  <a:pt x="1" y="3785296"/>
                  <a:pt x="1" y="3780248"/>
                </a:cubicBezTo>
                <a:cubicBezTo>
                  <a:pt x="267925" y="3068601"/>
                  <a:pt x="696857" y="2353120"/>
                  <a:pt x="1335166" y="1712382"/>
                </a:cubicBezTo>
                <a:cubicBezTo>
                  <a:pt x="2563733" y="479137"/>
                  <a:pt x="4068321" y="25656"/>
                  <a:pt x="5287752" y="1066"/>
                </a:cubicBezTo>
                <a:cubicBezTo>
                  <a:pt x="5569159" y="-4609"/>
                  <a:pt x="5835380" y="12558"/>
                  <a:pt x="6079519" y="48251"/>
                </a:cubicBezTo>
                <a:cubicBezTo>
                  <a:pt x="6707087" y="137127"/>
                  <a:pt x="7661107" y="472509"/>
                  <a:pt x="8826470" y="1494767"/>
                </a:cubicBezTo>
                <a:lnTo>
                  <a:pt x="8858789" y="1525097"/>
                </a:lnTo>
                <a:lnTo>
                  <a:pt x="8858789" y="1538249"/>
                </a:lnTo>
                <a:lnTo>
                  <a:pt x="4109538" y="6311263"/>
                </a:lnTo>
                <a:lnTo>
                  <a:pt x="1" y="6311263"/>
                </a:lnTo>
                <a:lnTo>
                  <a:pt x="1" y="3795389"/>
                </a:lnTo>
                <a:cubicBezTo>
                  <a:pt x="1" y="3795390"/>
                  <a:pt x="0" y="3795390"/>
                  <a:pt x="0" y="3795391"/>
                </a:cubicBezTo>
                <a:close/>
              </a:path>
            </a:pathLst>
          </a:custGeom>
          <a:solidFill>
            <a:schemeClr val="bg1">
              <a:lumMod val="95000"/>
            </a:schemeClr>
          </a:solidFill>
        </p:spPr>
        <p:txBody>
          <a:bodyPr wrap="square" lIns="1280160" tIns="0" bIns="2926080" anchor="ctr">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9" name="Freeform: Shape 8">
            <a:extLst>
              <a:ext uri="{FF2B5EF4-FFF2-40B4-BE49-F238E27FC236}">
                <a16:creationId xmlns:a16="http://schemas.microsoft.com/office/drawing/2014/main" id="{2E05851A-43E9-F70A-9C9D-845B0CB51AFE}"/>
              </a:ext>
            </a:extLst>
          </p:cNvPr>
          <p:cNvSpPr/>
          <p:nvPr userDrawn="1"/>
        </p:nvSpPr>
        <p:spPr>
          <a:xfrm>
            <a:off x="-1" y="0"/>
            <a:ext cx="10949305" cy="4342128"/>
          </a:xfrm>
          <a:custGeom>
            <a:avLst/>
            <a:gdLst>
              <a:gd name="connsiteX0" fmla="*/ 0 w 10949305"/>
              <a:gd name="connsiteY0" fmla="*/ 0 h 4342128"/>
              <a:gd name="connsiteX1" fmla="*/ 10949305 w 10949305"/>
              <a:gd name="connsiteY1" fmla="*/ 0 h 4342128"/>
              <a:gd name="connsiteX2" fmla="*/ 8844237 w 10949305"/>
              <a:gd name="connsiteY2" fmla="*/ 2105068 h 4342128"/>
              <a:gd name="connsiteX3" fmla="*/ 8840883 w 10949305"/>
              <a:gd name="connsiteY3" fmla="*/ 2101933 h 4342128"/>
              <a:gd name="connsiteX4" fmla="*/ 8865033 w 10949305"/>
              <a:gd name="connsiteY4" fmla="*/ 2077694 h 4342128"/>
              <a:gd name="connsiteX5" fmla="*/ 8826470 w 10949305"/>
              <a:gd name="connsiteY5" fmla="*/ 2041504 h 4342128"/>
              <a:gd name="connsiteX6" fmla="*/ 6079518 w 10949305"/>
              <a:gd name="connsiteY6" fmla="*/ 594988 h 4342128"/>
              <a:gd name="connsiteX7" fmla="*/ 5287752 w 10949305"/>
              <a:gd name="connsiteY7" fmla="*/ 547803 h 4342128"/>
              <a:gd name="connsiteX8" fmla="*/ 1335166 w 10949305"/>
              <a:gd name="connsiteY8" fmla="*/ 2259119 h 4342128"/>
              <a:gd name="connsiteX9" fmla="*/ 1 w 10949305"/>
              <a:gd name="connsiteY9" fmla="*/ 4326985 h 4342128"/>
              <a:gd name="connsiteX10" fmla="*/ 1 w 10949305"/>
              <a:gd name="connsiteY10" fmla="*/ 4342126 h 4342128"/>
              <a:gd name="connsiteX11" fmla="*/ 0 w 10949305"/>
              <a:gd name="connsiteY11" fmla="*/ 4342128 h 4342128"/>
              <a:gd name="connsiteX12" fmla="*/ 0 w 10949305"/>
              <a:gd name="connsiteY12" fmla="*/ 0 h 4342128"/>
              <a:gd name="connsiteX0" fmla="*/ 0 w 10949305"/>
              <a:gd name="connsiteY0" fmla="*/ 0 h 4342128"/>
              <a:gd name="connsiteX1" fmla="*/ 10949305 w 10949305"/>
              <a:gd name="connsiteY1" fmla="*/ 0 h 4342128"/>
              <a:gd name="connsiteX2" fmla="*/ 8844237 w 10949305"/>
              <a:gd name="connsiteY2" fmla="*/ 2105068 h 4342128"/>
              <a:gd name="connsiteX3" fmla="*/ 8865033 w 10949305"/>
              <a:gd name="connsiteY3" fmla="*/ 2077694 h 4342128"/>
              <a:gd name="connsiteX4" fmla="*/ 8826470 w 10949305"/>
              <a:gd name="connsiteY4" fmla="*/ 2041504 h 4342128"/>
              <a:gd name="connsiteX5" fmla="*/ 6079518 w 10949305"/>
              <a:gd name="connsiteY5" fmla="*/ 594988 h 4342128"/>
              <a:gd name="connsiteX6" fmla="*/ 5287752 w 10949305"/>
              <a:gd name="connsiteY6" fmla="*/ 547803 h 4342128"/>
              <a:gd name="connsiteX7" fmla="*/ 1335166 w 10949305"/>
              <a:gd name="connsiteY7" fmla="*/ 2259119 h 4342128"/>
              <a:gd name="connsiteX8" fmla="*/ 1 w 10949305"/>
              <a:gd name="connsiteY8" fmla="*/ 4326985 h 4342128"/>
              <a:gd name="connsiteX9" fmla="*/ 1 w 10949305"/>
              <a:gd name="connsiteY9" fmla="*/ 4342126 h 4342128"/>
              <a:gd name="connsiteX10" fmla="*/ 0 w 10949305"/>
              <a:gd name="connsiteY10" fmla="*/ 4342128 h 4342128"/>
              <a:gd name="connsiteX11" fmla="*/ 0 w 10949305"/>
              <a:gd name="connsiteY11" fmla="*/ 0 h 43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305" h="4342128">
                <a:moveTo>
                  <a:pt x="0" y="0"/>
                </a:moveTo>
                <a:lnTo>
                  <a:pt x="10949305" y="0"/>
                </a:lnTo>
                <a:lnTo>
                  <a:pt x="8844237" y="2105068"/>
                </a:lnTo>
                <a:lnTo>
                  <a:pt x="8865033" y="2077694"/>
                </a:lnTo>
                <a:lnTo>
                  <a:pt x="8826470" y="2041504"/>
                </a:lnTo>
                <a:cubicBezTo>
                  <a:pt x="7661107" y="1019246"/>
                  <a:pt x="6707087" y="683864"/>
                  <a:pt x="6079518" y="594988"/>
                </a:cubicBezTo>
                <a:cubicBezTo>
                  <a:pt x="5835380" y="559295"/>
                  <a:pt x="5569159" y="542128"/>
                  <a:pt x="5287752" y="547803"/>
                </a:cubicBezTo>
                <a:cubicBezTo>
                  <a:pt x="4068321" y="572393"/>
                  <a:pt x="2563733" y="1025874"/>
                  <a:pt x="1335166" y="2259119"/>
                </a:cubicBezTo>
                <a:cubicBezTo>
                  <a:pt x="696857" y="2899857"/>
                  <a:pt x="267925" y="3615338"/>
                  <a:pt x="1" y="4326985"/>
                </a:cubicBezTo>
                <a:lnTo>
                  <a:pt x="1" y="4342126"/>
                </a:lnTo>
                <a:cubicBezTo>
                  <a:pt x="1" y="4342127"/>
                  <a:pt x="0" y="4342127"/>
                  <a:pt x="0" y="4342128"/>
                </a:cubicBezTo>
                <a:lnTo>
                  <a:pt x="0" y="0"/>
                </a:lnTo>
                <a:close/>
              </a:path>
            </a:pathLst>
          </a:custGeom>
          <a:solidFill>
            <a:srgbClr val="007D7D"/>
          </a:solidFill>
          <a:ln w="12700">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Freeform: Shape 9">
            <a:extLst>
              <a:ext uri="{FF2B5EF4-FFF2-40B4-BE49-F238E27FC236}">
                <a16:creationId xmlns:a16="http://schemas.microsoft.com/office/drawing/2014/main" id="{48400646-44F5-B184-A713-113A4400A1B5}"/>
              </a:ext>
            </a:extLst>
          </p:cNvPr>
          <p:cNvSpPr/>
          <p:nvPr userDrawn="1"/>
        </p:nvSpPr>
        <p:spPr>
          <a:xfrm>
            <a:off x="8864810" y="0"/>
            <a:ext cx="3327190" cy="5399115"/>
          </a:xfrm>
          <a:custGeom>
            <a:avLst/>
            <a:gdLst>
              <a:gd name="connsiteX0" fmla="*/ 2084494 w 3327190"/>
              <a:gd name="connsiteY0" fmla="*/ 0 h 5399115"/>
              <a:gd name="connsiteX1" fmla="*/ 3327190 w 3327190"/>
              <a:gd name="connsiteY1" fmla="*/ 0 h 5399115"/>
              <a:gd name="connsiteX2" fmla="*/ 3327190 w 3327190"/>
              <a:gd name="connsiteY2" fmla="*/ 5399115 h 5399115"/>
              <a:gd name="connsiteX3" fmla="*/ 469508 w 3327190"/>
              <a:gd name="connsiteY3" fmla="*/ 2526750 h 5399115"/>
              <a:gd name="connsiteX4" fmla="*/ 407278 w 3327190"/>
              <a:gd name="connsiteY4" fmla="*/ 2464839 h 5399115"/>
              <a:gd name="connsiteX5" fmla="*/ 380608 w 3327190"/>
              <a:gd name="connsiteY5" fmla="*/ 2438670 h 5399115"/>
              <a:gd name="connsiteX6" fmla="*/ 345684 w 3327190"/>
              <a:gd name="connsiteY6" fmla="*/ 2404841 h 5399115"/>
              <a:gd name="connsiteX7" fmla="*/ 310123 w 3327190"/>
              <a:gd name="connsiteY7" fmla="*/ 2371015 h 5399115"/>
              <a:gd name="connsiteX8" fmla="*/ 284723 w 3327190"/>
              <a:gd name="connsiteY8" fmla="*/ 2346760 h 5399115"/>
              <a:gd name="connsiteX9" fmla="*/ 244084 w 3327190"/>
              <a:gd name="connsiteY9" fmla="*/ 2307826 h 5399115"/>
              <a:gd name="connsiteX10" fmla="*/ 225668 w 3327190"/>
              <a:gd name="connsiteY10" fmla="*/ 2290593 h 5399115"/>
              <a:gd name="connsiteX11" fmla="*/ 180583 w 3327190"/>
              <a:gd name="connsiteY11" fmla="*/ 2247829 h 5399115"/>
              <a:gd name="connsiteX12" fmla="*/ 167248 w 3327190"/>
              <a:gd name="connsiteY12" fmla="*/ 2235702 h 5399115"/>
              <a:gd name="connsiteX13" fmla="*/ 117718 w 3327190"/>
              <a:gd name="connsiteY13" fmla="*/ 2190386 h 5399115"/>
              <a:gd name="connsiteX14" fmla="*/ 109462 w 3327190"/>
              <a:gd name="connsiteY14" fmla="*/ 2182726 h 5399115"/>
              <a:gd name="connsiteX15" fmla="*/ 56758 w 3327190"/>
              <a:gd name="connsiteY15" fmla="*/ 2134857 h 5399115"/>
              <a:gd name="connsiteX16" fmla="*/ 52948 w 3327190"/>
              <a:gd name="connsiteY16" fmla="*/ 2131665 h 5399115"/>
              <a:gd name="connsiteX17" fmla="*/ 0 w 3327190"/>
              <a:gd name="connsiteY17" fmla="*/ 2084494 h 5399115"/>
              <a:gd name="connsiteX18" fmla="*/ 2084494 w 3327190"/>
              <a:gd name="connsiteY18" fmla="*/ 0 h 539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27190" h="5399115">
                <a:moveTo>
                  <a:pt x="2084494" y="0"/>
                </a:moveTo>
                <a:lnTo>
                  <a:pt x="3327190" y="0"/>
                </a:lnTo>
                <a:lnTo>
                  <a:pt x="3327190" y="5399115"/>
                </a:lnTo>
                <a:lnTo>
                  <a:pt x="469508" y="2526750"/>
                </a:lnTo>
                <a:cubicBezTo>
                  <a:pt x="448554" y="2505688"/>
                  <a:pt x="427599" y="2485263"/>
                  <a:pt x="407278" y="2464839"/>
                </a:cubicBezTo>
                <a:cubicBezTo>
                  <a:pt x="398388" y="2455903"/>
                  <a:pt x="389498" y="2447605"/>
                  <a:pt x="380608" y="2438670"/>
                </a:cubicBezTo>
                <a:cubicBezTo>
                  <a:pt x="369178" y="2427182"/>
                  <a:pt x="357748" y="2415693"/>
                  <a:pt x="345684" y="2404841"/>
                </a:cubicBezTo>
                <a:cubicBezTo>
                  <a:pt x="333618" y="2393354"/>
                  <a:pt x="322188" y="2381865"/>
                  <a:pt x="310123" y="2371015"/>
                </a:cubicBezTo>
                <a:cubicBezTo>
                  <a:pt x="301868" y="2362717"/>
                  <a:pt x="293614" y="2355057"/>
                  <a:pt x="284723" y="2346760"/>
                </a:cubicBezTo>
                <a:cubicBezTo>
                  <a:pt x="270753" y="2333357"/>
                  <a:pt x="257418" y="2320591"/>
                  <a:pt x="244084" y="2307826"/>
                </a:cubicBezTo>
                <a:cubicBezTo>
                  <a:pt x="237734" y="2302082"/>
                  <a:pt x="232018" y="2296338"/>
                  <a:pt x="225668" y="2290593"/>
                </a:cubicBezTo>
                <a:cubicBezTo>
                  <a:pt x="210428" y="2276551"/>
                  <a:pt x="195188" y="2261871"/>
                  <a:pt x="180583" y="2247829"/>
                </a:cubicBezTo>
                <a:cubicBezTo>
                  <a:pt x="176138" y="2244000"/>
                  <a:pt x="171693" y="2239532"/>
                  <a:pt x="167248" y="2235702"/>
                </a:cubicBezTo>
                <a:cubicBezTo>
                  <a:pt x="150738" y="2220384"/>
                  <a:pt x="134228" y="2205066"/>
                  <a:pt x="117718" y="2190386"/>
                </a:cubicBezTo>
                <a:cubicBezTo>
                  <a:pt x="115178" y="2187832"/>
                  <a:pt x="112638" y="2185279"/>
                  <a:pt x="109462" y="2182726"/>
                </a:cubicBezTo>
                <a:cubicBezTo>
                  <a:pt x="91684" y="2166770"/>
                  <a:pt x="73903" y="2150814"/>
                  <a:pt x="56758" y="2134857"/>
                </a:cubicBezTo>
                <a:cubicBezTo>
                  <a:pt x="55488" y="2133581"/>
                  <a:pt x="54218" y="2132942"/>
                  <a:pt x="52948" y="2131665"/>
                </a:cubicBezTo>
                <a:lnTo>
                  <a:pt x="0" y="2084494"/>
                </a:lnTo>
                <a:lnTo>
                  <a:pt x="2084494" y="0"/>
                </a:lnTo>
                <a:close/>
              </a:path>
            </a:pathLst>
          </a:cu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1" name="Freeform: Shape 10">
            <a:extLst>
              <a:ext uri="{FF2B5EF4-FFF2-40B4-BE49-F238E27FC236}">
                <a16:creationId xmlns:a16="http://schemas.microsoft.com/office/drawing/2014/main" id="{D6AFF871-ED66-B26A-9022-13EA2C126C3E}"/>
              </a:ext>
            </a:extLst>
          </p:cNvPr>
          <p:cNvSpPr/>
          <p:nvPr userDrawn="1"/>
        </p:nvSpPr>
        <p:spPr>
          <a:xfrm>
            <a:off x="8858788" y="2071834"/>
            <a:ext cx="6244" cy="13152"/>
          </a:xfrm>
          <a:custGeom>
            <a:avLst/>
            <a:gdLst>
              <a:gd name="connsiteX0" fmla="*/ 0 w 6244"/>
              <a:gd name="connsiteY0" fmla="*/ 0 h 13152"/>
              <a:gd name="connsiteX1" fmla="*/ 6244 w 6244"/>
              <a:gd name="connsiteY1" fmla="*/ 5860 h 13152"/>
              <a:gd name="connsiteX2" fmla="*/ 2980 w 6244"/>
              <a:gd name="connsiteY2" fmla="*/ 10157 h 13152"/>
              <a:gd name="connsiteX3" fmla="*/ 0 w 6244"/>
              <a:gd name="connsiteY3" fmla="*/ 13152 h 13152"/>
              <a:gd name="connsiteX4" fmla="*/ 0 w 6244"/>
              <a:gd name="connsiteY4" fmla="*/ 0 h 1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2">
                <a:moveTo>
                  <a:pt x="0" y="0"/>
                </a:moveTo>
                <a:lnTo>
                  <a:pt x="6244" y="5860"/>
                </a:lnTo>
                <a:lnTo>
                  <a:pt x="2980" y="10157"/>
                </a:lnTo>
                <a:lnTo>
                  <a:pt x="0" y="13152"/>
                </a:lnTo>
                <a:lnTo>
                  <a:pt x="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2" name="Freeform: Shape 11">
            <a:extLst>
              <a:ext uri="{FF2B5EF4-FFF2-40B4-BE49-F238E27FC236}">
                <a16:creationId xmlns:a16="http://schemas.microsoft.com/office/drawing/2014/main" id="{5A59CA98-1D60-4C4F-B622-6F3C777E29B2}"/>
              </a:ext>
            </a:extLst>
          </p:cNvPr>
          <p:cNvSpPr/>
          <p:nvPr userDrawn="1"/>
        </p:nvSpPr>
        <p:spPr>
          <a:xfrm>
            <a:off x="8858788" y="2081881"/>
            <a:ext cx="6022" cy="8635"/>
          </a:xfrm>
          <a:custGeom>
            <a:avLst/>
            <a:gdLst>
              <a:gd name="connsiteX0" fmla="*/ 3089 w 6022"/>
              <a:gd name="connsiteY0" fmla="*/ 0 h 8635"/>
              <a:gd name="connsiteX1" fmla="*/ 6022 w 6022"/>
              <a:gd name="connsiteY1" fmla="*/ 2613 h 8635"/>
              <a:gd name="connsiteX2" fmla="*/ 0 w 6022"/>
              <a:gd name="connsiteY2" fmla="*/ 8635 h 8635"/>
              <a:gd name="connsiteX3" fmla="*/ 0 w 6022"/>
              <a:gd name="connsiteY3" fmla="*/ 4032 h 8635"/>
              <a:gd name="connsiteX4" fmla="*/ 2980 w 6022"/>
              <a:gd name="connsiteY4" fmla="*/ 110 h 8635"/>
              <a:gd name="connsiteX5" fmla="*/ 3089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89" y="0"/>
                </a:moveTo>
                <a:lnTo>
                  <a:pt x="6022" y="2613"/>
                </a:lnTo>
                <a:lnTo>
                  <a:pt x="0" y="8635"/>
                </a:lnTo>
                <a:lnTo>
                  <a:pt x="0" y="4032"/>
                </a:lnTo>
                <a:lnTo>
                  <a:pt x="2980" y="110"/>
                </a:lnTo>
                <a:lnTo>
                  <a:pt x="3089"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3" name="Freeform: Shape 12">
            <a:extLst>
              <a:ext uri="{FF2B5EF4-FFF2-40B4-BE49-F238E27FC236}">
                <a16:creationId xmlns:a16="http://schemas.microsoft.com/office/drawing/2014/main" id="{5B19720E-5222-DBB2-42A9-0D2E6DA3077A}"/>
              </a:ext>
            </a:extLst>
          </p:cNvPr>
          <p:cNvSpPr/>
          <p:nvPr userDrawn="1"/>
        </p:nvSpPr>
        <p:spPr>
          <a:xfrm>
            <a:off x="8858788" y="2081991"/>
            <a:ext cx="2980" cy="3922"/>
          </a:xfrm>
          <a:custGeom>
            <a:avLst/>
            <a:gdLst>
              <a:gd name="connsiteX0" fmla="*/ 2980 w 2980"/>
              <a:gd name="connsiteY0" fmla="*/ 0 h 3922"/>
              <a:gd name="connsiteX1" fmla="*/ 0 w 2980"/>
              <a:gd name="connsiteY1" fmla="*/ 3922 h 3922"/>
              <a:gd name="connsiteX2" fmla="*/ 0 w 2980"/>
              <a:gd name="connsiteY2" fmla="*/ 2995 h 3922"/>
              <a:gd name="connsiteX3" fmla="*/ 2980 w 2980"/>
              <a:gd name="connsiteY3" fmla="*/ 0 h 3922"/>
            </a:gdLst>
            <a:ahLst/>
            <a:cxnLst>
              <a:cxn ang="0">
                <a:pos x="connsiteX0" y="connsiteY0"/>
              </a:cxn>
              <a:cxn ang="0">
                <a:pos x="connsiteX1" y="connsiteY1"/>
              </a:cxn>
              <a:cxn ang="0">
                <a:pos x="connsiteX2" y="connsiteY2"/>
              </a:cxn>
              <a:cxn ang="0">
                <a:pos x="connsiteX3" y="connsiteY3"/>
              </a:cxn>
            </a:cxnLst>
            <a:rect l="l" t="t" r="r" b="b"/>
            <a:pathLst>
              <a:path w="2980" h="3922">
                <a:moveTo>
                  <a:pt x="2980" y="0"/>
                </a:moveTo>
                <a:lnTo>
                  <a:pt x="0" y="3922"/>
                </a:lnTo>
                <a:lnTo>
                  <a:pt x="0" y="2995"/>
                </a:lnTo>
                <a:lnTo>
                  <a:pt x="298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4" name="Freeform: Shape 13">
            <a:extLst>
              <a:ext uri="{FF2B5EF4-FFF2-40B4-BE49-F238E27FC236}">
                <a16:creationId xmlns:a16="http://schemas.microsoft.com/office/drawing/2014/main" id="{5E2026BB-DD67-7264-CD96-75C1E1541A0F}"/>
              </a:ext>
            </a:extLst>
          </p:cNvPr>
          <p:cNvSpPr/>
          <p:nvPr userDrawn="1"/>
        </p:nvSpPr>
        <p:spPr>
          <a:xfrm>
            <a:off x="8844236" y="2085913"/>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5" name="Freeform: Shape 14">
            <a:extLst>
              <a:ext uri="{FF2B5EF4-FFF2-40B4-BE49-F238E27FC236}">
                <a16:creationId xmlns:a16="http://schemas.microsoft.com/office/drawing/2014/main" id="{029D2E81-C987-A469-2159-A023CDDA9DF1}"/>
              </a:ext>
            </a:extLst>
          </p:cNvPr>
          <p:cNvSpPr/>
          <p:nvPr userDrawn="1"/>
        </p:nvSpPr>
        <p:spPr>
          <a:xfrm>
            <a:off x="8858788" y="2081995"/>
            <a:ext cx="2976" cy="3918"/>
          </a:xfrm>
          <a:custGeom>
            <a:avLst/>
            <a:gdLst>
              <a:gd name="connsiteX0" fmla="*/ 2976 w 2976"/>
              <a:gd name="connsiteY0" fmla="*/ 0 h 3918"/>
              <a:gd name="connsiteX1" fmla="*/ 0 w 2976"/>
              <a:gd name="connsiteY1" fmla="*/ 3918 h 3918"/>
              <a:gd name="connsiteX2" fmla="*/ 0 w 2976"/>
              <a:gd name="connsiteY2" fmla="*/ 2992 h 3918"/>
              <a:gd name="connsiteX3" fmla="*/ 2976 w 2976"/>
              <a:gd name="connsiteY3" fmla="*/ 0 h 3918"/>
            </a:gdLst>
            <a:ahLst/>
            <a:cxnLst>
              <a:cxn ang="0">
                <a:pos x="connsiteX0" y="connsiteY0"/>
              </a:cxn>
              <a:cxn ang="0">
                <a:pos x="connsiteX1" y="connsiteY1"/>
              </a:cxn>
              <a:cxn ang="0">
                <a:pos x="connsiteX2" y="connsiteY2"/>
              </a:cxn>
              <a:cxn ang="0">
                <a:pos x="connsiteX3" y="connsiteY3"/>
              </a:cxn>
            </a:cxnLst>
            <a:rect l="l" t="t" r="r" b="b"/>
            <a:pathLst>
              <a:path w="2976" h="3918">
                <a:moveTo>
                  <a:pt x="2976" y="0"/>
                </a:moveTo>
                <a:lnTo>
                  <a:pt x="0" y="3918"/>
                </a:lnTo>
                <a:lnTo>
                  <a:pt x="0" y="2992"/>
                </a:lnTo>
                <a:lnTo>
                  <a:pt x="2976"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6" name="Freeform: Shape 15">
            <a:extLst>
              <a:ext uri="{FF2B5EF4-FFF2-40B4-BE49-F238E27FC236}">
                <a16:creationId xmlns:a16="http://schemas.microsoft.com/office/drawing/2014/main" id="{70360CA9-3946-9522-4024-9D140DE7BA6F}"/>
              </a:ext>
            </a:extLst>
          </p:cNvPr>
          <p:cNvSpPr/>
          <p:nvPr userDrawn="1"/>
        </p:nvSpPr>
        <p:spPr>
          <a:xfrm>
            <a:off x="8844236" y="2085914"/>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7" name="Freeform: Shape 16">
            <a:extLst>
              <a:ext uri="{FF2B5EF4-FFF2-40B4-BE49-F238E27FC236}">
                <a16:creationId xmlns:a16="http://schemas.microsoft.com/office/drawing/2014/main" id="{FDAD5528-54F3-1B0D-A5CE-5A7E0F460775}"/>
              </a:ext>
            </a:extLst>
          </p:cNvPr>
          <p:cNvSpPr/>
          <p:nvPr userDrawn="1"/>
        </p:nvSpPr>
        <p:spPr>
          <a:xfrm>
            <a:off x="8858788" y="2071835"/>
            <a:ext cx="6244" cy="13153"/>
          </a:xfrm>
          <a:custGeom>
            <a:avLst/>
            <a:gdLst>
              <a:gd name="connsiteX0" fmla="*/ 0 w 6244"/>
              <a:gd name="connsiteY0" fmla="*/ 0 h 13153"/>
              <a:gd name="connsiteX1" fmla="*/ 6244 w 6244"/>
              <a:gd name="connsiteY1" fmla="*/ 5860 h 13153"/>
              <a:gd name="connsiteX2" fmla="*/ 2976 w 6244"/>
              <a:gd name="connsiteY2" fmla="*/ 10161 h 13153"/>
              <a:gd name="connsiteX3" fmla="*/ 0 w 6244"/>
              <a:gd name="connsiteY3" fmla="*/ 13153 h 13153"/>
              <a:gd name="connsiteX4" fmla="*/ 0 w 6244"/>
              <a:gd name="connsiteY4" fmla="*/ 0 h 1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3">
                <a:moveTo>
                  <a:pt x="0" y="0"/>
                </a:moveTo>
                <a:lnTo>
                  <a:pt x="6244" y="5860"/>
                </a:lnTo>
                <a:lnTo>
                  <a:pt x="2976" y="10161"/>
                </a:lnTo>
                <a:lnTo>
                  <a:pt x="0" y="13153"/>
                </a:lnTo>
                <a:lnTo>
                  <a:pt x="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0" name="Freeform: Shape 19">
            <a:extLst>
              <a:ext uri="{FF2B5EF4-FFF2-40B4-BE49-F238E27FC236}">
                <a16:creationId xmlns:a16="http://schemas.microsoft.com/office/drawing/2014/main" id="{01B796E6-7BF6-3AE6-3117-0C465CD9A567}"/>
              </a:ext>
            </a:extLst>
          </p:cNvPr>
          <p:cNvSpPr/>
          <p:nvPr userDrawn="1"/>
        </p:nvSpPr>
        <p:spPr>
          <a:xfrm>
            <a:off x="8858788" y="2081882"/>
            <a:ext cx="6022" cy="8635"/>
          </a:xfrm>
          <a:custGeom>
            <a:avLst/>
            <a:gdLst>
              <a:gd name="connsiteX0" fmla="*/ 3090 w 6022"/>
              <a:gd name="connsiteY0" fmla="*/ 0 h 8635"/>
              <a:gd name="connsiteX1" fmla="*/ 6022 w 6022"/>
              <a:gd name="connsiteY1" fmla="*/ 2613 h 8635"/>
              <a:gd name="connsiteX2" fmla="*/ 0 w 6022"/>
              <a:gd name="connsiteY2" fmla="*/ 8635 h 8635"/>
              <a:gd name="connsiteX3" fmla="*/ 0 w 6022"/>
              <a:gd name="connsiteY3" fmla="*/ 4032 h 8635"/>
              <a:gd name="connsiteX4" fmla="*/ 2976 w 6022"/>
              <a:gd name="connsiteY4" fmla="*/ 114 h 8635"/>
              <a:gd name="connsiteX5" fmla="*/ 3090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90" y="0"/>
                </a:moveTo>
                <a:lnTo>
                  <a:pt x="6022" y="2613"/>
                </a:lnTo>
                <a:lnTo>
                  <a:pt x="0" y="8635"/>
                </a:lnTo>
                <a:lnTo>
                  <a:pt x="0" y="4032"/>
                </a:lnTo>
                <a:lnTo>
                  <a:pt x="2976" y="114"/>
                </a:lnTo>
                <a:lnTo>
                  <a:pt x="309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6" name="Freeform: Shape 5">
            <a:extLst>
              <a:ext uri="{FF2B5EF4-FFF2-40B4-BE49-F238E27FC236}">
                <a16:creationId xmlns:a16="http://schemas.microsoft.com/office/drawing/2014/main" id="{5210795C-0FF3-7AD6-7A0D-FE997994CD05}"/>
              </a:ext>
            </a:extLst>
          </p:cNvPr>
          <p:cNvSpPr/>
          <p:nvPr userDrawn="1"/>
        </p:nvSpPr>
        <p:spPr>
          <a:xfrm>
            <a:off x="4109538" y="2081881"/>
            <a:ext cx="8082463" cy="4776119"/>
          </a:xfrm>
          <a:custGeom>
            <a:avLst/>
            <a:gdLst>
              <a:gd name="connsiteX0" fmla="*/ 4752340 w 8082463"/>
              <a:gd name="connsiteY0" fmla="*/ 0 h 4776119"/>
              <a:gd name="connsiteX1" fmla="*/ 4808220 w 8082463"/>
              <a:gd name="connsiteY1" fmla="*/ 49784 h 4776119"/>
              <a:gd name="connsiteX2" fmla="*/ 4812030 w 8082463"/>
              <a:gd name="connsiteY2" fmla="*/ 52976 h 4776119"/>
              <a:gd name="connsiteX3" fmla="*/ 4864734 w 8082463"/>
              <a:gd name="connsiteY3" fmla="*/ 100845 h 4776119"/>
              <a:gd name="connsiteX4" fmla="*/ 4872990 w 8082463"/>
              <a:gd name="connsiteY4" fmla="*/ 108505 h 4776119"/>
              <a:gd name="connsiteX5" fmla="*/ 4922520 w 8082463"/>
              <a:gd name="connsiteY5" fmla="*/ 153821 h 4776119"/>
              <a:gd name="connsiteX6" fmla="*/ 4935855 w 8082463"/>
              <a:gd name="connsiteY6" fmla="*/ 165948 h 4776119"/>
              <a:gd name="connsiteX7" fmla="*/ 4980940 w 8082463"/>
              <a:gd name="connsiteY7" fmla="*/ 208712 h 4776119"/>
              <a:gd name="connsiteX8" fmla="*/ 4999356 w 8082463"/>
              <a:gd name="connsiteY8" fmla="*/ 225945 h 4776119"/>
              <a:gd name="connsiteX9" fmla="*/ 5039995 w 8082463"/>
              <a:gd name="connsiteY9" fmla="*/ 264879 h 4776119"/>
              <a:gd name="connsiteX10" fmla="*/ 5065395 w 8082463"/>
              <a:gd name="connsiteY10" fmla="*/ 289134 h 4776119"/>
              <a:gd name="connsiteX11" fmla="*/ 5100956 w 8082463"/>
              <a:gd name="connsiteY11" fmla="*/ 322960 h 4776119"/>
              <a:gd name="connsiteX12" fmla="*/ 5135880 w 8082463"/>
              <a:gd name="connsiteY12" fmla="*/ 356789 h 4776119"/>
              <a:gd name="connsiteX13" fmla="*/ 5162550 w 8082463"/>
              <a:gd name="connsiteY13" fmla="*/ 382958 h 4776119"/>
              <a:gd name="connsiteX14" fmla="*/ 5224780 w 8082463"/>
              <a:gd name="connsiteY14" fmla="*/ 444869 h 4776119"/>
              <a:gd name="connsiteX15" fmla="*/ 8082463 w 8082463"/>
              <a:gd name="connsiteY15" fmla="*/ 3317235 h 4776119"/>
              <a:gd name="connsiteX16" fmla="*/ 8082463 w 8082463"/>
              <a:gd name="connsiteY16" fmla="*/ 4776119 h 4776119"/>
              <a:gd name="connsiteX17" fmla="*/ 0 w 8082463"/>
              <a:gd name="connsiteY17" fmla="*/ 4776119 h 477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82463" h="4776119">
                <a:moveTo>
                  <a:pt x="4752340" y="0"/>
                </a:moveTo>
                <a:cubicBezTo>
                  <a:pt x="4770756" y="16595"/>
                  <a:pt x="4789805" y="33190"/>
                  <a:pt x="4808220" y="49784"/>
                </a:cubicBezTo>
                <a:cubicBezTo>
                  <a:pt x="4809490" y="51061"/>
                  <a:pt x="4810760" y="51700"/>
                  <a:pt x="4812030" y="52976"/>
                </a:cubicBezTo>
                <a:cubicBezTo>
                  <a:pt x="4829175" y="68933"/>
                  <a:pt x="4846956" y="84889"/>
                  <a:pt x="4864734" y="100845"/>
                </a:cubicBezTo>
                <a:cubicBezTo>
                  <a:pt x="4867910" y="103398"/>
                  <a:pt x="4870450" y="105951"/>
                  <a:pt x="4872990" y="108505"/>
                </a:cubicBezTo>
                <a:cubicBezTo>
                  <a:pt x="4889500" y="123185"/>
                  <a:pt x="4906010" y="138503"/>
                  <a:pt x="4922520" y="153821"/>
                </a:cubicBezTo>
                <a:cubicBezTo>
                  <a:pt x="4926965" y="157651"/>
                  <a:pt x="4931410" y="162119"/>
                  <a:pt x="4935855" y="165948"/>
                </a:cubicBezTo>
                <a:cubicBezTo>
                  <a:pt x="4950460" y="179990"/>
                  <a:pt x="4965700" y="194670"/>
                  <a:pt x="4980940" y="208712"/>
                </a:cubicBezTo>
                <a:cubicBezTo>
                  <a:pt x="4987290" y="214457"/>
                  <a:pt x="4993006" y="220201"/>
                  <a:pt x="4999356" y="225945"/>
                </a:cubicBezTo>
                <a:cubicBezTo>
                  <a:pt x="5012690" y="238710"/>
                  <a:pt x="5026025" y="251476"/>
                  <a:pt x="5039995" y="264879"/>
                </a:cubicBezTo>
                <a:cubicBezTo>
                  <a:pt x="5048886" y="273176"/>
                  <a:pt x="5057140" y="280836"/>
                  <a:pt x="5065395" y="289134"/>
                </a:cubicBezTo>
                <a:cubicBezTo>
                  <a:pt x="5077460" y="299984"/>
                  <a:pt x="5088890" y="311473"/>
                  <a:pt x="5100956" y="322960"/>
                </a:cubicBezTo>
                <a:cubicBezTo>
                  <a:pt x="5113020" y="333812"/>
                  <a:pt x="5124450" y="345301"/>
                  <a:pt x="5135880" y="356789"/>
                </a:cubicBezTo>
                <a:cubicBezTo>
                  <a:pt x="5144770" y="365724"/>
                  <a:pt x="5153660" y="374022"/>
                  <a:pt x="5162550" y="382958"/>
                </a:cubicBezTo>
                <a:cubicBezTo>
                  <a:pt x="5182871" y="403382"/>
                  <a:pt x="5203826" y="423807"/>
                  <a:pt x="5224780" y="444869"/>
                </a:cubicBezTo>
                <a:lnTo>
                  <a:pt x="8082463" y="3317235"/>
                </a:lnTo>
                <a:lnTo>
                  <a:pt x="8082463" y="4776119"/>
                </a:lnTo>
                <a:lnTo>
                  <a:pt x="0" y="4776119"/>
                </a:lnTo>
                <a:close/>
              </a:path>
            </a:pathLst>
          </a:custGeom>
          <a:solidFill>
            <a:srgbClr val="007D7D"/>
          </a:solidFill>
          <a:ln w="12700" cap="flat">
            <a:solidFill>
              <a:srgbClr val="007D7D"/>
            </a:solidFill>
            <a:prstDash val="solid"/>
            <a:miter/>
          </a:ln>
        </p:spPr>
        <p:txBody>
          <a:bodyPr wrap="square" rtlCol="0" anchor="ctr">
            <a:noAutofit/>
          </a:bodyPr>
          <a:lstStyle/>
          <a:p>
            <a:endParaRPr lang="en-GB"/>
          </a:p>
        </p:txBody>
      </p:sp>
      <p:grpSp>
        <p:nvGrpSpPr>
          <p:cNvPr id="27" name="Groep 26">
            <a:extLst>
              <a:ext uri="{FF2B5EF4-FFF2-40B4-BE49-F238E27FC236}">
                <a16:creationId xmlns:a16="http://schemas.microsoft.com/office/drawing/2014/main" id="{A5D310E0-FDC3-9548-2E3D-5E587C271ABB}"/>
              </a:ext>
            </a:extLst>
          </p:cNvPr>
          <p:cNvGrpSpPr/>
          <p:nvPr userDrawn="1"/>
        </p:nvGrpSpPr>
        <p:grpSpPr>
          <a:xfrm>
            <a:off x="10014482" y="5839298"/>
            <a:ext cx="1599388" cy="433809"/>
            <a:chOff x="3101010" y="1249096"/>
            <a:chExt cx="3978412" cy="1079079"/>
          </a:xfrm>
          <a:solidFill>
            <a:schemeClr val="bg1"/>
          </a:solidFill>
        </p:grpSpPr>
        <p:sp>
          <p:nvSpPr>
            <p:cNvPr id="28" name="Vrije vorm 27">
              <a:extLst>
                <a:ext uri="{FF2B5EF4-FFF2-40B4-BE49-F238E27FC236}">
                  <a16:creationId xmlns:a16="http://schemas.microsoft.com/office/drawing/2014/main" id="{ECA752FF-2F37-957B-A5EC-C7B6C668F413}"/>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29" name="Vrije vorm 28">
              <a:extLst>
                <a:ext uri="{FF2B5EF4-FFF2-40B4-BE49-F238E27FC236}">
                  <a16:creationId xmlns:a16="http://schemas.microsoft.com/office/drawing/2014/main" id="{6983560B-DC97-0E4B-2625-B2F1FAF8C285}"/>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30" name="Vrije vorm 29">
              <a:extLst>
                <a:ext uri="{FF2B5EF4-FFF2-40B4-BE49-F238E27FC236}">
                  <a16:creationId xmlns:a16="http://schemas.microsoft.com/office/drawing/2014/main" id="{47E7E634-8DFD-5FED-B8AF-452C10C7E741}"/>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31" name="Vrije vorm 30">
              <a:extLst>
                <a:ext uri="{FF2B5EF4-FFF2-40B4-BE49-F238E27FC236}">
                  <a16:creationId xmlns:a16="http://schemas.microsoft.com/office/drawing/2014/main" id="{B243CB65-D677-46F8-7A25-469316C9B134}"/>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32" name="Vrije vorm 31">
              <a:extLst>
                <a:ext uri="{FF2B5EF4-FFF2-40B4-BE49-F238E27FC236}">
                  <a16:creationId xmlns:a16="http://schemas.microsoft.com/office/drawing/2014/main" id="{78C02F80-EBFC-6967-28B4-864F64999624}"/>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33" name="Vrije vorm 32">
              <a:extLst>
                <a:ext uri="{FF2B5EF4-FFF2-40B4-BE49-F238E27FC236}">
                  <a16:creationId xmlns:a16="http://schemas.microsoft.com/office/drawing/2014/main" id="{13246393-CFD1-1BC8-C9CA-FFB1685A3784}"/>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34" name="Vrije vorm 33">
              <a:extLst>
                <a:ext uri="{FF2B5EF4-FFF2-40B4-BE49-F238E27FC236}">
                  <a16:creationId xmlns:a16="http://schemas.microsoft.com/office/drawing/2014/main" id="{C8530A73-BEBE-6C42-918D-42A60E3ACCD6}"/>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35" name="Vrije vorm 34">
              <a:extLst>
                <a:ext uri="{FF2B5EF4-FFF2-40B4-BE49-F238E27FC236}">
                  <a16:creationId xmlns:a16="http://schemas.microsoft.com/office/drawing/2014/main" id="{45D0E928-851B-13D4-6C3F-72F1A4B0BEA6}"/>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7463687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ersonen II">
    <p:bg>
      <p:bgPr>
        <a:solidFill>
          <a:schemeClr val="bg1"/>
        </a:solidFill>
        <a:effectLst/>
      </p:bgPr>
    </p:bg>
    <p:spTree>
      <p:nvGrpSpPr>
        <p:cNvPr id="1" name=""/>
        <p:cNvGrpSpPr/>
        <p:nvPr/>
      </p:nvGrpSpPr>
      <p:grpSpPr>
        <a:xfrm>
          <a:off x="0" y="0"/>
          <a:ext cx="0" cy="0"/>
          <a:chOff x="0" y="0"/>
          <a:chExt cx="0" cy="0"/>
        </a:xfrm>
      </p:grpSpPr>
      <p:sp>
        <p:nvSpPr>
          <p:cNvPr id="18" name="Freeform: Shape 4">
            <a:extLst>
              <a:ext uri="{FF2B5EF4-FFF2-40B4-BE49-F238E27FC236}">
                <a16:creationId xmlns:a16="http://schemas.microsoft.com/office/drawing/2014/main" id="{51FFD588-50D0-31E9-324D-F0C2021EF988}"/>
              </a:ext>
            </a:extLst>
          </p:cNvPr>
          <p:cNvSpPr/>
          <p:nvPr userDrawn="1"/>
        </p:nvSpPr>
        <p:spPr>
          <a:xfrm>
            <a:off x="7440811" y="-10274"/>
            <a:ext cx="4756381" cy="6876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0914" h="6858000">
                <a:moveTo>
                  <a:pt x="0" y="0"/>
                </a:moveTo>
                <a:lnTo>
                  <a:pt x="5081" y="0"/>
                </a:lnTo>
                <a:lnTo>
                  <a:pt x="5081" y="4813300"/>
                </a:lnTo>
                <a:lnTo>
                  <a:pt x="4735833" y="5190"/>
                </a:lnTo>
                <a:lnTo>
                  <a:pt x="4735833" y="0"/>
                </a:lnTo>
                <a:lnTo>
                  <a:pt x="4740914" y="0"/>
                </a:lnTo>
                <a:lnTo>
                  <a:pt x="4740914" y="6858000"/>
                </a:lnTo>
                <a:lnTo>
                  <a:pt x="0" y="6858000"/>
                </a:ln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9" name="Freeform: Shape 8">
            <a:extLst>
              <a:ext uri="{FF2B5EF4-FFF2-40B4-BE49-F238E27FC236}">
                <a16:creationId xmlns:a16="http://schemas.microsoft.com/office/drawing/2014/main" id="{58FFFF01-18BA-3341-B211-F5CA4AF1C660}"/>
              </a:ext>
            </a:extLst>
          </p:cNvPr>
          <p:cNvSpPr/>
          <p:nvPr userDrawn="1"/>
        </p:nvSpPr>
        <p:spPr>
          <a:xfrm>
            <a:off x="5404345"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rgbClr val="00501C"/>
          </a:solidFill>
          <a:ln w="12700" cap="flat">
            <a:solidFill>
              <a:srgbClr val="00501C"/>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grpSp>
        <p:nvGrpSpPr>
          <p:cNvPr id="5" name="Group 4">
            <a:extLst>
              <a:ext uri="{FF2B5EF4-FFF2-40B4-BE49-F238E27FC236}">
                <a16:creationId xmlns:a16="http://schemas.microsoft.com/office/drawing/2014/main" id="{F44CA204-46BE-9EEE-6F6C-BF05A7D51F45}"/>
              </a:ext>
            </a:extLst>
          </p:cNvPr>
          <p:cNvGrpSpPr/>
          <p:nvPr userDrawn="1"/>
        </p:nvGrpSpPr>
        <p:grpSpPr>
          <a:xfrm>
            <a:off x="0" y="0"/>
            <a:ext cx="12186919" cy="6858000"/>
            <a:chOff x="0" y="0"/>
            <a:chExt cx="12186919" cy="6858000"/>
          </a:xfrm>
        </p:grpSpPr>
        <p:sp>
          <p:nvSpPr>
            <p:cNvPr id="7" name="Freeform: Shape 6">
              <a:extLst>
                <a:ext uri="{FF2B5EF4-FFF2-40B4-BE49-F238E27FC236}">
                  <a16:creationId xmlns:a16="http://schemas.microsoft.com/office/drawing/2014/main" id="{A31CFB59-0754-3B02-0DB4-1DFCFBCB2FC0}"/>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00501C"/>
            </a:solidFill>
            <a:ln w="6208" cap="flat">
              <a:solidFill>
                <a:srgbClr val="00501C"/>
              </a:solidFill>
              <a:prstDash val="solid"/>
              <a:miter/>
            </a:ln>
          </p:spPr>
          <p:txBody>
            <a:bodyPr rtlCol="0" anchor="ctr"/>
            <a:lstStyle/>
            <a:p>
              <a:pPr lvl="0"/>
              <a:endParaRPr lang="en-GB"/>
            </a:p>
          </p:txBody>
        </p:sp>
        <p:sp>
          <p:nvSpPr>
            <p:cNvPr id="10" name="Freeform: Shape 9">
              <a:extLst>
                <a:ext uri="{FF2B5EF4-FFF2-40B4-BE49-F238E27FC236}">
                  <a16:creationId xmlns:a16="http://schemas.microsoft.com/office/drawing/2014/main" id="{2C02FF3B-4038-BB00-E052-EB8A480C72C0}"/>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00501C"/>
            </a:solidFill>
            <a:ln w="12700" cap="flat">
              <a:solidFill>
                <a:srgbClr val="00501C"/>
              </a:solidFill>
              <a:prstDash val="solid"/>
              <a:miter/>
            </a:ln>
          </p:spPr>
          <p:txBody>
            <a:bodyPr rtlCol="0" anchor="ctr"/>
            <a:lstStyle/>
            <a:p>
              <a:pPr lvl="0"/>
              <a:endParaRPr lang="en-GB"/>
            </a:p>
          </p:txBody>
        </p:sp>
        <p:sp>
          <p:nvSpPr>
            <p:cNvPr id="11" name="Freeform: Shape 10">
              <a:extLst>
                <a:ext uri="{FF2B5EF4-FFF2-40B4-BE49-F238E27FC236}">
                  <a16:creationId xmlns:a16="http://schemas.microsoft.com/office/drawing/2014/main" id="{FCC7EAC6-3525-7C4D-CF57-96154582034B}"/>
                </a:ext>
              </a:extLst>
            </p:cNvPr>
            <p:cNvSpPr/>
            <p:nvPr userDrawn="1"/>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3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3"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grpSp>
      <p:sp>
        <p:nvSpPr>
          <p:cNvPr id="30" name="Picture Placeholder 8">
            <a:extLst>
              <a:ext uri="{FF2B5EF4-FFF2-40B4-BE49-F238E27FC236}">
                <a16:creationId xmlns:a16="http://schemas.microsoft.com/office/drawing/2014/main" id="{04483224-BEF7-EA53-E3A9-48A573055C9A}"/>
              </a:ext>
            </a:extLst>
          </p:cNvPr>
          <p:cNvSpPr>
            <a:spLocks noGrp="1"/>
          </p:cNvSpPr>
          <p:nvPr>
            <p:ph type="pic" sz="quarter" idx="19"/>
          </p:nvPr>
        </p:nvSpPr>
        <p:spPr>
          <a:xfrm>
            <a:off x="6232121" y="1373696"/>
            <a:ext cx="3107158" cy="3093530"/>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3" name="Picture Placeholder 8">
            <a:extLst>
              <a:ext uri="{FF2B5EF4-FFF2-40B4-BE49-F238E27FC236}">
                <a16:creationId xmlns:a16="http://schemas.microsoft.com/office/drawing/2014/main" id="{8206E040-3C65-135D-1D1D-FAC5C094824E}"/>
              </a:ext>
            </a:extLst>
          </p:cNvPr>
          <p:cNvSpPr>
            <a:spLocks noGrp="1"/>
          </p:cNvSpPr>
          <p:nvPr>
            <p:ph type="pic" sz="quarter" idx="20"/>
          </p:nvPr>
        </p:nvSpPr>
        <p:spPr>
          <a:xfrm>
            <a:off x="1154394" y="1373696"/>
            <a:ext cx="3107158" cy="3093530"/>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dirty="0"/>
          </a:p>
        </p:txBody>
      </p:sp>
      <p:sp>
        <p:nvSpPr>
          <p:cNvPr id="8" name="Text Placeholder 7">
            <a:extLst>
              <a:ext uri="{FF2B5EF4-FFF2-40B4-BE49-F238E27FC236}">
                <a16:creationId xmlns:a16="http://schemas.microsoft.com/office/drawing/2014/main" id="{18F06AD3-38F0-7A87-3982-57749E572863}"/>
              </a:ext>
            </a:extLst>
          </p:cNvPr>
          <p:cNvSpPr>
            <a:spLocks noGrp="1"/>
          </p:cNvSpPr>
          <p:nvPr>
            <p:ph type="body" sz="quarter" idx="21" hasCustomPrompt="1"/>
          </p:nvPr>
        </p:nvSpPr>
        <p:spPr>
          <a:xfrm>
            <a:off x="1137600" y="4696936"/>
            <a:ext cx="3107158" cy="369332"/>
          </a:xfrm>
        </p:spPr>
        <p:txBody>
          <a:bodyPr>
            <a:spAutoFit/>
          </a:bodyPr>
          <a:lstStyle>
            <a:lvl1pPr algn="l">
              <a:defRPr sz="2400" b="1">
                <a:solidFill>
                  <a:schemeClr val="bg1"/>
                </a:solidFill>
                <a:latin typeface="+mj-lt"/>
              </a:defRPr>
            </a:lvl1pPr>
          </a:lstStyle>
          <a:p>
            <a:pPr lvl="0"/>
            <a:r>
              <a:rPr lang="en-US" dirty="0"/>
              <a:t>Naam</a:t>
            </a:r>
          </a:p>
        </p:txBody>
      </p:sp>
      <p:sp>
        <p:nvSpPr>
          <p:cNvPr id="26" name="Text Placeholder 7">
            <a:extLst>
              <a:ext uri="{FF2B5EF4-FFF2-40B4-BE49-F238E27FC236}">
                <a16:creationId xmlns:a16="http://schemas.microsoft.com/office/drawing/2014/main" id="{B177B95B-54AF-1C0D-C084-ED883FB7558C}"/>
              </a:ext>
            </a:extLst>
          </p:cNvPr>
          <p:cNvSpPr>
            <a:spLocks noGrp="1"/>
          </p:cNvSpPr>
          <p:nvPr>
            <p:ph type="body" sz="quarter" idx="22" hasCustomPrompt="1"/>
          </p:nvPr>
        </p:nvSpPr>
        <p:spPr>
          <a:xfrm>
            <a:off x="1137600" y="5136851"/>
            <a:ext cx="3107158" cy="276999"/>
          </a:xfrm>
        </p:spPr>
        <p:txBody>
          <a:bodyPr>
            <a:spAutoFit/>
          </a:bodyPr>
          <a:lstStyle>
            <a:lvl1pPr algn="l">
              <a:defRPr sz="1800">
                <a:solidFill>
                  <a:schemeClr val="bg1"/>
                </a:solidFill>
                <a:latin typeface="+mn-lt"/>
              </a:defRPr>
            </a:lvl1pPr>
          </a:lstStyle>
          <a:p>
            <a:pPr lvl="0"/>
            <a:r>
              <a:rPr lang="en-US" dirty="0" err="1"/>
              <a:t>Functie</a:t>
            </a:r>
            <a:endParaRPr lang="en-US" dirty="0"/>
          </a:p>
        </p:txBody>
      </p:sp>
      <p:sp>
        <p:nvSpPr>
          <p:cNvPr id="27" name="Text Placeholder 7">
            <a:extLst>
              <a:ext uri="{FF2B5EF4-FFF2-40B4-BE49-F238E27FC236}">
                <a16:creationId xmlns:a16="http://schemas.microsoft.com/office/drawing/2014/main" id="{65535B3D-E176-56EE-5E61-1628FADF62AA}"/>
              </a:ext>
            </a:extLst>
          </p:cNvPr>
          <p:cNvSpPr>
            <a:spLocks noGrp="1"/>
          </p:cNvSpPr>
          <p:nvPr>
            <p:ph type="body" sz="quarter" idx="23" hasCustomPrompt="1"/>
          </p:nvPr>
        </p:nvSpPr>
        <p:spPr>
          <a:xfrm>
            <a:off x="6254836" y="4696936"/>
            <a:ext cx="3107158" cy="369332"/>
          </a:xfrm>
        </p:spPr>
        <p:txBody>
          <a:bodyPr>
            <a:spAutoFit/>
          </a:bodyPr>
          <a:lstStyle>
            <a:lvl1pPr algn="l">
              <a:defRPr sz="2400" b="1">
                <a:solidFill>
                  <a:schemeClr val="bg1"/>
                </a:solidFill>
                <a:latin typeface="+mj-lt"/>
              </a:defRPr>
            </a:lvl1pPr>
          </a:lstStyle>
          <a:p>
            <a:pPr lvl="0"/>
            <a:r>
              <a:rPr lang="en-US" dirty="0"/>
              <a:t>Naam</a:t>
            </a:r>
          </a:p>
        </p:txBody>
      </p:sp>
      <p:sp>
        <p:nvSpPr>
          <p:cNvPr id="28" name="Text Placeholder 7">
            <a:extLst>
              <a:ext uri="{FF2B5EF4-FFF2-40B4-BE49-F238E27FC236}">
                <a16:creationId xmlns:a16="http://schemas.microsoft.com/office/drawing/2014/main" id="{6DF84C52-EEB7-43F2-0E9E-03D89AA54038}"/>
              </a:ext>
            </a:extLst>
          </p:cNvPr>
          <p:cNvSpPr>
            <a:spLocks noGrp="1"/>
          </p:cNvSpPr>
          <p:nvPr>
            <p:ph type="body" sz="quarter" idx="24" hasCustomPrompt="1"/>
          </p:nvPr>
        </p:nvSpPr>
        <p:spPr>
          <a:xfrm>
            <a:off x="6254836" y="5136851"/>
            <a:ext cx="3107158" cy="276999"/>
          </a:xfrm>
        </p:spPr>
        <p:txBody>
          <a:bodyPr>
            <a:spAutoFit/>
          </a:bodyPr>
          <a:lstStyle>
            <a:lvl1pPr algn="l">
              <a:defRPr sz="1800">
                <a:solidFill>
                  <a:schemeClr val="bg1"/>
                </a:solidFill>
                <a:latin typeface="+mn-lt"/>
              </a:defRPr>
            </a:lvl1pPr>
          </a:lstStyle>
          <a:p>
            <a:pPr lvl="0"/>
            <a:r>
              <a:rPr lang="en-US" dirty="0" err="1"/>
              <a:t>Functie</a:t>
            </a:r>
            <a:endParaRPr lang="en-US" dirty="0"/>
          </a:p>
        </p:txBody>
      </p:sp>
      <p:grpSp>
        <p:nvGrpSpPr>
          <p:cNvPr id="2" name="Groep 1">
            <a:extLst>
              <a:ext uri="{FF2B5EF4-FFF2-40B4-BE49-F238E27FC236}">
                <a16:creationId xmlns:a16="http://schemas.microsoft.com/office/drawing/2014/main" id="{23FC2B67-52DD-ED46-DBA8-0C0A189F6DEC}"/>
              </a:ext>
            </a:extLst>
          </p:cNvPr>
          <p:cNvGrpSpPr/>
          <p:nvPr userDrawn="1"/>
        </p:nvGrpSpPr>
        <p:grpSpPr>
          <a:xfrm>
            <a:off x="10014482" y="5839298"/>
            <a:ext cx="1599388" cy="433809"/>
            <a:chOff x="3101010" y="1249096"/>
            <a:chExt cx="3978412" cy="1079079"/>
          </a:xfrm>
          <a:solidFill>
            <a:schemeClr val="bg1"/>
          </a:solidFill>
        </p:grpSpPr>
        <p:sp>
          <p:nvSpPr>
            <p:cNvPr id="3" name="Vrije vorm 2">
              <a:extLst>
                <a:ext uri="{FF2B5EF4-FFF2-40B4-BE49-F238E27FC236}">
                  <a16:creationId xmlns:a16="http://schemas.microsoft.com/office/drawing/2014/main" id="{E0DEAC0E-10ED-2939-B714-BD6AAAD4DAB5}"/>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E98E8878-4D58-F704-AE7B-6EC84C3D158E}"/>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26052B05-892B-756C-7223-DB665B8CCA0B}"/>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5FB35E1B-1BB1-0C81-9F77-336425C66F33}"/>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0781B84E-BE36-E6FD-E1FD-4E2A7A01D596}"/>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B6C3B072-6D0F-80B7-611D-C14A66F53006}"/>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3252F2BA-7F90-E4BC-A4D5-12BB6F878EE7}"/>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17522E74-4004-AA38-C24D-58BAE57815DF}"/>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33188783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eeld II">
    <p:bg>
      <p:bgPr>
        <a:solidFill>
          <a:schemeClr val="bg1"/>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64E804F-F299-2C6E-D49F-7B6D7652A1FC}"/>
              </a:ext>
            </a:extLst>
          </p:cNvPr>
          <p:cNvSpPr>
            <a:spLocks noGrp="1"/>
          </p:cNvSpPr>
          <p:nvPr>
            <p:ph type="pic" sz="quarter" idx="10"/>
          </p:nvPr>
        </p:nvSpPr>
        <p:spPr>
          <a:xfrm>
            <a:off x="0" y="585773"/>
            <a:ext cx="6096000" cy="6272226"/>
          </a:xfrm>
          <a:custGeom>
            <a:avLst/>
            <a:gdLst>
              <a:gd name="connsiteX0" fmla="*/ 5205643 w 6096000"/>
              <a:gd name="connsiteY0" fmla="*/ 1043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 name="connsiteX10" fmla="*/ 5205643 w 6096000"/>
              <a:gd name="connsiteY10" fmla="*/ 1043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272226">
                <a:moveTo>
                  <a:pt x="5205643" y="1043"/>
                </a:moveTo>
                <a:cubicBezTo>
                  <a:pt x="5410229" y="5180"/>
                  <a:pt x="5605325" y="21537"/>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ubicBezTo>
                  <a:pt x="5068197" y="-358"/>
                  <a:pt x="5137447" y="-336"/>
                  <a:pt x="5205643" y="1043"/>
                </a:cubicBezTo>
                <a:close/>
              </a:path>
            </a:pathLst>
          </a:custGeom>
          <a:solidFill>
            <a:schemeClr val="bg1">
              <a:lumMod val="95000"/>
            </a:schemeClr>
          </a:solidFill>
        </p:spPr>
        <p:txBody>
          <a:bodyPr wrap="square" tIns="109728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0" name="TextBox 19">
            <a:extLst>
              <a:ext uri="{FF2B5EF4-FFF2-40B4-BE49-F238E27FC236}">
                <a16:creationId xmlns:a16="http://schemas.microsoft.com/office/drawing/2014/main" id="{878DA228-6208-315D-1130-7602FC0E826E}"/>
              </a:ext>
            </a:extLst>
          </p:cNvPr>
          <p:cNvSpPr txBox="1"/>
          <p:nvPr/>
        </p:nvSpPr>
        <p:spPr>
          <a:xfrm>
            <a:off x="8443721" y="2865654"/>
            <a:ext cx="436880" cy="1185771"/>
          </a:xfrm>
          <a:prstGeom prst="rect">
            <a:avLst/>
          </a:prstGeom>
          <a:noFill/>
        </p:spPr>
        <p:txBody>
          <a:bodyPr wrap="none" lIns="0" tIns="0" rIns="0" bIns="0" rtlCol="0">
            <a:spAutoFit/>
          </a:bodyPr>
          <a:lstStyle/>
          <a:p>
            <a:pPr algn="l"/>
            <a:r>
              <a:rPr lang="en-GB" sz="14500" spc="0" baseline="0" dirty="0" err="1">
                <a:ln/>
                <a:solidFill>
                  <a:srgbClr val="6DBE45"/>
                </a:solidFill>
                <a:latin typeface="Arial"/>
                <a:cs typeface="Arial"/>
                <a:sym typeface="Arial"/>
                <a:rtl val="0"/>
              </a:rPr>
              <a:t> </a:t>
            </a:r>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2" name="Freeform: Shape 1">
            <a:extLst>
              <a:ext uri="{FF2B5EF4-FFF2-40B4-BE49-F238E27FC236}">
                <a16:creationId xmlns:a16="http://schemas.microsoft.com/office/drawing/2014/main" id="{0204D886-3C1B-0CFB-5BF5-8FD5A693CA66}"/>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4" name="Freeform: Shape 3">
            <a:extLst>
              <a:ext uri="{FF2B5EF4-FFF2-40B4-BE49-F238E27FC236}">
                <a16:creationId xmlns:a16="http://schemas.microsoft.com/office/drawing/2014/main" id="{1A61D792-787B-D39F-D40C-0993227C0AC4}"/>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E9B56463-5CBA-8882-D94C-A0E589B4FDD0}"/>
              </a:ext>
            </a:extLst>
          </p:cNvPr>
          <p:cNvSpPr/>
          <p:nvPr userDrawn="1"/>
        </p:nvSpPr>
        <p:spPr>
          <a:xfrm>
            <a:off x="6096000"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chemeClr val="accent3"/>
          </a:soli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6" name="Freeform: Shape 5">
            <a:extLst>
              <a:ext uri="{FF2B5EF4-FFF2-40B4-BE49-F238E27FC236}">
                <a16:creationId xmlns:a16="http://schemas.microsoft.com/office/drawing/2014/main" id="{FC3DE5BA-3BBB-C4B7-C82E-75A6683C53B4}"/>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rgbClr val="007D7D"/>
          </a:solidFill>
          <a:ln w="12700" cap="flat">
            <a:solidFill>
              <a:srgbClr val="007D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7" name="Freeform: Shape 6">
            <a:extLst>
              <a:ext uri="{FF2B5EF4-FFF2-40B4-BE49-F238E27FC236}">
                <a16:creationId xmlns:a16="http://schemas.microsoft.com/office/drawing/2014/main" id="{025A4B65-8C45-1916-049E-F2A0BE3C6D9C}"/>
              </a:ext>
            </a:extLst>
          </p:cNvPr>
          <p:cNvSpPr/>
          <p:nvPr userDrawn="1"/>
        </p:nvSpPr>
        <p:spPr>
          <a:xfrm>
            <a:off x="6096000" y="-1"/>
            <a:ext cx="6096000" cy="5705659"/>
          </a:xfrm>
          <a:custGeom>
            <a:avLst/>
            <a:gdLst>
              <a:gd name="connsiteX0" fmla="*/ 0 w 6096000"/>
              <a:gd name="connsiteY0" fmla="*/ 0 h 5705659"/>
              <a:gd name="connsiteX1" fmla="*/ 6096000 w 6096000"/>
              <a:gd name="connsiteY1" fmla="*/ 0 h 5705659"/>
              <a:gd name="connsiteX2" fmla="*/ 6096000 w 6096000"/>
              <a:gd name="connsiteY2" fmla="*/ 5705659 h 5705659"/>
              <a:gd name="connsiteX3" fmla="*/ 2934617 w 6096000"/>
              <a:gd name="connsiteY3" fmla="*/ 2549416 h 5705659"/>
              <a:gd name="connsiteX4" fmla="*/ 119700 w 6096000"/>
              <a:gd name="connsiteY4" fmla="*/ 724468 h 5705659"/>
              <a:gd name="connsiteX5" fmla="*/ 0 w 6096000"/>
              <a:gd name="connsiteY5" fmla="*/ 693739 h 5705659"/>
              <a:gd name="connsiteX6" fmla="*/ 0 w 6096000"/>
              <a:gd name="connsiteY6" fmla="*/ 0 h 570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05659">
                <a:moveTo>
                  <a:pt x="0" y="0"/>
                </a:moveTo>
                <a:lnTo>
                  <a:pt x="6096000" y="0"/>
                </a:lnTo>
                <a:lnTo>
                  <a:pt x="6096000" y="5705659"/>
                </a:lnTo>
                <a:lnTo>
                  <a:pt x="2934617" y="2549416"/>
                </a:lnTo>
                <a:cubicBezTo>
                  <a:pt x="1797550" y="1414196"/>
                  <a:pt x="828266" y="922995"/>
                  <a:pt x="119700" y="724468"/>
                </a:cubicBezTo>
                <a:lnTo>
                  <a:pt x="0" y="693739"/>
                </a:lnTo>
                <a:lnTo>
                  <a:pt x="0" y="0"/>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grpSp>
        <p:nvGrpSpPr>
          <p:cNvPr id="3" name="Groep 2">
            <a:extLst>
              <a:ext uri="{FF2B5EF4-FFF2-40B4-BE49-F238E27FC236}">
                <a16:creationId xmlns:a16="http://schemas.microsoft.com/office/drawing/2014/main" id="{16486BDC-77AB-08B0-6BE1-65BC24F37F0F}"/>
              </a:ext>
            </a:extLst>
          </p:cNvPr>
          <p:cNvGrpSpPr/>
          <p:nvPr userDrawn="1"/>
        </p:nvGrpSpPr>
        <p:grpSpPr>
          <a:xfrm>
            <a:off x="10014482" y="5839298"/>
            <a:ext cx="1599388" cy="433809"/>
            <a:chOff x="3101010" y="1249096"/>
            <a:chExt cx="3978412" cy="1079079"/>
          </a:xfrm>
          <a:solidFill>
            <a:schemeClr val="bg1"/>
          </a:solidFill>
        </p:grpSpPr>
        <p:sp>
          <p:nvSpPr>
            <p:cNvPr id="9" name="Vrije vorm 8">
              <a:extLst>
                <a:ext uri="{FF2B5EF4-FFF2-40B4-BE49-F238E27FC236}">
                  <a16:creationId xmlns:a16="http://schemas.microsoft.com/office/drawing/2014/main" id="{7E9F3609-37EB-8D25-9952-C44C1DB7C20C}"/>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8CEE31DC-3048-7D89-712C-A3445E489079}"/>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247386CB-2A13-C18C-F4B2-BD792DA88050}"/>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7ED4C3E5-49CD-9903-13F3-9436F93B7D0E}"/>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ECCA4AFE-078A-2952-1EA0-0D718A041096}"/>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72187928-6637-915E-ED52-303E37DC6202}"/>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DAA7B5B7-C85D-8BD7-7329-51DEE103FD2F}"/>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91E3B4C9-F3CE-91DD-1288-CA7EAB5EBD7F}"/>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7" name="Titel 1">
            <a:extLst>
              <a:ext uri="{FF2B5EF4-FFF2-40B4-BE49-F238E27FC236}">
                <a16:creationId xmlns:a16="http://schemas.microsoft.com/office/drawing/2014/main" id="{92241EE5-BC56-666D-1D48-9CBE3CB2AD4D}"/>
              </a:ext>
            </a:extLst>
          </p:cNvPr>
          <p:cNvSpPr>
            <a:spLocks noGrp="1"/>
          </p:cNvSpPr>
          <p:nvPr>
            <p:ph type="title" hasCustomPrompt="1"/>
          </p:nvPr>
        </p:nvSpPr>
        <p:spPr>
          <a:xfrm>
            <a:off x="6588049" y="4936253"/>
            <a:ext cx="5016576" cy="692497"/>
          </a:xfrm>
        </p:spPr>
        <p:txBody>
          <a:bodyPr wrap="square" anchor="b" anchorCtr="0">
            <a:spAutoFit/>
          </a:bodyPr>
          <a:lstStyle>
            <a:lvl1pPr>
              <a:defRPr sz="5000">
                <a:solidFill>
                  <a:schemeClr val="bg1"/>
                </a:solidFill>
              </a:defRPr>
            </a:lvl1pPr>
          </a:lstStyle>
          <a:p>
            <a:r>
              <a:rPr lang="nl-NL" dirty="0"/>
              <a:t>Titel</a:t>
            </a:r>
          </a:p>
        </p:txBody>
      </p:sp>
    </p:spTree>
    <p:extLst>
      <p:ext uri="{BB962C8B-B14F-4D97-AF65-F5344CB8AC3E}">
        <p14:creationId xmlns:p14="http://schemas.microsoft.com/office/powerpoint/2010/main" val="321181577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eeld III">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F998225F-A5AB-2A6A-511D-E2D2D9A8D2F2}"/>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1A0AF000-DE16-ECB9-4A9C-FD8EE37EE1A4}"/>
              </a:ext>
            </a:extLst>
          </p:cNvPr>
          <p:cNvSpPr/>
          <p:nvPr userDrawn="1"/>
        </p:nvSpPr>
        <p:spPr>
          <a:xfrm>
            <a:off x="-5081"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rgbClr val="007D7D"/>
          </a:solidFill>
          <a:ln w="12700" cap="flat">
            <a:solidFill>
              <a:srgbClr val="007D7D"/>
            </a:solidFill>
            <a:prstDash val="solid"/>
            <a:miter/>
          </a:ln>
        </p:spPr>
        <p:txBody>
          <a:bodyPr rtlCol="0" anchor="ctr"/>
          <a:lstStyle/>
          <a:p>
            <a:pPr lvl="0"/>
            <a:endParaRPr lang="en-GB"/>
          </a:p>
        </p:txBody>
      </p:sp>
      <p:sp>
        <p:nvSpPr>
          <p:cNvPr id="8" name="Freeform: Shape 7">
            <a:extLst>
              <a:ext uri="{FF2B5EF4-FFF2-40B4-BE49-F238E27FC236}">
                <a16:creationId xmlns:a16="http://schemas.microsoft.com/office/drawing/2014/main" id="{74988A13-D08F-7F93-BCC7-ECFA6EAF797C}"/>
              </a:ext>
            </a:extLst>
          </p:cNvPr>
          <p:cNvSpPr/>
          <p:nvPr userDrawn="1"/>
        </p:nvSpPr>
        <p:spPr>
          <a:xfrm>
            <a:off x="7451086"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007D7D"/>
          </a:solidFill>
          <a:ln w="12700" cap="flat">
            <a:solidFill>
              <a:srgbClr val="007D7D"/>
            </a:solidFill>
            <a:prstDash val="solid"/>
            <a:miter/>
          </a:ln>
        </p:spPr>
        <p:txBody>
          <a:bodyPr rtlCol="0" anchor="ctr"/>
          <a:lstStyle/>
          <a:p>
            <a:pPr lvl="0"/>
            <a:endParaRPr lang="en-GB"/>
          </a:p>
        </p:txBody>
      </p:sp>
      <p:sp>
        <p:nvSpPr>
          <p:cNvPr id="9" name="Picture Placeholder 14">
            <a:extLst>
              <a:ext uri="{FF2B5EF4-FFF2-40B4-BE49-F238E27FC236}">
                <a16:creationId xmlns:a16="http://schemas.microsoft.com/office/drawing/2014/main" id="{B263C58A-9DDB-29B2-3750-336B24D19EB9}"/>
              </a:ext>
            </a:extLst>
          </p:cNvPr>
          <p:cNvSpPr>
            <a:spLocks noGrp="1"/>
          </p:cNvSpPr>
          <p:nvPr>
            <p:ph type="pic" sz="quarter" idx="10" hasCustomPrompt="1"/>
          </p:nvPr>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4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4"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bg1">
              <a:lumMod val="95000"/>
            </a:schemeClr>
          </a:solidFill>
        </p:spPr>
        <p:txBody>
          <a:bodyPr wrap="square" tIns="1097280" anchor="t" anchorCtr="0">
            <a:noAutofit/>
          </a:bodyPr>
          <a:lstStyle>
            <a:lvl1pPr algn="ctr">
              <a:defRPr sz="1800"/>
            </a:lvl1pPr>
          </a:lstStyle>
          <a:p>
            <a:r>
              <a:rPr lang="en-GB" dirty="0" err="1"/>
              <a:t>Beeld</a:t>
            </a:r>
            <a:endParaRPr lang="en-GB" dirty="0"/>
          </a:p>
        </p:txBody>
      </p:sp>
      <p:sp>
        <p:nvSpPr>
          <p:cNvPr id="11" name="Freeform: Shape 10">
            <a:extLst>
              <a:ext uri="{FF2B5EF4-FFF2-40B4-BE49-F238E27FC236}">
                <a16:creationId xmlns:a16="http://schemas.microsoft.com/office/drawing/2014/main" id="{C35B9E8A-793E-941E-3850-0E98C99A1E9D}"/>
              </a:ext>
            </a:extLst>
          </p:cNvPr>
          <p:cNvSpPr/>
          <p:nvPr userDrawn="1"/>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0 w 4740914"/>
              <a:gd name="connsiteY0" fmla="*/ 685800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589444 w 5330358"/>
              <a:gd name="connsiteY0" fmla="*/ 6858000 h 6858000"/>
              <a:gd name="connsiteX1" fmla="*/ 594525 w 5330358"/>
              <a:gd name="connsiteY1" fmla="*/ 4813300 h 6858000"/>
              <a:gd name="connsiteX2" fmla="*/ 5325277 w 5330358"/>
              <a:gd name="connsiteY2" fmla="*/ 5190 h 6858000"/>
              <a:gd name="connsiteX3" fmla="*/ 5325277 w 5330358"/>
              <a:gd name="connsiteY3" fmla="*/ 0 h 6858000"/>
              <a:gd name="connsiteX4" fmla="*/ 5330358 w 5330358"/>
              <a:gd name="connsiteY4" fmla="*/ 0 h 6858000"/>
              <a:gd name="connsiteX5" fmla="*/ 5330358 w 5330358"/>
              <a:gd name="connsiteY5" fmla="*/ 6858000 h 6858000"/>
              <a:gd name="connsiteX6" fmla="*/ 589444 w 5330358"/>
              <a:gd name="connsiteY6" fmla="*/ 6858000 h 6858000"/>
              <a:gd name="connsiteX0" fmla="*/ 0 w 4740914"/>
              <a:gd name="connsiteY0" fmla="*/ 6858000 h 6858000"/>
              <a:gd name="connsiteX1" fmla="*/ 5081 w 4740914"/>
              <a:gd name="connsiteY1" fmla="*/ 4813300 h 6858000"/>
              <a:gd name="connsiteX2" fmla="*/ 4735833 w 4740914"/>
              <a:gd name="connsiteY2" fmla="*/ 5190 h 6858000"/>
              <a:gd name="connsiteX3" fmla="*/ 4735833 w 4740914"/>
              <a:gd name="connsiteY3" fmla="*/ 0 h 6858000"/>
              <a:gd name="connsiteX4" fmla="*/ 4740914 w 4740914"/>
              <a:gd name="connsiteY4" fmla="*/ 0 h 6858000"/>
              <a:gd name="connsiteX5" fmla="*/ 4740914 w 4740914"/>
              <a:gd name="connsiteY5" fmla="*/ 6858000 h 6858000"/>
              <a:gd name="connsiteX6" fmla="*/ 0 w 474091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0914" h="6858000">
                <a:moveTo>
                  <a:pt x="0" y="6858000"/>
                </a:moveTo>
                <a:cubicBezTo>
                  <a:pt x="1694" y="6176433"/>
                  <a:pt x="3387" y="5494867"/>
                  <a:pt x="5081" y="4813300"/>
                </a:cubicBezTo>
                <a:lnTo>
                  <a:pt x="4735833" y="5190"/>
                </a:lnTo>
                <a:lnTo>
                  <a:pt x="4735833" y="0"/>
                </a:lnTo>
                <a:lnTo>
                  <a:pt x="4740914" y="0"/>
                </a:lnTo>
                <a:lnTo>
                  <a:pt x="4740914" y="6858000"/>
                </a:lnTo>
                <a:lnTo>
                  <a:pt x="0" y="6858000"/>
                </a:lnTo>
                <a:close/>
              </a:path>
            </a:pathLst>
          </a:cu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p>
        </p:txBody>
      </p:sp>
      <p:sp>
        <p:nvSpPr>
          <p:cNvPr id="12" name="Freeform: Shape 11">
            <a:extLst>
              <a:ext uri="{FF2B5EF4-FFF2-40B4-BE49-F238E27FC236}">
                <a16:creationId xmlns:a16="http://schemas.microsoft.com/office/drawing/2014/main" id="{961D8077-1716-C136-BBD0-25609C563BE5}"/>
              </a:ext>
            </a:extLst>
          </p:cNvPr>
          <p:cNvSpPr/>
          <p:nvPr userDrawn="1"/>
        </p:nvSpPr>
        <p:spPr>
          <a:xfrm>
            <a:off x="5414619"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2"/>
          </a:solidFill>
          <a:ln w="12700"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grpSp>
        <p:nvGrpSpPr>
          <p:cNvPr id="2" name="Groep 1">
            <a:extLst>
              <a:ext uri="{FF2B5EF4-FFF2-40B4-BE49-F238E27FC236}">
                <a16:creationId xmlns:a16="http://schemas.microsoft.com/office/drawing/2014/main" id="{B5B0CE25-7EF5-BCAC-6881-8E3210667099}"/>
              </a:ext>
            </a:extLst>
          </p:cNvPr>
          <p:cNvGrpSpPr/>
          <p:nvPr userDrawn="1"/>
        </p:nvGrpSpPr>
        <p:grpSpPr>
          <a:xfrm>
            <a:off x="10015200" y="5839200"/>
            <a:ext cx="1599388" cy="433809"/>
            <a:chOff x="3101010" y="1249096"/>
            <a:chExt cx="3978412" cy="1079079"/>
          </a:xfrm>
          <a:solidFill>
            <a:schemeClr val="bg1"/>
          </a:solidFill>
        </p:grpSpPr>
        <p:sp>
          <p:nvSpPr>
            <p:cNvPr id="3" name="Vrije vorm 2">
              <a:extLst>
                <a:ext uri="{FF2B5EF4-FFF2-40B4-BE49-F238E27FC236}">
                  <a16:creationId xmlns:a16="http://schemas.microsoft.com/office/drawing/2014/main" id="{346568B6-D747-3F61-A774-F12CBDA990FB}"/>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4" name="Vrije vorm 3">
              <a:extLst>
                <a:ext uri="{FF2B5EF4-FFF2-40B4-BE49-F238E27FC236}">
                  <a16:creationId xmlns:a16="http://schemas.microsoft.com/office/drawing/2014/main" id="{6F58666D-28FF-2AB3-F7C2-6F90228334AB}"/>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822A9C3D-C60B-F7EA-F968-84EEF1ECAC10}"/>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12744895-4C30-C2F9-8C77-8887F2102A0C}"/>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3A1D01E3-26C9-6CA3-9822-19438513566B}"/>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24E5FB60-E0FE-F03A-9AA2-86D77A445459}"/>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CBBAC1BA-CAD4-E0EE-FFBD-9DC860AD44B2}"/>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7FCAC004-0A87-58AA-9651-E8012CFDF4C3}"/>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714524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eeld combi I">
    <p:bg>
      <p:bgPr>
        <a:solidFill>
          <a:schemeClr val="bg1"/>
        </a:solidFill>
        <a:effectLst/>
      </p:bgPr>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2C192FED-4A79-2B2A-1DE4-15A1763F7564}"/>
              </a:ext>
            </a:extLst>
          </p:cNvPr>
          <p:cNvSpPr/>
          <p:nvPr userDrawn="1"/>
        </p:nvSpPr>
        <p:spPr>
          <a:xfrm>
            <a:off x="6096000" y="693738"/>
            <a:ext cx="6096000" cy="6164262"/>
          </a:xfrm>
          <a:custGeom>
            <a:avLst/>
            <a:gdLst>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5553754 h 6164262"/>
              <a:gd name="connsiteX5" fmla="*/ 6096000 w 6096000"/>
              <a:gd name="connsiteY5" fmla="*/ 6157913 h 6164262"/>
              <a:gd name="connsiteX6" fmla="*/ 6096000 w 6096000"/>
              <a:gd name="connsiteY6" fmla="*/ 6164262 h 6164262"/>
              <a:gd name="connsiteX7" fmla="*/ 0 w 6096000"/>
              <a:gd name="connsiteY7" fmla="*/ 6164262 h 6164262"/>
              <a:gd name="connsiteX8" fmla="*/ 0 w 6096000"/>
              <a:gd name="connsiteY8" fmla="*/ 6157913 h 6164262"/>
              <a:gd name="connsiteX9" fmla="*/ 0 w 6096000"/>
              <a:gd name="connsiteY9" fmla="*/ 5553754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5553754 h 6164262"/>
              <a:gd name="connsiteX9" fmla="*/ 0 w 6096000"/>
              <a:gd name="connsiteY9" fmla="*/ 0 h 6164262"/>
              <a:gd name="connsiteX0" fmla="*/ 0 w 6096000"/>
              <a:gd name="connsiteY0" fmla="*/ 0 h 6164262"/>
              <a:gd name="connsiteX1" fmla="*/ 119700 w 6096000"/>
              <a:gd name="connsiteY1" fmla="*/ 30729 h 6164262"/>
              <a:gd name="connsiteX2" fmla="*/ 2934617 w 6096000"/>
              <a:gd name="connsiteY2" fmla="*/ 1855677 h 6164262"/>
              <a:gd name="connsiteX3" fmla="*/ 6096000 w 6096000"/>
              <a:gd name="connsiteY3" fmla="*/ 5011920 h 6164262"/>
              <a:gd name="connsiteX4" fmla="*/ 6096000 w 6096000"/>
              <a:gd name="connsiteY4" fmla="*/ 6157913 h 6164262"/>
              <a:gd name="connsiteX5" fmla="*/ 6096000 w 6096000"/>
              <a:gd name="connsiteY5" fmla="*/ 6164262 h 6164262"/>
              <a:gd name="connsiteX6" fmla="*/ 0 w 6096000"/>
              <a:gd name="connsiteY6" fmla="*/ 6164262 h 6164262"/>
              <a:gd name="connsiteX7" fmla="*/ 0 w 6096000"/>
              <a:gd name="connsiteY7" fmla="*/ 6157913 h 6164262"/>
              <a:gd name="connsiteX8" fmla="*/ 0 w 6096000"/>
              <a:gd name="connsiteY8" fmla="*/ 0 h 6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6164262">
                <a:moveTo>
                  <a:pt x="0" y="0"/>
                </a:moveTo>
                <a:lnTo>
                  <a:pt x="119700" y="30729"/>
                </a:lnTo>
                <a:cubicBezTo>
                  <a:pt x="828266" y="229256"/>
                  <a:pt x="1797550" y="720457"/>
                  <a:pt x="2934617" y="1855677"/>
                </a:cubicBezTo>
                <a:lnTo>
                  <a:pt x="6096000" y="5011920"/>
                </a:lnTo>
                <a:lnTo>
                  <a:pt x="6096000" y="6157913"/>
                </a:lnTo>
                <a:lnTo>
                  <a:pt x="6096000" y="6164262"/>
                </a:lnTo>
                <a:lnTo>
                  <a:pt x="0" y="6164262"/>
                </a:lnTo>
                <a:lnTo>
                  <a:pt x="0" y="6157913"/>
                </a:lnTo>
                <a:lnTo>
                  <a:pt x="0" y="0"/>
                </a:lnTo>
                <a:close/>
              </a:path>
            </a:pathLst>
          </a:custGeom>
          <a:solidFill>
            <a:schemeClr val="accent3"/>
          </a:solidFill>
          <a:ln w="12700"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dirty="0" err="1">
              <a:solidFill>
                <a:schemeClr val="tx1"/>
              </a:solidFill>
            </a:endParaRPr>
          </a:p>
        </p:txBody>
      </p:sp>
      <p:sp>
        <p:nvSpPr>
          <p:cNvPr id="6" name="Freeform: Shape 5">
            <a:extLst>
              <a:ext uri="{FF2B5EF4-FFF2-40B4-BE49-F238E27FC236}">
                <a16:creationId xmlns:a16="http://schemas.microsoft.com/office/drawing/2014/main" id="{25776F8F-2CCE-8AA3-EBD8-E9D64243ED70}"/>
              </a:ext>
            </a:extLst>
          </p:cNvPr>
          <p:cNvSpPr/>
          <p:nvPr userDrawn="1"/>
        </p:nvSpPr>
        <p:spPr>
          <a:xfrm>
            <a:off x="0" y="0"/>
            <a:ext cx="6096000" cy="3733928"/>
          </a:xfrm>
          <a:custGeom>
            <a:avLst/>
            <a:gdLst>
              <a:gd name="connsiteX0" fmla="*/ 0 w 6096000"/>
              <a:gd name="connsiteY0" fmla="*/ 0 h 3724403"/>
              <a:gd name="connsiteX1" fmla="*/ 6096000 w 6096000"/>
              <a:gd name="connsiteY1" fmla="*/ 0 h 3724403"/>
              <a:gd name="connsiteX2" fmla="*/ 6096000 w 6096000"/>
              <a:gd name="connsiteY2" fmla="*/ 691737 h 3724403"/>
              <a:gd name="connsiteX3" fmla="*/ 6076028 w 6096000"/>
              <a:gd name="connsiteY3" fmla="*/ 686601 h 3724403"/>
              <a:gd name="connsiteX4" fmla="*/ 5788026 w 6096000"/>
              <a:gd name="connsiteY4" fmla="*/ 632460 h 3724403"/>
              <a:gd name="connsiteX5" fmla="*/ 1054101 w 6096000"/>
              <a:gd name="connsiteY5" fmla="*/ 2286635 h 3724403"/>
              <a:gd name="connsiteX6" fmla="*/ 132428 w 6096000"/>
              <a:gd name="connsiteY6" fmla="*/ 3480118 h 3724403"/>
              <a:gd name="connsiteX7" fmla="*/ 0 w 6096000"/>
              <a:gd name="connsiteY7" fmla="*/ 3724403 h 3724403"/>
              <a:gd name="connsiteX8" fmla="*/ 0 w 6096000"/>
              <a:gd name="connsiteY8" fmla="*/ 0 h 372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0" h="3724403">
                <a:moveTo>
                  <a:pt x="0" y="0"/>
                </a:moveTo>
                <a:lnTo>
                  <a:pt x="6096000" y="0"/>
                </a:lnTo>
                <a:lnTo>
                  <a:pt x="6096000" y="691737"/>
                </a:lnTo>
                <a:lnTo>
                  <a:pt x="6076028" y="686601"/>
                </a:lnTo>
                <a:cubicBezTo>
                  <a:pt x="5973595" y="662702"/>
                  <a:pt x="5877482" y="645081"/>
                  <a:pt x="5788026" y="632460"/>
                </a:cubicBezTo>
                <a:cubicBezTo>
                  <a:pt x="4488816" y="442595"/>
                  <a:pt x="2562861" y="777875"/>
                  <a:pt x="1054101" y="2286635"/>
                </a:cubicBezTo>
                <a:cubicBezTo>
                  <a:pt x="676911" y="2663825"/>
                  <a:pt x="373064" y="3067090"/>
                  <a:pt x="132428" y="3480118"/>
                </a:cubicBezTo>
                <a:lnTo>
                  <a:pt x="0" y="3724403"/>
                </a:lnTo>
                <a:lnTo>
                  <a:pt x="0" y="0"/>
                </a:lnTo>
                <a:close/>
              </a:path>
            </a:pathLst>
          </a:custGeom>
          <a:solidFill>
            <a:srgbClr val="007D7D"/>
          </a:solidFill>
          <a:ln w="12700" cap="flat">
            <a:solidFill>
              <a:srgbClr val="007D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9" name="Picture Placeholder 8">
            <a:extLst>
              <a:ext uri="{FF2B5EF4-FFF2-40B4-BE49-F238E27FC236}">
                <a16:creationId xmlns:a16="http://schemas.microsoft.com/office/drawing/2014/main" id="{24F755E1-3742-C717-F70D-63D4201C2887}"/>
              </a:ext>
            </a:extLst>
          </p:cNvPr>
          <p:cNvSpPr>
            <a:spLocks noGrp="1"/>
          </p:cNvSpPr>
          <p:nvPr>
            <p:ph type="pic" sz="quarter" idx="11"/>
          </p:nvPr>
        </p:nvSpPr>
        <p:spPr>
          <a:xfrm>
            <a:off x="6096000" y="0"/>
            <a:ext cx="6096000" cy="5705659"/>
          </a:xfrm>
          <a:custGeom>
            <a:avLst/>
            <a:gdLst>
              <a:gd name="connsiteX0" fmla="*/ 0 w 6096000"/>
              <a:gd name="connsiteY0" fmla="*/ 0 h 5705659"/>
              <a:gd name="connsiteX1" fmla="*/ 6096000 w 6096000"/>
              <a:gd name="connsiteY1" fmla="*/ 0 h 5705659"/>
              <a:gd name="connsiteX2" fmla="*/ 6096000 w 6096000"/>
              <a:gd name="connsiteY2" fmla="*/ 5705659 h 5705659"/>
              <a:gd name="connsiteX3" fmla="*/ 2934617 w 6096000"/>
              <a:gd name="connsiteY3" fmla="*/ 2549416 h 5705659"/>
              <a:gd name="connsiteX4" fmla="*/ 119700 w 6096000"/>
              <a:gd name="connsiteY4" fmla="*/ 724468 h 5705659"/>
              <a:gd name="connsiteX5" fmla="*/ 0 w 6096000"/>
              <a:gd name="connsiteY5" fmla="*/ 693739 h 570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5705659">
                <a:moveTo>
                  <a:pt x="0" y="0"/>
                </a:moveTo>
                <a:lnTo>
                  <a:pt x="6096000" y="0"/>
                </a:lnTo>
                <a:lnTo>
                  <a:pt x="6096000" y="5705659"/>
                </a:lnTo>
                <a:lnTo>
                  <a:pt x="2934617" y="2549416"/>
                </a:lnTo>
                <a:cubicBezTo>
                  <a:pt x="1797550" y="1414196"/>
                  <a:pt x="828266" y="922995"/>
                  <a:pt x="119700" y="724468"/>
                </a:cubicBezTo>
                <a:lnTo>
                  <a:pt x="0" y="693739"/>
                </a:lnTo>
                <a:close/>
              </a:path>
            </a:pathLst>
          </a:custGeom>
          <a:solidFill>
            <a:schemeClr val="bg1">
              <a:lumMod val="95000"/>
            </a:schemeClr>
          </a:solidFill>
        </p:spPr>
        <p:txBody>
          <a:bodyPr wrap="square" lIns="0" tIns="109728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dirty="0"/>
              <a:t>Klik op het pictogram als u een afbeelding wilt toevoegen</a:t>
            </a:r>
            <a:endParaRPr lang="en-GB" dirty="0"/>
          </a:p>
        </p:txBody>
      </p:sp>
      <p:sp>
        <p:nvSpPr>
          <p:cNvPr id="10" name="Picture Placeholder 2">
            <a:extLst>
              <a:ext uri="{FF2B5EF4-FFF2-40B4-BE49-F238E27FC236}">
                <a16:creationId xmlns:a16="http://schemas.microsoft.com/office/drawing/2014/main" id="{BF674E6D-FFF3-0400-36F2-63C8D7905006}"/>
              </a:ext>
            </a:extLst>
          </p:cNvPr>
          <p:cNvSpPr>
            <a:spLocks noGrp="1"/>
          </p:cNvSpPr>
          <p:nvPr>
            <p:ph type="pic" sz="quarter" idx="10"/>
          </p:nvPr>
        </p:nvSpPr>
        <p:spPr>
          <a:xfrm>
            <a:off x="0" y="585773"/>
            <a:ext cx="6096000" cy="6272226"/>
          </a:xfrm>
          <a:custGeom>
            <a:avLst/>
            <a:gdLst>
              <a:gd name="connsiteX0" fmla="*/ 5205643 w 6096000"/>
              <a:gd name="connsiteY0" fmla="*/ 1043 h 6272226"/>
              <a:gd name="connsiteX1" fmla="*/ 5788026 w 6096000"/>
              <a:gd name="connsiteY1" fmla="*/ 48305 h 6272226"/>
              <a:gd name="connsiteX2" fmla="*/ 6076028 w 6096000"/>
              <a:gd name="connsiteY2" fmla="*/ 102584 h 6272226"/>
              <a:gd name="connsiteX3" fmla="*/ 6096000 w 6096000"/>
              <a:gd name="connsiteY3" fmla="*/ 107733 h 6272226"/>
              <a:gd name="connsiteX4" fmla="*/ 6096000 w 6096000"/>
              <a:gd name="connsiteY4" fmla="*/ 6272226 h 6272226"/>
              <a:gd name="connsiteX5" fmla="*/ 0 w 6096000"/>
              <a:gd name="connsiteY5" fmla="*/ 6272226 h 6272226"/>
              <a:gd name="connsiteX6" fmla="*/ 0 w 6096000"/>
              <a:gd name="connsiteY6" fmla="*/ 3148155 h 6272226"/>
              <a:gd name="connsiteX7" fmla="*/ 132428 w 6096000"/>
              <a:gd name="connsiteY7" fmla="*/ 2903245 h 6272226"/>
              <a:gd name="connsiteX8" fmla="*/ 1054101 w 6096000"/>
              <a:gd name="connsiteY8" fmla="*/ 1706710 h 6272226"/>
              <a:gd name="connsiteX9" fmla="*/ 4998000 w 6096000"/>
              <a:gd name="connsiteY9" fmla="*/ 1045 h 6272226"/>
              <a:gd name="connsiteX10" fmla="*/ 5205643 w 6096000"/>
              <a:gd name="connsiteY10" fmla="*/ 1043 h 627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272226">
                <a:moveTo>
                  <a:pt x="5205643" y="1043"/>
                </a:moveTo>
                <a:cubicBezTo>
                  <a:pt x="5410229" y="5180"/>
                  <a:pt x="5605325" y="21537"/>
                  <a:pt x="5788026" y="48305"/>
                </a:cubicBezTo>
                <a:cubicBezTo>
                  <a:pt x="5877482" y="60958"/>
                  <a:pt x="5973595" y="78624"/>
                  <a:pt x="6076028" y="102584"/>
                </a:cubicBezTo>
                <a:lnTo>
                  <a:pt x="6096000" y="107733"/>
                </a:lnTo>
                <a:lnTo>
                  <a:pt x="6096000" y="6272226"/>
                </a:lnTo>
                <a:lnTo>
                  <a:pt x="0" y="6272226"/>
                </a:lnTo>
                <a:lnTo>
                  <a:pt x="0" y="3148155"/>
                </a:lnTo>
                <a:lnTo>
                  <a:pt x="132428" y="2903245"/>
                </a:lnTo>
                <a:cubicBezTo>
                  <a:pt x="373064" y="2489161"/>
                  <a:pt x="676911" y="2084865"/>
                  <a:pt x="1054101" y="1706710"/>
                </a:cubicBezTo>
                <a:cubicBezTo>
                  <a:pt x="2279969" y="477707"/>
                  <a:pt x="3781250" y="25366"/>
                  <a:pt x="4998000" y="1045"/>
                </a:cubicBezTo>
                <a:cubicBezTo>
                  <a:pt x="5068197" y="-358"/>
                  <a:pt x="5137447" y="-336"/>
                  <a:pt x="5205643" y="1043"/>
                </a:cubicBezTo>
                <a:close/>
              </a:path>
            </a:pathLst>
          </a:custGeom>
          <a:solidFill>
            <a:schemeClr val="bg1">
              <a:lumMod val="95000"/>
            </a:schemeClr>
          </a:solidFill>
        </p:spPr>
        <p:txBody>
          <a:bodyPr wrap="square" tIns="109728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0" name="TextBox 19">
            <a:extLst>
              <a:ext uri="{FF2B5EF4-FFF2-40B4-BE49-F238E27FC236}">
                <a16:creationId xmlns:a16="http://schemas.microsoft.com/office/drawing/2014/main" id="{878DA228-6208-315D-1130-7602FC0E826E}"/>
              </a:ext>
            </a:extLst>
          </p:cNvPr>
          <p:cNvSpPr txBox="1"/>
          <p:nvPr/>
        </p:nvSpPr>
        <p:spPr>
          <a:xfrm>
            <a:off x="8443721" y="2865654"/>
            <a:ext cx="436880" cy="1185771"/>
          </a:xfrm>
          <a:prstGeom prst="rect">
            <a:avLst/>
          </a:prstGeom>
          <a:noFill/>
        </p:spPr>
        <p:txBody>
          <a:bodyPr wrap="none" lIns="0" tIns="0" rIns="0" bIns="0" rtlCol="0">
            <a:spAutoFit/>
          </a:bodyPr>
          <a:lstStyle/>
          <a:p>
            <a:pPr algn="l"/>
            <a:r>
              <a:rPr lang="en-GB" sz="14500" spc="0" baseline="0" dirty="0" err="1">
                <a:ln/>
                <a:solidFill>
                  <a:srgbClr val="6DBE45"/>
                </a:solidFill>
                <a:latin typeface="Arial"/>
                <a:cs typeface="Arial"/>
                <a:sym typeface="Arial"/>
                <a:rtl val="0"/>
              </a:rPr>
              <a:t> </a:t>
            </a:r>
          </a:p>
        </p:txBody>
      </p:sp>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2" name="Freeform: Shape 1">
            <a:extLst>
              <a:ext uri="{FF2B5EF4-FFF2-40B4-BE49-F238E27FC236}">
                <a16:creationId xmlns:a16="http://schemas.microsoft.com/office/drawing/2014/main" id="{CE8AC93A-8487-6606-A146-CBBB8D65913D}"/>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4" name="Freeform: Shape 3">
            <a:extLst>
              <a:ext uri="{FF2B5EF4-FFF2-40B4-BE49-F238E27FC236}">
                <a16:creationId xmlns:a16="http://schemas.microsoft.com/office/drawing/2014/main" id="{72774BA4-5BB5-F049-2C2F-8505A6E3D0EC}"/>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grpSp>
        <p:nvGrpSpPr>
          <p:cNvPr id="3" name="Groep 2">
            <a:extLst>
              <a:ext uri="{FF2B5EF4-FFF2-40B4-BE49-F238E27FC236}">
                <a16:creationId xmlns:a16="http://schemas.microsoft.com/office/drawing/2014/main" id="{51777BCD-98A7-CFF6-B016-44426407BC4D}"/>
              </a:ext>
            </a:extLst>
          </p:cNvPr>
          <p:cNvGrpSpPr/>
          <p:nvPr userDrawn="1"/>
        </p:nvGrpSpPr>
        <p:grpSpPr>
          <a:xfrm>
            <a:off x="10014482" y="5839298"/>
            <a:ext cx="1599388" cy="433809"/>
            <a:chOff x="3101010" y="1249096"/>
            <a:chExt cx="3978412" cy="1079079"/>
          </a:xfrm>
          <a:solidFill>
            <a:schemeClr val="bg1"/>
          </a:solidFill>
        </p:grpSpPr>
        <p:sp>
          <p:nvSpPr>
            <p:cNvPr id="7" name="Vrije vorm 6">
              <a:extLst>
                <a:ext uri="{FF2B5EF4-FFF2-40B4-BE49-F238E27FC236}">
                  <a16:creationId xmlns:a16="http://schemas.microsoft.com/office/drawing/2014/main" id="{99F1A110-79DE-4345-C5B8-B1B96E56F708}"/>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B12AB30F-6434-77B2-B3F6-85220FC29892}"/>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0D3E8387-3F39-59D1-C780-6AB23B44FA85}"/>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CFEAC7F8-6237-4B2E-93AF-8FE213B5DF6F}"/>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FF186923-722B-CFFF-E56D-BD2B6952F990}"/>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78BAED32-DEA1-53BA-37AA-2AC9970DDF1A}"/>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7F49FBB9-E210-A1CD-55C1-E5AD20B83967}"/>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AB4948C3-BBFF-43D9-7648-19DE247BCA9C}"/>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7" name="Subtitle 2">
            <a:extLst>
              <a:ext uri="{FF2B5EF4-FFF2-40B4-BE49-F238E27FC236}">
                <a16:creationId xmlns:a16="http://schemas.microsoft.com/office/drawing/2014/main" id="{8629DD47-84EC-C941-17B6-6283F8864723}"/>
              </a:ext>
            </a:extLst>
          </p:cNvPr>
          <p:cNvSpPr>
            <a:spLocks noGrp="1"/>
          </p:cNvSpPr>
          <p:nvPr>
            <p:ph type="subTitle" idx="1" hasCustomPrompt="1"/>
          </p:nvPr>
        </p:nvSpPr>
        <p:spPr>
          <a:xfrm>
            <a:off x="6588049" y="4597046"/>
            <a:ext cx="5016576" cy="769441"/>
          </a:xfrm>
          <a:noFill/>
        </p:spPr>
        <p:txBody>
          <a:bodyPr wrap="square" anchor="b" anchorCtr="0">
            <a:spAutoFit/>
          </a:bodyPr>
          <a:lstStyle>
            <a:lvl1pPr marL="0" indent="0" algn="l">
              <a:buNone/>
              <a:defRPr sz="50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Titel</a:t>
            </a:r>
          </a:p>
        </p:txBody>
      </p:sp>
    </p:spTree>
    <p:extLst>
      <p:ext uri="{BB962C8B-B14F-4D97-AF65-F5344CB8AC3E}">
        <p14:creationId xmlns:p14="http://schemas.microsoft.com/office/powerpoint/2010/main" val="143444726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eeld combi II">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E775B6B0-4DD2-A796-A1FD-3F14892B3001}"/>
              </a:ext>
            </a:extLst>
          </p:cNvPr>
          <p:cNvSpPr/>
          <p:nvPr/>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2" name="Freeform: Shape 1">
            <a:extLst>
              <a:ext uri="{FF2B5EF4-FFF2-40B4-BE49-F238E27FC236}">
                <a16:creationId xmlns:a16="http://schemas.microsoft.com/office/drawing/2014/main" id="{E3307B83-DBC3-7D62-5A15-A61F544B5BF7}"/>
              </a:ext>
            </a:extLst>
          </p:cNvPr>
          <p:cNvSpPr/>
          <p:nvPr userDrawn="1"/>
        </p:nvSpPr>
        <p:spPr>
          <a:xfrm>
            <a:off x="-279401" y="-17734936"/>
            <a:ext cx="6350" cy="6350"/>
          </a:xfrm>
          <a:custGeom>
            <a:avLst/>
            <a:gdLst/>
            <a:ahLst/>
            <a:cxnLst/>
            <a:rect l="l" t="t" r="r" b="b"/>
            <a:pathLst>
              <a:path w="6350" h="6350"/>
            </a:pathLst>
          </a:custGeom>
          <a:solidFill>
            <a:srgbClr val="D18BBC"/>
          </a:solidFill>
          <a:ln w="6348" cap="flat">
            <a:noFill/>
            <a:prstDash val="solid"/>
            <a:miter/>
          </a:ln>
        </p:spPr>
        <p:txBody>
          <a:bodyPr rtlCol="0" anchor="ctr"/>
          <a:lstStyle/>
          <a:p>
            <a:endParaRPr lang="en-GB"/>
          </a:p>
        </p:txBody>
      </p:sp>
      <p:sp>
        <p:nvSpPr>
          <p:cNvPr id="3" name="Picture Placeholder 16">
            <a:extLst>
              <a:ext uri="{FF2B5EF4-FFF2-40B4-BE49-F238E27FC236}">
                <a16:creationId xmlns:a16="http://schemas.microsoft.com/office/drawing/2014/main" id="{0F3F83B8-F1DF-3F06-9CE1-76864D54D29C}"/>
              </a:ext>
            </a:extLst>
          </p:cNvPr>
          <p:cNvSpPr>
            <a:spLocks noGrp="1"/>
          </p:cNvSpPr>
          <p:nvPr>
            <p:ph type="pic" sz="quarter" idx="11" hasCustomPrompt="1"/>
          </p:nvPr>
        </p:nvSpPr>
        <p:spPr>
          <a:xfrm>
            <a:off x="7451086" y="0"/>
            <a:ext cx="4740914" cy="6858000"/>
          </a:xfrm>
          <a:custGeom>
            <a:avLst/>
            <a:gdLst>
              <a:gd name="connsiteX0" fmla="*/ 0 w 4740914"/>
              <a:gd name="connsiteY0" fmla="*/ 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0 w 4740914"/>
              <a:gd name="connsiteY0" fmla="*/ 6858000 h 6858000"/>
              <a:gd name="connsiteX1" fmla="*/ 5081 w 4740914"/>
              <a:gd name="connsiteY1" fmla="*/ 0 h 6858000"/>
              <a:gd name="connsiteX2" fmla="*/ 5081 w 4740914"/>
              <a:gd name="connsiteY2" fmla="*/ 4813300 h 6858000"/>
              <a:gd name="connsiteX3" fmla="*/ 4735833 w 4740914"/>
              <a:gd name="connsiteY3" fmla="*/ 5190 h 6858000"/>
              <a:gd name="connsiteX4" fmla="*/ 4735833 w 4740914"/>
              <a:gd name="connsiteY4" fmla="*/ 0 h 6858000"/>
              <a:gd name="connsiteX5" fmla="*/ 4740914 w 4740914"/>
              <a:gd name="connsiteY5" fmla="*/ 0 h 6858000"/>
              <a:gd name="connsiteX6" fmla="*/ 4740914 w 4740914"/>
              <a:gd name="connsiteY6" fmla="*/ 6858000 h 6858000"/>
              <a:gd name="connsiteX7" fmla="*/ 0 w 4740914"/>
              <a:gd name="connsiteY7" fmla="*/ 6858000 h 6858000"/>
              <a:gd name="connsiteX0" fmla="*/ 589444 w 5330358"/>
              <a:gd name="connsiteY0" fmla="*/ 6858000 h 6858000"/>
              <a:gd name="connsiteX1" fmla="*/ 594525 w 5330358"/>
              <a:gd name="connsiteY1" fmla="*/ 4813300 h 6858000"/>
              <a:gd name="connsiteX2" fmla="*/ 5325277 w 5330358"/>
              <a:gd name="connsiteY2" fmla="*/ 5190 h 6858000"/>
              <a:gd name="connsiteX3" fmla="*/ 5325277 w 5330358"/>
              <a:gd name="connsiteY3" fmla="*/ 0 h 6858000"/>
              <a:gd name="connsiteX4" fmla="*/ 5330358 w 5330358"/>
              <a:gd name="connsiteY4" fmla="*/ 0 h 6858000"/>
              <a:gd name="connsiteX5" fmla="*/ 5330358 w 5330358"/>
              <a:gd name="connsiteY5" fmla="*/ 6858000 h 6858000"/>
              <a:gd name="connsiteX6" fmla="*/ 589444 w 5330358"/>
              <a:gd name="connsiteY6" fmla="*/ 6858000 h 6858000"/>
              <a:gd name="connsiteX0" fmla="*/ 0 w 4740914"/>
              <a:gd name="connsiteY0" fmla="*/ 6858000 h 6858000"/>
              <a:gd name="connsiteX1" fmla="*/ 5081 w 4740914"/>
              <a:gd name="connsiteY1" fmla="*/ 4813300 h 6858000"/>
              <a:gd name="connsiteX2" fmla="*/ 4735833 w 4740914"/>
              <a:gd name="connsiteY2" fmla="*/ 5190 h 6858000"/>
              <a:gd name="connsiteX3" fmla="*/ 4735833 w 4740914"/>
              <a:gd name="connsiteY3" fmla="*/ 0 h 6858000"/>
              <a:gd name="connsiteX4" fmla="*/ 4740914 w 4740914"/>
              <a:gd name="connsiteY4" fmla="*/ 0 h 6858000"/>
              <a:gd name="connsiteX5" fmla="*/ 4740914 w 4740914"/>
              <a:gd name="connsiteY5" fmla="*/ 6858000 h 6858000"/>
              <a:gd name="connsiteX6" fmla="*/ 0 w 474091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0914" h="6858000">
                <a:moveTo>
                  <a:pt x="0" y="6858000"/>
                </a:moveTo>
                <a:cubicBezTo>
                  <a:pt x="1694" y="6176433"/>
                  <a:pt x="3387" y="5494867"/>
                  <a:pt x="5081" y="4813300"/>
                </a:cubicBezTo>
                <a:lnTo>
                  <a:pt x="4735833" y="5190"/>
                </a:lnTo>
                <a:lnTo>
                  <a:pt x="4735833" y="0"/>
                </a:lnTo>
                <a:lnTo>
                  <a:pt x="4740914" y="0"/>
                </a:lnTo>
                <a:lnTo>
                  <a:pt x="4740914" y="6858000"/>
                </a:lnTo>
                <a:lnTo>
                  <a:pt x="0" y="6858000"/>
                </a:lnTo>
                <a:close/>
              </a:path>
            </a:pathLst>
          </a:custGeom>
          <a:solidFill>
            <a:schemeClr val="bg1">
              <a:lumMod val="95000"/>
            </a:schemeClr>
          </a:solidFill>
        </p:spPr>
        <p:txBody>
          <a:bodyPr wrap="square" bIns="731520" anchor="b" anchorCtr="0">
            <a:noAutofit/>
          </a:bodyPr>
          <a:lstStyle>
            <a:lvl1pPr algn="ctr">
              <a:defRPr sz="1800"/>
            </a:lvl1pPr>
          </a:lstStyle>
          <a:p>
            <a:r>
              <a:rPr lang="en-GB" dirty="0" err="1"/>
              <a:t>Beeld</a:t>
            </a:r>
            <a:endParaRPr lang="en-GB" dirty="0"/>
          </a:p>
        </p:txBody>
      </p:sp>
      <p:sp>
        <p:nvSpPr>
          <p:cNvPr id="5" name="Freeform: Shape 4">
            <a:extLst>
              <a:ext uri="{FF2B5EF4-FFF2-40B4-BE49-F238E27FC236}">
                <a16:creationId xmlns:a16="http://schemas.microsoft.com/office/drawing/2014/main" id="{4446B1C0-15D9-F2CA-72FD-FAAE18B0F47D}"/>
              </a:ext>
            </a:extLst>
          </p:cNvPr>
          <p:cNvSpPr/>
          <p:nvPr userDrawn="1"/>
        </p:nvSpPr>
        <p:spPr>
          <a:xfrm>
            <a:off x="0" y="0"/>
            <a:ext cx="5757646" cy="6858000"/>
          </a:xfrm>
          <a:custGeom>
            <a:avLst/>
            <a:gdLst>
              <a:gd name="connsiteX0" fmla="*/ 0 w 5757646"/>
              <a:gd name="connsiteY0" fmla="*/ 0 h 6858000"/>
              <a:gd name="connsiteX1" fmla="*/ 5757646 w 5757646"/>
              <a:gd name="connsiteY1" fmla="*/ 0 h 6858000"/>
              <a:gd name="connsiteX2" fmla="*/ 2313628 w 5757646"/>
              <a:gd name="connsiteY2" fmla="*/ 889901 h 6858000"/>
              <a:gd name="connsiteX3" fmla="*/ 261635 w 5757646"/>
              <a:gd name="connsiteY3" fmla="*/ 5146761 h 6858000"/>
              <a:gd name="connsiteX4" fmla="*/ 442785 w 5757646"/>
              <a:gd name="connsiteY4" fmla="*/ 6556283 h 6858000"/>
              <a:gd name="connsiteX5" fmla="*/ 532384 w 5757646"/>
              <a:gd name="connsiteY5" fmla="*/ 6858000 h 6858000"/>
              <a:gd name="connsiteX6" fmla="*/ 0 w 5757646"/>
              <a:gd name="connsiteY6" fmla="*/ 6858000 h 6858000"/>
              <a:gd name="connsiteX7" fmla="*/ 0 w 575764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646" h="6858000">
                <a:moveTo>
                  <a:pt x="0" y="0"/>
                </a:moveTo>
                <a:lnTo>
                  <a:pt x="5757646" y="0"/>
                </a:lnTo>
                <a:cubicBezTo>
                  <a:pt x="3898919" y="0"/>
                  <a:pt x="2858009" y="480373"/>
                  <a:pt x="2313628" y="889901"/>
                </a:cubicBezTo>
                <a:cubicBezTo>
                  <a:pt x="1321811" y="1629414"/>
                  <a:pt x="261635" y="3135783"/>
                  <a:pt x="261635" y="5146761"/>
                </a:cubicBezTo>
                <a:cubicBezTo>
                  <a:pt x="261635" y="5649506"/>
                  <a:pt x="327896" y="6120712"/>
                  <a:pt x="442785" y="6556283"/>
                </a:cubicBezTo>
                <a:lnTo>
                  <a:pt x="532384" y="6858000"/>
                </a:lnTo>
                <a:lnTo>
                  <a:pt x="0" y="6858000"/>
                </a:lnTo>
                <a:lnTo>
                  <a:pt x="0" y="0"/>
                </a:lnTo>
                <a:close/>
              </a:path>
            </a:pathLst>
          </a:custGeom>
          <a:solidFill>
            <a:schemeClr val="accent3"/>
          </a:solidFill>
          <a:ln w="12700" cap="flat">
            <a:solidFill>
              <a:schemeClr val="accent3"/>
            </a:solidFill>
            <a:prstDash val="solid"/>
            <a:miter/>
          </a:ln>
        </p:spPr>
        <p:txBody>
          <a:bodyPr rtlCol="0" anchor="ctr"/>
          <a:lstStyle/>
          <a:p>
            <a:pPr lvl="0"/>
            <a:endParaRPr lang="en-GB"/>
          </a:p>
        </p:txBody>
      </p:sp>
      <p:sp>
        <p:nvSpPr>
          <p:cNvPr id="6" name="Freeform: Shape 5">
            <a:extLst>
              <a:ext uri="{FF2B5EF4-FFF2-40B4-BE49-F238E27FC236}">
                <a16:creationId xmlns:a16="http://schemas.microsoft.com/office/drawing/2014/main" id="{9ABB4701-D74D-5E59-D292-17E5679479BF}"/>
              </a:ext>
            </a:extLst>
          </p:cNvPr>
          <p:cNvSpPr/>
          <p:nvPr userDrawn="1"/>
        </p:nvSpPr>
        <p:spPr>
          <a:xfrm>
            <a:off x="7456167" y="0"/>
            <a:ext cx="4730752" cy="4813300"/>
          </a:xfrm>
          <a:custGeom>
            <a:avLst/>
            <a:gdLst>
              <a:gd name="connsiteX0" fmla="*/ 0 w 4730752"/>
              <a:gd name="connsiteY0" fmla="*/ 0 h 4736166"/>
              <a:gd name="connsiteX1" fmla="*/ 4730752 w 4730752"/>
              <a:gd name="connsiteY1" fmla="*/ 0 h 4736166"/>
              <a:gd name="connsiteX2" fmla="*/ 4730752 w 4730752"/>
              <a:gd name="connsiteY2" fmla="*/ 5107 h 4736166"/>
              <a:gd name="connsiteX3" fmla="*/ 0 w 4730752"/>
              <a:gd name="connsiteY3" fmla="*/ 4736166 h 4736166"/>
            </a:gdLst>
            <a:ahLst/>
            <a:cxnLst>
              <a:cxn ang="0">
                <a:pos x="connsiteX0" y="connsiteY0"/>
              </a:cxn>
              <a:cxn ang="0">
                <a:pos x="connsiteX1" y="connsiteY1"/>
              </a:cxn>
              <a:cxn ang="0">
                <a:pos x="connsiteX2" y="connsiteY2"/>
              </a:cxn>
              <a:cxn ang="0">
                <a:pos x="connsiteX3" y="connsiteY3"/>
              </a:cxn>
            </a:cxnLst>
            <a:rect l="l" t="t" r="r" b="b"/>
            <a:pathLst>
              <a:path w="4730752" h="4736166">
                <a:moveTo>
                  <a:pt x="0" y="0"/>
                </a:moveTo>
                <a:lnTo>
                  <a:pt x="4730752" y="0"/>
                </a:lnTo>
                <a:lnTo>
                  <a:pt x="4730752" y="5107"/>
                </a:lnTo>
                <a:lnTo>
                  <a:pt x="0" y="4736166"/>
                </a:lnTo>
                <a:close/>
              </a:path>
            </a:pathLst>
          </a:custGeom>
          <a:solidFill>
            <a:srgbClr val="007D7D"/>
          </a:solidFill>
          <a:ln w="12700" cap="flat">
            <a:solidFill>
              <a:srgbClr val="007D7D"/>
            </a:solidFill>
            <a:prstDash val="solid"/>
            <a:miter/>
          </a:ln>
        </p:spPr>
        <p:txBody>
          <a:bodyPr rtlCol="0" anchor="ctr"/>
          <a:lstStyle/>
          <a:p>
            <a:pPr lvl="0"/>
            <a:endParaRPr lang="en-GB"/>
          </a:p>
        </p:txBody>
      </p:sp>
      <p:sp>
        <p:nvSpPr>
          <p:cNvPr id="7" name="Freeform: Shape 6">
            <a:extLst>
              <a:ext uri="{FF2B5EF4-FFF2-40B4-BE49-F238E27FC236}">
                <a16:creationId xmlns:a16="http://schemas.microsoft.com/office/drawing/2014/main" id="{D06DBBCB-A858-8C7A-9509-4DCFC2A4B3AF}"/>
              </a:ext>
            </a:extLst>
          </p:cNvPr>
          <p:cNvSpPr/>
          <p:nvPr userDrawn="1"/>
        </p:nvSpPr>
        <p:spPr>
          <a:xfrm>
            <a:off x="5414619" y="4815680"/>
            <a:ext cx="2041548" cy="2042320"/>
          </a:xfrm>
          <a:custGeom>
            <a:avLst/>
            <a:gdLst>
              <a:gd name="connsiteX0" fmla="*/ 2041548 w 2041548"/>
              <a:gd name="connsiteY0" fmla="*/ 0 h 2042320"/>
              <a:gd name="connsiteX1" fmla="*/ 2039316 w 2041548"/>
              <a:gd name="connsiteY1" fmla="*/ 2042320 h 2042320"/>
              <a:gd name="connsiteX2" fmla="*/ 0 w 2041548"/>
              <a:gd name="connsiteY2" fmla="*/ 2042320 h 2042320"/>
              <a:gd name="connsiteX3" fmla="*/ 488150 w 2041548"/>
              <a:gd name="connsiteY3" fmla="*/ 1549297 h 2042320"/>
              <a:gd name="connsiteX4" fmla="*/ 2041548 w 2041548"/>
              <a:gd name="connsiteY4" fmla="*/ 0 h 20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548" h="2042320">
                <a:moveTo>
                  <a:pt x="2041548" y="0"/>
                </a:moveTo>
                <a:lnTo>
                  <a:pt x="2039316" y="2042320"/>
                </a:lnTo>
                <a:lnTo>
                  <a:pt x="0" y="2042320"/>
                </a:lnTo>
                <a:lnTo>
                  <a:pt x="488150" y="1549297"/>
                </a:lnTo>
                <a:cubicBezTo>
                  <a:pt x="1005949" y="1032864"/>
                  <a:pt x="1539603" y="515131"/>
                  <a:pt x="2041548" y="0"/>
                </a:cubicBezTo>
                <a:close/>
              </a:path>
            </a:pathLst>
          </a:custGeom>
          <a:solidFill>
            <a:schemeClr val="accent2"/>
          </a:solidFill>
          <a:ln w="19050"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8" name="Picture Placeholder 14">
            <a:extLst>
              <a:ext uri="{FF2B5EF4-FFF2-40B4-BE49-F238E27FC236}">
                <a16:creationId xmlns:a16="http://schemas.microsoft.com/office/drawing/2014/main" id="{12BD120E-42F7-F9A4-6792-01EA17A07D96}"/>
              </a:ext>
            </a:extLst>
          </p:cNvPr>
          <p:cNvSpPr>
            <a:spLocks noGrp="1"/>
          </p:cNvSpPr>
          <p:nvPr>
            <p:ph type="pic" sz="quarter" idx="10" hasCustomPrompt="1"/>
          </p:nvPr>
        </p:nvSpPr>
        <p:spPr>
          <a:xfrm>
            <a:off x="261635" y="0"/>
            <a:ext cx="7194532" cy="6858000"/>
          </a:xfrm>
          <a:custGeom>
            <a:avLst/>
            <a:gdLst>
              <a:gd name="connsiteX0" fmla="*/ 5496011 w 7194532"/>
              <a:gd name="connsiteY0" fmla="*/ 0 h 6858000"/>
              <a:gd name="connsiteX1" fmla="*/ 7194532 w 7194532"/>
              <a:gd name="connsiteY1" fmla="*/ 0 h 6858000"/>
              <a:gd name="connsiteX2" fmla="*/ 7194532 w 7194532"/>
              <a:gd name="connsiteY2" fmla="*/ 4833912 h 6858000"/>
              <a:gd name="connsiteX3" fmla="*/ 7189426 w 7194532"/>
              <a:gd name="connsiteY3" fmla="*/ 4839019 h 6858000"/>
              <a:gd name="connsiteX4" fmla="*/ 7189451 w 7194532"/>
              <a:gd name="connsiteY4" fmla="*/ 4815680 h 6858000"/>
              <a:gd name="connsiteX5" fmla="*/ 5636053 w 7194532"/>
              <a:gd name="connsiteY5" fmla="*/ 6364977 h 6858000"/>
              <a:gd name="connsiteX6" fmla="*/ 5147904 w 7194532"/>
              <a:gd name="connsiteY6" fmla="*/ 6858000 h 6858000"/>
              <a:gd name="connsiteX7" fmla="*/ 270749 w 7194532"/>
              <a:gd name="connsiteY7" fmla="*/ 6858000 h 6858000"/>
              <a:gd name="connsiteX8" fmla="*/ 181150 w 7194532"/>
              <a:gd name="connsiteY8" fmla="*/ 6556283 h 6858000"/>
              <a:gd name="connsiteX9" fmla="*/ 0 w 7194532"/>
              <a:gd name="connsiteY9" fmla="*/ 5146761 h 6858000"/>
              <a:gd name="connsiteX10" fmla="*/ 2051993 w 7194532"/>
              <a:gd name="connsiteY10" fmla="*/ 889901 h 6858000"/>
              <a:gd name="connsiteX11" fmla="*/ 5496011 w 7194532"/>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532" h="6858000">
                <a:moveTo>
                  <a:pt x="5496011" y="0"/>
                </a:moveTo>
                <a:lnTo>
                  <a:pt x="7194532" y="0"/>
                </a:lnTo>
                <a:lnTo>
                  <a:pt x="7194532" y="4833912"/>
                </a:lnTo>
                <a:lnTo>
                  <a:pt x="7189426" y="4839019"/>
                </a:lnTo>
                <a:lnTo>
                  <a:pt x="7189451" y="4815680"/>
                </a:lnTo>
                <a:cubicBezTo>
                  <a:pt x="6687506" y="5330811"/>
                  <a:pt x="6153852" y="5848544"/>
                  <a:pt x="5636053" y="6364977"/>
                </a:cubicBezTo>
                <a:lnTo>
                  <a:pt x="5147904" y="6858000"/>
                </a:lnTo>
                <a:lnTo>
                  <a:pt x="270749" y="6858000"/>
                </a:lnTo>
                <a:lnTo>
                  <a:pt x="181150" y="6556283"/>
                </a:lnTo>
                <a:cubicBezTo>
                  <a:pt x="66261" y="6120712"/>
                  <a:pt x="0" y="5649506"/>
                  <a:pt x="0" y="5146761"/>
                </a:cubicBezTo>
                <a:cubicBezTo>
                  <a:pt x="0" y="3135783"/>
                  <a:pt x="1060176" y="1629414"/>
                  <a:pt x="2051993" y="889901"/>
                </a:cubicBezTo>
                <a:cubicBezTo>
                  <a:pt x="2596374" y="480373"/>
                  <a:pt x="3637284" y="0"/>
                  <a:pt x="5496011" y="0"/>
                </a:cubicBezTo>
                <a:close/>
              </a:path>
            </a:pathLst>
          </a:custGeom>
          <a:solidFill>
            <a:schemeClr val="bg1">
              <a:lumMod val="95000"/>
            </a:schemeClr>
          </a:solidFill>
        </p:spPr>
        <p:txBody>
          <a:bodyPr wrap="square" tIns="1097280" anchor="t" anchorCtr="0">
            <a:noAutofit/>
          </a:bodyPr>
          <a:lstStyle>
            <a:lvl1pPr algn="ctr">
              <a:defRPr sz="1800"/>
            </a:lvl1pPr>
          </a:lstStyle>
          <a:p>
            <a:r>
              <a:rPr lang="en-GB" dirty="0" err="1"/>
              <a:t>Beeld</a:t>
            </a:r>
            <a:endParaRPr lang="en-GB" dirty="0"/>
          </a:p>
        </p:txBody>
      </p:sp>
    </p:spTree>
    <p:extLst>
      <p:ext uri="{BB962C8B-B14F-4D97-AF65-F5344CB8AC3E}">
        <p14:creationId xmlns:p14="http://schemas.microsoft.com/office/powerpoint/2010/main" val="10789806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eeld combi III">
    <p:bg>
      <p:bgPr>
        <a:solidFill>
          <a:schemeClr val="bg1"/>
        </a:soli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B08002F7-87F6-06DE-F5D4-1DFBBB603C72}"/>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8D1E202-4B1F-C5ED-B50B-2FE2E0E9680F}"/>
              </a:ext>
            </a:extLst>
          </p:cNvPr>
          <p:cNvSpPr/>
          <p:nvPr/>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4" name="Freeform: Shape 3">
            <a:extLst>
              <a:ext uri="{FF2B5EF4-FFF2-40B4-BE49-F238E27FC236}">
                <a16:creationId xmlns:a16="http://schemas.microsoft.com/office/drawing/2014/main" id="{C47570DD-D844-02A3-1859-571774A8A2AE}"/>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DD34A338-3EE4-C4B2-6F59-B8A8C0C123B2}"/>
              </a:ext>
            </a:extLst>
          </p:cNvPr>
          <p:cNvSpPr/>
          <p:nvPr userDrawn="1"/>
        </p:nvSpPr>
        <p:spPr>
          <a:xfrm>
            <a:off x="2818128" y="-1"/>
            <a:ext cx="9651999" cy="6857999"/>
          </a:xfrm>
          <a:custGeom>
            <a:avLst/>
            <a:gdLst>
              <a:gd name="connsiteX0" fmla="*/ 0 w 9435763"/>
              <a:gd name="connsiteY0" fmla="*/ 0 h 6704358"/>
              <a:gd name="connsiteX1" fmla="*/ 9435764 w 9435763"/>
              <a:gd name="connsiteY1" fmla="*/ 0 h 6704358"/>
              <a:gd name="connsiteX2" fmla="*/ 9435764 w 9435763"/>
              <a:gd name="connsiteY2" fmla="*/ 6704358 h 6704358"/>
              <a:gd name="connsiteX3" fmla="*/ 0 w 9435763"/>
              <a:gd name="connsiteY3" fmla="*/ 6704358 h 6704358"/>
            </a:gdLst>
            <a:ahLst/>
            <a:cxnLst>
              <a:cxn ang="0">
                <a:pos x="connsiteX0" y="connsiteY0"/>
              </a:cxn>
              <a:cxn ang="0">
                <a:pos x="connsiteX1" y="connsiteY1"/>
              </a:cxn>
              <a:cxn ang="0">
                <a:pos x="connsiteX2" y="connsiteY2"/>
              </a:cxn>
              <a:cxn ang="0">
                <a:pos x="connsiteX3" y="connsiteY3"/>
              </a:cxn>
            </a:cxnLst>
            <a:rect l="l" t="t" r="r" b="b"/>
            <a:pathLst>
              <a:path w="9435763" h="6704358">
                <a:moveTo>
                  <a:pt x="0" y="0"/>
                </a:moveTo>
                <a:lnTo>
                  <a:pt x="9435764" y="0"/>
                </a:lnTo>
                <a:lnTo>
                  <a:pt x="9435764" y="6704358"/>
                </a:lnTo>
                <a:lnTo>
                  <a:pt x="0" y="6704358"/>
                </a:lnTo>
                <a:close/>
              </a:path>
            </a:pathLst>
          </a:custGeom>
          <a:noFill/>
          <a:ln w="6208" cap="flat">
            <a:noFill/>
            <a:prstDash val="solid"/>
            <a:miter/>
          </a:ln>
        </p:spPr>
        <p:txBody>
          <a:bodyPr rtlCol="0" anchor="ctr"/>
          <a:lstStyle/>
          <a:p>
            <a:endParaRPr lang="en-GB"/>
          </a:p>
        </p:txBody>
      </p:sp>
      <p:sp>
        <p:nvSpPr>
          <p:cNvPr id="3" name="Picture Placeholder 2">
            <a:extLst>
              <a:ext uri="{FF2B5EF4-FFF2-40B4-BE49-F238E27FC236}">
                <a16:creationId xmlns:a16="http://schemas.microsoft.com/office/drawing/2014/main" id="{107E3771-29F0-2126-520E-7460D06590A7}"/>
              </a:ext>
            </a:extLst>
          </p:cNvPr>
          <p:cNvSpPr>
            <a:spLocks noGrp="1"/>
          </p:cNvSpPr>
          <p:nvPr>
            <p:ph type="pic" sz="quarter" idx="10" hasCustomPrompt="1"/>
          </p:nvPr>
        </p:nvSpPr>
        <p:spPr>
          <a:xfrm>
            <a:off x="0" y="546736"/>
            <a:ext cx="8858789" cy="6311263"/>
          </a:xfrm>
          <a:custGeom>
            <a:avLst/>
            <a:gdLst>
              <a:gd name="connsiteX0" fmla="*/ 0 w 8858789"/>
              <a:gd name="connsiteY0" fmla="*/ 0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9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0 w 8858789"/>
              <a:gd name="connsiteY0" fmla="*/ 4342128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9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98900 w 8957689"/>
              <a:gd name="connsiteY0" fmla="*/ 3795391 h 6311263"/>
              <a:gd name="connsiteX1" fmla="*/ 98901 w 8957689"/>
              <a:gd name="connsiteY1" fmla="*/ 3780248 h 6311263"/>
              <a:gd name="connsiteX2" fmla="*/ 1434066 w 8957689"/>
              <a:gd name="connsiteY2" fmla="*/ 1712382 h 6311263"/>
              <a:gd name="connsiteX3" fmla="*/ 5386652 w 8957689"/>
              <a:gd name="connsiteY3" fmla="*/ 1066 h 6311263"/>
              <a:gd name="connsiteX4" fmla="*/ 6178419 w 8957689"/>
              <a:gd name="connsiteY4" fmla="*/ 48251 h 6311263"/>
              <a:gd name="connsiteX5" fmla="*/ 8925370 w 8957689"/>
              <a:gd name="connsiteY5" fmla="*/ 1494767 h 6311263"/>
              <a:gd name="connsiteX6" fmla="*/ 8957689 w 8957689"/>
              <a:gd name="connsiteY6" fmla="*/ 1525097 h 6311263"/>
              <a:gd name="connsiteX7" fmla="*/ 8957689 w 8957689"/>
              <a:gd name="connsiteY7" fmla="*/ 1538249 h 6311263"/>
              <a:gd name="connsiteX8" fmla="*/ 4208438 w 8957689"/>
              <a:gd name="connsiteY8" fmla="*/ 6311263 h 6311263"/>
              <a:gd name="connsiteX9" fmla="*/ 98901 w 8957689"/>
              <a:gd name="connsiteY9" fmla="*/ 6311263 h 6311263"/>
              <a:gd name="connsiteX10" fmla="*/ 98901 w 8957689"/>
              <a:gd name="connsiteY10" fmla="*/ 3795389 h 6311263"/>
              <a:gd name="connsiteX11" fmla="*/ 98900 w 8957689"/>
              <a:gd name="connsiteY11" fmla="*/ 3795391 h 6311263"/>
              <a:gd name="connsiteX0" fmla="*/ 0 w 8858789"/>
              <a:gd name="connsiteY0" fmla="*/ 3795391 h 6311263"/>
              <a:gd name="connsiteX1" fmla="*/ 1 w 8858789"/>
              <a:gd name="connsiteY1" fmla="*/ 3780248 h 6311263"/>
              <a:gd name="connsiteX2" fmla="*/ 1335166 w 8858789"/>
              <a:gd name="connsiteY2" fmla="*/ 1712382 h 6311263"/>
              <a:gd name="connsiteX3" fmla="*/ 5287752 w 8858789"/>
              <a:gd name="connsiteY3" fmla="*/ 1066 h 6311263"/>
              <a:gd name="connsiteX4" fmla="*/ 6079519 w 8858789"/>
              <a:gd name="connsiteY4" fmla="*/ 48251 h 6311263"/>
              <a:gd name="connsiteX5" fmla="*/ 8826470 w 8858789"/>
              <a:gd name="connsiteY5" fmla="*/ 1494767 h 6311263"/>
              <a:gd name="connsiteX6" fmla="*/ 8858789 w 8858789"/>
              <a:gd name="connsiteY6" fmla="*/ 1525097 h 6311263"/>
              <a:gd name="connsiteX7" fmla="*/ 8858789 w 8858789"/>
              <a:gd name="connsiteY7" fmla="*/ 1538249 h 6311263"/>
              <a:gd name="connsiteX8" fmla="*/ 4109538 w 8858789"/>
              <a:gd name="connsiteY8" fmla="*/ 6311263 h 6311263"/>
              <a:gd name="connsiteX9" fmla="*/ 1 w 8858789"/>
              <a:gd name="connsiteY9" fmla="*/ 6311263 h 6311263"/>
              <a:gd name="connsiteX10" fmla="*/ 1 w 8858789"/>
              <a:gd name="connsiteY10" fmla="*/ 3795389 h 6311263"/>
              <a:gd name="connsiteX11" fmla="*/ 0 w 8858789"/>
              <a:gd name="connsiteY11" fmla="*/ 3795391 h 63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789" h="6311263">
                <a:moveTo>
                  <a:pt x="0" y="3795391"/>
                </a:moveTo>
                <a:cubicBezTo>
                  <a:pt x="0" y="3790343"/>
                  <a:pt x="1" y="3785296"/>
                  <a:pt x="1" y="3780248"/>
                </a:cubicBezTo>
                <a:cubicBezTo>
                  <a:pt x="267925" y="3068601"/>
                  <a:pt x="696857" y="2353120"/>
                  <a:pt x="1335166" y="1712382"/>
                </a:cubicBezTo>
                <a:cubicBezTo>
                  <a:pt x="2563733" y="479137"/>
                  <a:pt x="4068321" y="25656"/>
                  <a:pt x="5287752" y="1066"/>
                </a:cubicBezTo>
                <a:cubicBezTo>
                  <a:pt x="5569159" y="-4609"/>
                  <a:pt x="5835380" y="12558"/>
                  <a:pt x="6079519" y="48251"/>
                </a:cubicBezTo>
                <a:cubicBezTo>
                  <a:pt x="6707087" y="137127"/>
                  <a:pt x="7661107" y="472509"/>
                  <a:pt x="8826470" y="1494767"/>
                </a:cubicBezTo>
                <a:lnTo>
                  <a:pt x="8858789" y="1525097"/>
                </a:lnTo>
                <a:lnTo>
                  <a:pt x="8858789" y="1538249"/>
                </a:lnTo>
                <a:lnTo>
                  <a:pt x="4109538" y="6311263"/>
                </a:lnTo>
                <a:lnTo>
                  <a:pt x="1" y="6311263"/>
                </a:lnTo>
                <a:lnTo>
                  <a:pt x="1" y="3795389"/>
                </a:lnTo>
                <a:cubicBezTo>
                  <a:pt x="1" y="3795390"/>
                  <a:pt x="0" y="3795390"/>
                  <a:pt x="0" y="3795391"/>
                </a:cubicBezTo>
                <a:close/>
              </a:path>
            </a:pathLst>
          </a:custGeom>
          <a:solidFill>
            <a:schemeClr val="bg1">
              <a:lumMod val="95000"/>
            </a:schemeClr>
          </a:solidFill>
        </p:spPr>
        <p:txBody>
          <a:bodyPr wrap="square" lIns="1280160" tIns="0" bIns="2926080" anchor="ctr">
            <a:noAutofit/>
          </a:bodyPr>
          <a:lstStyle>
            <a:lvl1pPr algn="ctr">
              <a:defRPr sz="1800"/>
            </a:lvl1pPr>
          </a:lstStyle>
          <a:p>
            <a:r>
              <a:rPr lang="en-GB" dirty="0" err="1"/>
              <a:t>Beeld</a:t>
            </a:r>
            <a:endParaRPr lang="en-GB" dirty="0"/>
          </a:p>
        </p:txBody>
      </p:sp>
      <p:sp>
        <p:nvSpPr>
          <p:cNvPr id="8" name="Freeform: Shape 7">
            <a:extLst>
              <a:ext uri="{FF2B5EF4-FFF2-40B4-BE49-F238E27FC236}">
                <a16:creationId xmlns:a16="http://schemas.microsoft.com/office/drawing/2014/main" id="{3F570637-18F0-FBCE-15DF-28316C597581}"/>
              </a:ext>
            </a:extLst>
          </p:cNvPr>
          <p:cNvSpPr/>
          <p:nvPr userDrawn="1"/>
        </p:nvSpPr>
        <p:spPr>
          <a:xfrm>
            <a:off x="4109538" y="2081881"/>
            <a:ext cx="8082463" cy="4776119"/>
          </a:xfrm>
          <a:custGeom>
            <a:avLst/>
            <a:gdLst>
              <a:gd name="connsiteX0" fmla="*/ 4752340 w 8082463"/>
              <a:gd name="connsiteY0" fmla="*/ 0 h 4776119"/>
              <a:gd name="connsiteX1" fmla="*/ 4808220 w 8082463"/>
              <a:gd name="connsiteY1" fmla="*/ 49784 h 4776119"/>
              <a:gd name="connsiteX2" fmla="*/ 4812030 w 8082463"/>
              <a:gd name="connsiteY2" fmla="*/ 52976 h 4776119"/>
              <a:gd name="connsiteX3" fmla="*/ 4864734 w 8082463"/>
              <a:gd name="connsiteY3" fmla="*/ 100845 h 4776119"/>
              <a:gd name="connsiteX4" fmla="*/ 4872990 w 8082463"/>
              <a:gd name="connsiteY4" fmla="*/ 108505 h 4776119"/>
              <a:gd name="connsiteX5" fmla="*/ 4922520 w 8082463"/>
              <a:gd name="connsiteY5" fmla="*/ 153821 h 4776119"/>
              <a:gd name="connsiteX6" fmla="*/ 4935855 w 8082463"/>
              <a:gd name="connsiteY6" fmla="*/ 165948 h 4776119"/>
              <a:gd name="connsiteX7" fmla="*/ 4980940 w 8082463"/>
              <a:gd name="connsiteY7" fmla="*/ 208712 h 4776119"/>
              <a:gd name="connsiteX8" fmla="*/ 4999356 w 8082463"/>
              <a:gd name="connsiteY8" fmla="*/ 225945 h 4776119"/>
              <a:gd name="connsiteX9" fmla="*/ 5039995 w 8082463"/>
              <a:gd name="connsiteY9" fmla="*/ 264879 h 4776119"/>
              <a:gd name="connsiteX10" fmla="*/ 5065395 w 8082463"/>
              <a:gd name="connsiteY10" fmla="*/ 289134 h 4776119"/>
              <a:gd name="connsiteX11" fmla="*/ 5100956 w 8082463"/>
              <a:gd name="connsiteY11" fmla="*/ 322960 h 4776119"/>
              <a:gd name="connsiteX12" fmla="*/ 5135880 w 8082463"/>
              <a:gd name="connsiteY12" fmla="*/ 356789 h 4776119"/>
              <a:gd name="connsiteX13" fmla="*/ 5162550 w 8082463"/>
              <a:gd name="connsiteY13" fmla="*/ 382958 h 4776119"/>
              <a:gd name="connsiteX14" fmla="*/ 5224780 w 8082463"/>
              <a:gd name="connsiteY14" fmla="*/ 444869 h 4776119"/>
              <a:gd name="connsiteX15" fmla="*/ 8082463 w 8082463"/>
              <a:gd name="connsiteY15" fmla="*/ 3317235 h 4776119"/>
              <a:gd name="connsiteX16" fmla="*/ 8082463 w 8082463"/>
              <a:gd name="connsiteY16" fmla="*/ 4776119 h 4776119"/>
              <a:gd name="connsiteX17" fmla="*/ 0 w 8082463"/>
              <a:gd name="connsiteY17" fmla="*/ 4776119 h 477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82463" h="4776119">
                <a:moveTo>
                  <a:pt x="4752340" y="0"/>
                </a:moveTo>
                <a:cubicBezTo>
                  <a:pt x="4770756" y="16595"/>
                  <a:pt x="4789805" y="33190"/>
                  <a:pt x="4808220" y="49784"/>
                </a:cubicBezTo>
                <a:cubicBezTo>
                  <a:pt x="4809490" y="51061"/>
                  <a:pt x="4810760" y="51700"/>
                  <a:pt x="4812030" y="52976"/>
                </a:cubicBezTo>
                <a:cubicBezTo>
                  <a:pt x="4829175" y="68933"/>
                  <a:pt x="4846956" y="84889"/>
                  <a:pt x="4864734" y="100845"/>
                </a:cubicBezTo>
                <a:cubicBezTo>
                  <a:pt x="4867910" y="103398"/>
                  <a:pt x="4870450" y="105951"/>
                  <a:pt x="4872990" y="108505"/>
                </a:cubicBezTo>
                <a:cubicBezTo>
                  <a:pt x="4889500" y="123185"/>
                  <a:pt x="4906010" y="138503"/>
                  <a:pt x="4922520" y="153821"/>
                </a:cubicBezTo>
                <a:cubicBezTo>
                  <a:pt x="4926965" y="157651"/>
                  <a:pt x="4931410" y="162119"/>
                  <a:pt x="4935855" y="165948"/>
                </a:cubicBezTo>
                <a:cubicBezTo>
                  <a:pt x="4950460" y="179990"/>
                  <a:pt x="4965700" y="194670"/>
                  <a:pt x="4980940" y="208712"/>
                </a:cubicBezTo>
                <a:cubicBezTo>
                  <a:pt x="4987290" y="214457"/>
                  <a:pt x="4993006" y="220201"/>
                  <a:pt x="4999356" y="225945"/>
                </a:cubicBezTo>
                <a:cubicBezTo>
                  <a:pt x="5012690" y="238710"/>
                  <a:pt x="5026025" y="251476"/>
                  <a:pt x="5039995" y="264879"/>
                </a:cubicBezTo>
                <a:cubicBezTo>
                  <a:pt x="5048886" y="273176"/>
                  <a:pt x="5057140" y="280836"/>
                  <a:pt x="5065395" y="289134"/>
                </a:cubicBezTo>
                <a:cubicBezTo>
                  <a:pt x="5077460" y="299984"/>
                  <a:pt x="5088890" y="311473"/>
                  <a:pt x="5100956" y="322960"/>
                </a:cubicBezTo>
                <a:cubicBezTo>
                  <a:pt x="5113020" y="333812"/>
                  <a:pt x="5124450" y="345301"/>
                  <a:pt x="5135880" y="356789"/>
                </a:cubicBezTo>
                <a:cubicBezTo>
                  <a:pt x="5144770" y="365724"/>
                  <a:pt x="5153660" y="374022"/>
                  <a:pt x="5162550" y="382958"/>
                </a:cubicBezTo>
                <a:cubicBezTo>
                  <a:pt x="5182871" y="403382"/>
                  <a:pt x="5203826" y="423807"/>
                  <a:pt x="5224780" y="444869"/>
                </a:cubicBezTo>
                <a:lnTo>
                  <a:pt x="8082463" y="3317235"/>
                </a:lnTo>
                <a:lnTo>
                  <a:pt x="8082463" y="4776119"/>
                </a:lnTo>
                <a:lnTo>
                  <a:pt x="0" y="4776119"/>
                </a:lnTo>
                <a:close/>
              </a:path>
            </a:pathLst>
          </a:custGeom>
          <a:solidFill>
            <a:schemeClr val="accent3"/>
          </a:solidFill>
          <a:ln w="12700" cap="flat">
            <a:solidFill>
              <a:schemeClr val="accent3"/>
            </a:solidFill>
            <a:prstDash val="solid"/>
            <a:miter/>
          </a:ln>
        </p:spPr>
        <p:txBody>
          <a:bodyPr wrap="square" rtlCol="0" anchor="ctr">
            <a:noAutofit/>
          </a:bodyPr>
          <a:lstStyle/>
          <a:p>
            <a:endParaRPr lang="en-GB"/>
          </a:p>
        </p:txBody>
      </p:sp>
      <p:sp>
        <p:nvSpPr>
          <p:cNvPr id="9" name="Freeform: Shape 8">
            <a:extLst>
              <a:ext uri="{FF2B5EF4-FFF2-40B4-BE49-F238E27FC236}">
                <a16:creationId xmlns:a16="http://schemas.microsoft.com/office/drawing/2014/main" id="{F0EC8357-8687-486C-5B38-4E2AC33FF34F}"/>
              </a:ext>
            </a:extLst>
          </p:cNvPr>
          <p:cNvSpPr/>
          <p:nvPr userDrawn="1"/>
        </p:nvSpPr>
        <p:spPr>
          <a:xfrm>
            <a:off x="-1" y="0"/>
            <a:ext cx="10949305" cy="4342128"/>
          </a:xfrm>
          <a:custGeom>
            <a:avLst/>
            <a:gdLst>
              <a:gd name="connsiteX0" fmla="*/ 0 w 10949305"/>
              <a:gd name="connsiteY0" fmla="*/ 0 h 4342128"/>
              <a:gd name="connsiteX1" fmla="*/ 10949305 w 10949305"/>
              <a:gd name="connsiteY1" fmla="*/ 0 h 4342128"/>
              <a:gd name="connsiteX2" fmla="*/ 8844237 w 10949305"/>
              <a:gd name="connsiteY2" fmla="*/ 2105068 h 4342128"/>
              <a:gd name="connsiteX3" fmla="*/ 8840883 w 10949305"/>
              <a:gd name="connsiteY3" fmla="*/ 2101933 h 4342128"/>
              <a:gd name="connsiteX4" fmla="*/ 8865033 w 10949305"/>
              <a:gd name="connsiteY4" fmla="*/ 2077694 h 4342128"/>
              <a:gd name="connsiteX5" fmla="*/ 8826470 w 10949305"/>
              <a:gd name="connsiteY5" fmla="*/ 2041504 h 4342128"/>
              <a:gd name="connsiteX6" fmla="*/ 6079518 w 10949305"/>
              <a:gd name="connsiteY6" fmla="*/ 594988 h 4342128"/>
              <a:gd name="connsiteX7" fmla="*/ 5287752 w 10949305"/>
              <a:gd name="connsiteY7" fmla="*/ 547803 h 4342128"/>
              <a:gd name="connsiteX8" fmla="*/ 1335166 w 10949305"/>
              <a:gd name="connsiteY8" fmla="*/ 2259119 h 4342128"/>
              <a:gd name="connsiteX9" fmla="*/ 1 w 10949305"/>
              <a:gd name="connsiteY9" fmla="*/ 4326985 h 4342128"/>
              <a:gd name="connsiteX10" fmla="*/ 1 w 10949305"/>
              <a:gd name="connsiteY10" fmla="*/ 4342126 h 4342128"/>
              <a:gd name="connsiteX11" fmla="*/ 0 w 10949305"/>
              <a:gd name="connsiteY11" fmla="*/ 4342128 h 4342128"/>
              <a:gd name="connsiteX12" fmla="*/ 0 w 10949305"/>
              <a:gd name="connsiteY12" fmla="*/ 0 h 4342128"/>
              <a:gd name="connsiteX0" fmla="*/ 0 w 10949305"/>
              <a:gd name="connsiteY0" fmla="*/ 0 h 4342128"/>
              <a:gd name="connsiteX1" fmla="*/ 10949305 w 10949305"/>
              <a:gd name="connsiteY1" fmla="*/ 0 h 4342128"/>
              <a:gd name="connsiteX2" fmla="*/ 8844237 w 10949305"/>
              <a:gd name="connsiteY2" fmla="*/ 2105068 h 4342128"/>
              <a:gd name="connsiteX3" fmla="*/ 8865033 w 10949305"/>
              <a:gd name="connsiteY3" fmla="*/ 2077694 h 4342128"/>
              <a:gd name="connsiteX4" fmla="*/ 8826470 w 10949305"/>
              <a:gd name="connsiteY4" fmla="*/ 2041504 h 4342128"/>
              <a:gd name="connsiteX5" fmla="*/ 6079518 w 10949305"/>
              <a:gd name="connsiteY5" fmla="*/ 594988 h 4342128"/>
              <a:gd name="connsiteX6" fmla="*/ 5287752 w 10949305"/>
              <a:gd name="connsiteY6" fmla="*/ 547803 h 4342128"/>
              <a:gd name="connsiteX7" fmla="*/ 1335166 w 10949305"/>
              <a:gd name="connsiteY7" fmla="*/ 2259119 h 4342128"/>
              <a:gd name="connsiteX8" fmla="*/ 1 w 10949305"/>
              <a:gd name="connsiteY8" fmla="*/ 4326985 h 4342128"/>
              <a:gd name="connsiteX9" fmla="*/ 1 w 10949305"/>
              <a:gd name="connsiteY9" fmla="*/ 4342126 h 4342128"/>
              <a:gd name="connsiteX10" fmla="*/ 0 w 10949305"/>
              <a:gd name="connsiteY10" fmla="*/ 4342128 h 4342128"/>
              <a:gd name="connsiteX11" fmla="*/ 0 w 10949305"/>
              <a:gd name="connsiteY11" fmla="*/ 0 h 43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305" h="4342128">
                <a:moveTo>
                  <a:pt x="0" y="0"/>
                </a:moveTo>
                <a:lnTo>
                  <a:pt x="10949305" y="0"/>
                </a:lnTo>
                <a:lnTo>
                  <a:pt x="8844237" y="2105068"/>
                </a:lnTo>
                <a:lnTo>
                  <a:pt x="8865033" y="2077694"/>
                </a:lnTo>
                <a:lnTo>
                  <a:pt x="8826470" y="2041504"/>
                </a:lnTo>
                <a:cubicBezTo>
                  <a:pt x="7661107" y="1019246"/>
                  <a:pt x="6707087" y="683864"/>
                  <a:pt x="6079518" y="594988"/>
                </a:cubicBezTo>
                <a:cubicBezTo>
                  <a:pt x="5835380" y="559295"/>
                  <a:pt x="5569159" y="542128"/>
                  <a:pt x="5287752" y="547803"/>
                </a:cubicBezTo>
                <a:cubicBezTo>
                  <a:pt x="4068321" y="572393"/>
                  <a:pt x="2563733" y="1025874"/>
                  <a:pt x="1335166" y="2259119"/>
                </a:cubicBezTo>
                <a:cubicBezTo>
                  <a:pt x="696857" y="2899857"/>
                  <a:pt x="267925" y="3615338"/>
                  <a:pt x="1" y="4326985"/>
                </a:cubicBezTo>
                <a:lnTo>
                  <a:pt x="1" y="4342126"/>
                </a:lnTo>
                <a:cubicBezTo>
                  <a:pt x="1" y="4342127"/>
                  <a:pt x="0" y="4342127"/>
                  <a:pt x="0" y="4342128"/>
                </a:cubicBezTo>
                <a:lnTo>
                  <a:pt x="0" y="0"/>
                </a:lnTo>
                <a:close/>
              </a:path>
            </a:pathLst>
          </a:custGeom>
          <a:solidFill>
            <a:srgbClr val="007D7D"/>
          </a:solidFill>
          <a:ln w="12700">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Picture Placeholder 4">
            <a:extLst>
              <a:ext uri="{FF2B5EF4-FFF2-40B4-BE49-F238E27FC236}">
                <a16:creationId xmlns:a16="http://schemas.microsoft.com/office/drawing/2014/main" id="{FEBEE4DA-0A98-1426-1093-5E3B7543FD25}"/>
              </a:ext>
            </a:extLst>
          </p:cNvPr>
          <p:cNvSpPr>
            <a:spLocks noGrp="1"/>
          </p:cNvSpPr>
          <p:nvPr>
            <p:ph type="pic" sz="quarter" idx="11" hasCustomPrompt="1"/>
          </p:nvPr>
        </p:nvSpPr>
        <p:spPr>
          <a:xfrm>
            <a:off x="8864810" y="1"/>
            <a:ext cx="3327190" cy="5399115"/>
          </a:xfrm>
          <a:custGeom>
            <a:avLst/>
            <a:gdLst>
              <a:gd name="connsiteX0" fmla="*/ 2084494 w 3327190"/>
              <a:gd name="connsiteY0" fmla="*/ 0 h 5399115"/>
              <a:gd name="connsiteX1" fmla="*/ 3327190 w 3327190"/>
              <a:gd name="connsiteY1" fmla="*/ 0 h 5399115"/>
              <a:gd name="connsiteX2" fmla="*/ 3327190 w 3327190"/>
              <a:gd name="connsiteY2" fmla="*/ 5399115 h 5399115"/>
              <a:gd name="connsiteX3" fmla="*/ 469508 w 3327190"/>
              <a:gd name="connsiteY3" fmla="*/ 2526750 h 5399115"/>
              <a:gd name="connsiteX4" fmla="*/ 407278 w 3327190"/>
              <a:gd name="connsiteY4" fmla="*/ 2464839 h 5399115"/>
              <a:gd name="connsiteX5" fmla="*/ 380608 w 3327190"/>
              <a:gd name="connsiteY5" fmla="*/ 2438670 h 5399115"/>
              <a:gd name="connsiteX6" fmla="*/ 345684 w 3327190"/>
              <a:gd name="connsiteY6" fmla="*/ 2404841 h 5399115"/>
              <a:gd name="connsiteX7" fmla="*/ 310123 w 3327190"/>
              <a:gd name="connsiteY7" fmla="*/ 2371015 h 5399115"/>
              <a:gd name="connsiteX8" fmla="*/ 284723 w 3327190"/>
              <a:gd name="connsiteY8" fmla="*/ 2346760 h 5399115"/>
              <a:gd name="connsiteX9" fmla="*/ 244084 w 3327190"/>
              <a:gd name="connsiteY9" fmla="*/ 2307826 h 5399115"/>
              <a:gd name="connsiteX10" fmla="*/ 225668 w 3327190"/>
              <a:gd name="connsiteY10" fmla="*/ 2290593 h 5399115"/>
              <a:gd name="connsiteX11" fmla="*/ 180583 w 3327190"/>
              <a:gd name="connsiteY11" fmla="*/ 2247829 h 5399115"/>
              <a:gd name="connsiteX12" fmla="*/ 167248 w 3327190"/>
              <a:gd name="connsiteY12" fmla="*/ 2235702 h 5399115"/>
              <a:gd name="connsiteX13" fmla="*/ 117718 w 3327190"/>
              <a:gd name="connsiteY13" fmla="*/ 2190386 h 5399115"/>
              <a:gd name="connsiteX14" fmla="*/ 109462 w 3327190"/>
              <a:gd name="connsiteY14" fmla="*/ 2182726 h 5399115"/>
              <a:gd name="connsiteX15" fmla="*/ 56758 w 3327190"/>
              <a:gd name="connsiteY15" fmla="*/ 2134857 h 5399115"/>
              <a:gd name="connsiteX16" fmla="*/ 52948 w 3327190"/>
              <a:gd name="connsiteY16" fmla="*/ 2131665 h 5399115"/>
              <a:gd name="connsiteX17" fmla="*/ 0 w 3327190"/>
              <a:gd name="connsiteY17" fmla="*/ 2084494 h 539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27190" h="5399115">
                <a:moveTo>
                  <a:pt x="2084494" y="0"/>
                </a:moveTo>
                <a:lnTo>
                  <a:pt x="3327190" y="0"/>
                </a:lnTo>
                <a:lnTo>
                  <a:pt x="3327190" y="5399115"/>
                </a:lnTo>
                <a:lnTo>
                  <a:pt x="469508" y="2526750"/>
                </a:lnTo>
                <a:cubicBezTo>
                  <a:pt x="448554" y="2505688"/>
                  <a:pt x="427599" y="2485263"/>
                  <a:pt x="407278" y="2464839"/>
                </a:cubicBezTo>
                <a:cubicBezTo>
                  <a:pt x="398388" y="2455903"/>
                  <a:pt x="389498" y="2447605"/>
                  <a:pt x="380608" y="2438670"/>
                </a:cubicBezTo>
                <a:cubicBezTo>
                  <a:pt x="369178" y="2427182"/>
                  <a:pt x="357748" y="2415693"/>
                  <a:pt x="345684" y="2404841"/>
                </a:cubicBezTo>
                <a:cubicBezTo>
                  <a:pt x="333618" y="2393354"/>
                  <a:pt x="322188" y="2381865"/>
                  <a:pt x="310123" y="2371015"/>
                </a:cubicBezTo>
                <a:cubicBezTo>
                  <a:pt x="301868" y="2362717"/>
                  <a:pt x="293614" y="2355057"/>
                  <a:pt x="284723" y="2346760"/>
                </a:cubicBezTo>
                <a:cubicBezTo>
                  <a:pt x="270753" y="2333357"/>
                  <a:pt x="257418" y="2320591"/>
                  <a:pt x="244084" y="2307826"/>
                </a:cubicBezTo>
                <a:cubicBezTo>
                  <a:pt x="237734" y="2302082"/>
                  <a:pt x="232018" y="2296338"/>
                  <a:pt x="225668" y="2290593"/>
                </a:cubicBezTo>
                <a:cubicBezTo>
                  <a:pt x="210428" y="2276551"/>
                  <a:pt x="195188" y="2261871"/>
                  <a:pt x="180583" y="2247829"/>
                </a:cubicBezTo>
                <a:cubicBezTo>
                  <a:pt x="176138" y="2244000"/>
                  <a:pt x="171693" y="2239532"/>
                  <a:pt x="167248" y="2235702"/>
                </a:cubicBezTo>
                <a:cubicBezTo>
                  <a:pt x="150738" y="2220384"/>
                  <a:pt x="134228" y="2205066"/>
                  <a:pt x="117718" y="2190386"/>
                </a:cubicBezTo>
                <a:cubicBezTo>
                  <a:pt x="115178" y="2187832"/>
                  <a:pt x="112638" y="2185279"/>
                  <a:pt x="109462" y="2182726"/>
                </a:cubicBezTo>
                <a:cubicBezTo>
                  <a:pt x="91684" y="2166770"/>
                  <a:pt x="73903" y="2150814"/>
                  <a:pt x="56758" y="2134857"/>
                </a:cubicBezTo>
                <a:cubicBezTo>
                  <a:pt x="55488" y="2133581"/>
                  <a:pt x="54218" y="2132942"/>
                  <a:pt x="52948" y="2131665"/>
                </a:cubicBezTo>
                <a:lnTo>
                  <a:pt x="0" y="2084494"/>
                </a:lnTo>
                <a:close/>
              </a:path>
            </a:pathLst>
          </a:custGeom>
          <a:solidFill>
            <a:schemeClr val="bg1">
              <a:lumMod val="95000"/>
            </a:schemeClr>
          </a:solidFill>
        </p:spPr>
        <p:txBody>
          <a:bodyPr wrap="square" lIns="548640" bIns="1737360" anchor="ctr">
            <a:noAutofit/>
          </a:bodyPr>
          <a:lstStyle>
            <a:lvl1pPr algn="ctr">
              <a:defRPr sz="1800"/>
            </a:lvl1pPr>
          </a:lstStyle>
          <a:p>
            <a:r>
              <a:rPr lang="en-GB" dirty="0" err="1"/>
              <a:t>Beeld</a:t>
            </a:r>
            <a:endParaRPr lang="en-GB" dirty="0"/>
          </a:p>
        </p:txBody>
      </p:sp>
      <p:sp>
        <p:nvSpPr>
          <p:cNvPr id="11" name="Freeform: Shape 10">
            <a:extLst>
              <a:ext uri="{FF2B5EF4-FFF2-40B4-BE49-F238E27FC236}">
                <a16:creationId xmlns:a16="http://schemas.microsoft.com/office/drawing/2014/main" id="{388CDD20-1321-D267-4055-D43E148D69A0}"/>
              </a:ext>
            </a:extLst>
          </p:cNvPr>
          <p:cNvSpPr/>
          <p:nvPr userDrawn="1"/>
        </p:nvSpPr>
        <p:spPr>
          <a:xfrm>
            <a:off x="8858788" y="2071834"/>
            <a:ext cx="6244" cy="13152"/>
          </a:xfrm>
          <a:custGeom>
            <a:avLst/>
            <a:gdLst>
              <a:gd name="connsiteX0" fmla="*/ 0 w 6244"/>
              <a:gd name="connsiteY0" fmla="*/ 0 h 13152"/>
              <a:gd name="connsiteX1" fmla="*/ 6244 w 6244"/>
              <a:gd name="connsiteY1" fmla="*/ 5860 h 13152"/>
              <a:gd name="connsiteX2" fmla="*/ 2980 w 6244"/>
              <a:gd name="connsiteY2" fmla="*/ 10157 h 13152"/>
              <a:gd name="connsiteX3" fmla="*/ 0 w 6244"/>
              <a:gd name="connsiteY3" fmla="*/ 13152 h 13152"/>
              <a:gd name="connsiteX4" fmla="*/ 0 w 6244"/>
              <a:gd name="connsiteY4" fmla="*/ 0 h 1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2">
                <a:moveTo>
                  <a:pt x="0" y="0"/>
                </a:moveTo>
                <a:lnTo>
                  <a:pt x="6244" y="5860"/>
                </a:lnTo>
                <a:lnTo>
                  <a:pt x="2980" y="10157"/>
                </a:lnTo>
                <a:lnTo>
                  <a:pt x="0" y="13152"/>
                </a:lnTo>
                <a:lnTo>
                  <a:pt x="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2" name="Freeform: Shape 11">
            <a:extLst>
              <a:ext uri="{FF2B5EF4-FFF2-40B4-BE49-F238E27FC236}">
                <a16:creationId xmlns:a16="http://schemas.microsoft.com/office/drawing/2014/main" id="{E8B95446-AD4E-5FEC-3072-843BFC1A00EF}"/>
              </a:ext>
            </a:extLst>
          </p:cNvPr>
          <p:cNvSpPr/>
          <p:nvPr userDrawn="1"/>
        </p:nvSpPr>
        <p:spPr>
          <a:xfrm>
            <a:off x="8858788" y="2081881"/>
            <a:ext cx="6022" cy="8635"/>
          </a:xfrm>
          <a:custGeom>
            <a:avLst/>
            <a:gdLst>
              <a:gd name="connsiteX0" fmla="*/ 3089 w 6022"/>
              <a:gd name="connsiteY0" fmla="*/ 0 h 8635"/>
              <a:gd name="connsiteX1" fmla="*/ 6022 w 6022"/>
              <a:gd name="connsiteY1" fmla="*/ 2613 h 8635"/>
              <a:gd name="connsiteX2" fmla="*/ 0 w 6022"/>
              <a:gd name="connsiteY2" fmla="*/ 8635 h 8635"/>
              <a:gd name="connsiteX3" fmla="*/ 0 w 6022"/>
              <a:gd name="connsiteY3" fmla="*/ 4032 h 8635"/>
              <a:gd name="connsiteX4" fmla="*/ 2980 w 6022"/>
              <a:gd name="connsiteY4" fmla="*/ 110 h 8635"/>
              <a:gd name="connsiteX5" fmla="*/ 3089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89" y="0"/>
                </a:moveTo>
                <a:lnTo>
                  <a:pt x="6022" y="2613"/>
                </a:lnTo>
                <a:lnTo>
                  <a:pt x="0" y="8635"/>
                </a:lnTo>
                <a:lnTo>
                  <a:pt x="0" y="4032"/>
                </a:lnTo>
                <a:lnTo>
                  <a:pt x="2980" y="110"/>
                </a:lnTo>
                <a:lnTo>
                  <a:pt x="3089"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3" name="Freeform: Shape 12">
            <a:extLst>
              <a:ext uri="{FF2B5EF4-FFF2-40B4-BE49-F238E27FC236}">
                <a16:creationId xmlns:a16="http://schemas.microsoft.com/office/drawing/2014/main" id="{FE6FD458-7CC1-5363-6474-791605B40C0A}"/>
              </a:ext>
            </a:extLst>
          </p:cNvPr>
          <p:cNvSpPr/>
          <p:nvPr userDrawn="1"/>
        </p:nvSpPr>
        <p:spPr>
          <a:xfrm>
            <a:off x="8858788" y="2081991"/>
            <a:ext cx="2980" cy="3922"/>
          </a:xfrm>
          <a:custGeom>
            <a:avLst/>
            <a:gdLst>
              <a:gd name="connsiteX0" fmla="*/ 2980 w 2980"/>
              <a:gd name="connsiteY0" fmla="*/ 0 h 3922"/>
              <a:gd name="connsiteX1" fmla="*/ 0 w 2980"/>
              <a:gd name="connsiteY1" fmla="*/ 3922 h 3922"/>
              <a:gd name="connsiteX2" fmla="*/ 0 w 2980"/>
              <a:gd name="connsiteY2" fmla="*/ 2995 h 3922"/>
              <a:gd name="connsiteX3" fmla="*/ 2980 w 2980"/>
              <a:gd name="connsiteY3" fmla="*/ 0 h 3922"/>
            </a:gdLst>
            <a:ahLst/>
            <a:cxnLst>
              <a:cxn ang="0">
                <a:pos x="connsiteX0" y="connsiteY0"/>
              </a:cxn>
              <a:cxn ang="0">
                <a:pos x="connsiteX1" y="connsiteY1"/>
              </a:cxn>
              <a:cxn ang="0">
                <a:pos x="connsiteX2" y="connsiteY2"/>
              </a:cxn>
              <a:cxn ang="0">
                <a:pos x="connsiteX3" y="connsiteY3"/>
              </a:cxn>
            </a:cxnLst>
            <a:rect l="l" t="t" r="r" b="b"/>
            <a:pathLst>
              <a:path w="2980" h="3922">
                <a:moveTo>
                  <a:pt x="2980" y="0"/>
                </a:moveTo>
                <a:lnTo>
                  <a:pt x="0" y="3922"/>
                </a:lnTo>
                <a:lnTo>
                  <a:pt x="0" y="2995"/>
                </a:lnTo>
                <a:lnTo>
                  <a:pt x="2980"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4" name="Freeform: Shape 13">
            <a:extLst>
              <a:ext uri="{FF2B5EF4-FFF2-40B4-BE49-F238E27FC236}">
                <a16:creationId xmlns:a16="http://schemas.microsoft.com/office/drawing/2014/main" id="{FC7B1AAF-18D4-5316-A81D-D9D5DE1D792A}"/>
              </a:ext>
            </a:extLst>
          </p:cNvPr>
          <p:cNvSpPr/>
          <p:nvPr userDrawn="1"/>
        </p:nvSpPr>
        <p:spPr>
          <a:xfrm>
            <a:off x="8844236" y="2085913"/>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6"/>
          </a:solidFill>
          <a:ln w="6208" cap="flat">
            <a:noFill/>
            <a:prstDash val="solid"/>
            <a:miter/>
          </a:ln>
        </p:spPr>
        <p:txBody>
          <a:bodyPr wrap="square" rtlCol="0" anchor="ctr">
            <a:noAutofit/>
          </a:bodyPr>
          <a:lstStyle/>
          <a:p>
            <a:endParaRPr lang="en-GB"/>
          </a:p>
        </p:txBody>
      </p:sp>
      <p:sp>
        <p:nvSpPr>
          <p:cNvPr id="15" name="Freeform: Shape 14">
            <a:extLst>
              <a:ext uri="{FF2B5EF4-FFF2-40B4-BE49-F238E27FC236}">
                <a16:creationId xmlns:a16="http://schemas.microsoft.com/office/drawing/2014/main" id="{853C73B2-7A4D-134B-7C9D-091302B8BFB9}"/>
              </a:ext>
            </a:extLst>
          </p:cNvPr>
          <p:cNvSpPr/>
          <p:nvPr userDrawn="1"/>
        </p:nvSpPr>
        <p:spPr>
          <a:xfrm>
            <a:off x="8858788" y="2081995"/>
            <a:ext cx="2976" cy="3918"/>
          </a:xfrm>
          <a:custGeom>
            <a:avLst/>
            <a:gdLst>
              <a:gd name="connsiteX0" fmla="*/ 2976 w 2976"/>
              <a:gd name="connsiteY0" fmla="*/ 0 h 3918"/>
              <a:gd name="connsiteX1" fmla="*/ 0 w 2976"/>
              <a:gd name="connsiteY1" fmla="*/ 3918 h 3918"/>
              <a:gd name="connsiteX2" fmla="*/ 0 w 2976"/>
              <a:gd name="connsiteY2" fmla="*/ 2992 h 3918"/>
              <a:gd name="connsiteX3" fmla="*/ 2976 w 2976"/>
              <a:gd name="connsiteY3" fmla="*/ 0 h 3918"/>
            </a:gdLst>
            <a:ahLst/>
            <a:cxnLst>
              <a:cxn ang="0">
                <a:pos x="connsiteX0" y="connsiteY0"/>
              </a:cxn>
              <a:cxn ang="0">
                <a:pos x="connsiteX1" y="connsiteY1"/>
              </a:cxn>
              <a:cxn ang="0">
                <a:pos x="connsiteX2" y="connsiteY2"/>
              </a:cxn>
              <a:cxn ang="0">
                <a:pos x="connsiteX3" y="connsiteY3"/>
              </a:cxn>
            </a:cxnLst>
            <a:rect l="l" t="t" r="r" b="b"/>
            <a:pathLst>
              <a:path w="2976" h="3918">
                <a:moveTo>
                  <a:pt x="2976" y="0"/>
                </a:moveTo>
                <a:lnTo>
                  <a:pt x="0" y="3918"/>
                </a:lnTo>
                <a:lnTo>
                  <a:pt x="0" y="2992"/>
                </a:lnTo>
                <a:lnTo>
                  <a:pt x="2976"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6" name="Freeform: Shape 15">
            <a:extLst>
              <a:ext uri="{FF2B5EF4-FFF2-40B4-BE49-F238E27FC236}">
                <a16:creationId xmlns:a16="http://schemas.microsoft.com/office/drawing/2014/main" id="{75C404F9-94B7-8CF6-0750-76896E3FE8A2}"/>
              </a:ext>
            </a:extLst>
          </p:cNvPr>
          <p:cNvSpPr/>
          <p:nvPr userDrawn="1"/>
        </p:nvSpPr>
        <p:spPr>
          <a:xfrm>
            <a:off x="8844236" y="2085914"/>
            <a:ext cx="14552" cy="19155"/>
          </a:xfrm>
          <a:custGeom>
            <a:avLst/>
            <a:gdLst>
              <a:gd name="connsiteX0" fmla="*/ 14552 w 14552"/>
              <a:gd name="connsiteY0" fmla="*/ 0 h 19155"/>
              <a:gd name="connsiteX1" fmla="*/ 14552 w 14552"/>
              <a:gd name="connsiteY1" fmla="*/ 4603 h 19155"/>
              <a:gd name="connsiteX2" fmla="*/ 0 w 14552"/>
              <a:gd name="connsiteY2" fmla="*/ 19155 h 19155"/>
              <a:gd name="connsiteX3" fmla="*/ 14552 w 14552"/>
              <a:gd name="connsiteY3" fmla="*/ 0 h 19155"/>
            </a:gdLst>
            <a:ahLst/>
            <a:cxnLst>
              <a:cxn ang="0">
                <a:pos x="connsiteX0" y="connsiteY0"/>
              </a:cxn>
              <a:cxn ang="0">
                <a:pos x="connsiteX1" y="connsiteY1"/>
              </a:cxn>
              <a:cxn ang="0">
                <a:pos x="connsiteX2" y="connsiteY2"/>
              </a:cxn>
              <a:cxn ang="0">
                <a:pos x="connsiteX3" y="connsiteY3"/>
              </a:cxn>
            </a:cxnLst>
            <a:rect l="l" t="t" r="r" b="b"/>
            <a:pathLst>
              <a:path w="14552" h="19155">
                <a:moveTo>
                  <a:pt x="14552" y="0"/>
                </a:moveTo>
                <a:lnTo>
                  <a:pt x="14552" y="4603"/>
                </a:lnTo>
                <a:lnTo>
                  <a:pt x="0" y="19155"/>
                </a:lnTo>
                <a:lnTo>
                  <a:pt x="14552"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7" name="Freeform: Shape 16">
            <a:extLst>
              <a:ext uri="{FF2B5EF4-FFF2-40B4-BE49-F238E27FC236}">
                <a16:creationId xmlns:a16="http://schemas.microsoft.com/office/drawing/2014/main" id="{5911F414-CE46-2A08-2211-5D19FE58E79D}"/>
              </a:ext>
            </a:extLst>
          </p:cNvPr>
          <p:cNvSpPr/>
          <p:nvPr userDrawn="1"/>
        </p:nvSpPr>
        <p:spPr>
          <a:xfrm>
            <a:off x="8858788" y="2071835"/>
            <a:ext cx="6244" cy="13153"/>
          </a:xfrm>
          <a:custGeom>
            <a:avLst/>
            <a:gdLst>
              <a:gd name="connsiteX0" fmla="*/ 0 w 6244"/>
              <a:gd name="connsiteY0" fmla="*/ 0 h 13153"/>
              <a:gd name="connsiteX1" fmla="*/ 6244 w 6244"/>
              <a:gd name="connsiteY1" fmla="*/ 5860 h 13153"/>
              <a:gd name="connsiteX2" fmla="*/ 2976 w 6244"/>
              <a:gd name="connsiteY2" fmla="*/ 10161 h 13153"/>
              <a:gd name="connsiteX3" fmla="*/ 0 w 6244"/>
              <a:gd name="connsiteY3" fmla="*/ 13153 h 13153"/>
              <a:gd name="connsiteX4" fmla="*/ 0 w 6244"/>
              <a:gd name="connsiteY4" fmla="*/ 0 h 1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 h="13153">
                <a:moveTo>
                  <a:pt x="0" y="0"/>
                </a:moveTo>
                <a:lnTo>
                  <a:pt x="6244" y="5860"/>
                </a:lnTo>
                <a:lnTo>
                  <a:pt x="2976" y="10161"/>
                </a:lnTo>
                <a:lnTo>
                  <a:pt x="0" y="13153"/>
                </a:lnTo>
                <a:lnTo>
                  <a:pt x="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0" name="Freeform: Shape 19">
            <a:extLst>
              <a:ext uri="{FF2B5EF4-FFF2-40B4-BE49-F238E27FC236}">
                <a16:creationId xmlns:a16="http://schemas.microsoft.com/office/drawing/2014/main" id="{B85A7D1A-35B8-1EA7-CCFD-B0C4E711CCEA}"/>
              </a:ext>
            </a:extLst>
          </p:cNvPr>
          <p:cNvSpPr/>
          <p:nvPr userDrawn="1"/>
        </p:nvSpPr>
        <p:spPr>
          <a:xfrm>
            <a:off x="8858788" y="2081882"/>
            <a:ext cx="6022" cy="8635"/>
          </a:xfrm>
          <a:custGeom>
            <a:avLst/>
            <a:gdLst>
              <a:gd name="connsiteX0" fmla="*/ 3090 w 6022"/>
              <a:gd name="connsiteY0" fmla="*/ 0 h 8635"/>
              <a:gd name="connsiteX1" fmla="*/ 6022 w 6022"/>
              <a:gd name="connsiteY1" fmla="*/ 2613 h 8635"/>
              <a:gd name="connsiteX2" fmla="*/ 0 w 6022"/>
              <a:gd name="connsiteY2" fmla="*/ 8635 h 8635"/>
              <a:gd name="connsiteX3" fmla="*/ 0 w 6022"/>
              <a:gd name="connsiteY3" fmla="*/ 4032 h 8635"/>
              <a:gd name="connsiteX4" fmla="*/ 2976 w 6022"/>
              <a:gd name="connsiteY4" fmla="*/ 114 h 8635"/>
              <a:gd name="connsiteX5" fmla="*/ 3090 w 6022"/>
              <a:gd name="connsiteY5" fmla="*/ 0 h 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2" h="8635">
                <a:moveTo>
                  <a:pt x="3090" y="0"/>
                </a:moveTo>
                <a:lnTo>
                  <a:pt x="6022" y="2613"/>
                </a:lnTo>
                <a:lnTo>
                  <a:pt x="0" y="8635"/>
                </a:lnTo>
                <a:lnTo>
                  <a:pt x="0" y="4032"/>
                </a:lnTo>
                <a:lnTo>
                  <a:pt x="2976" y="114"/>
                </a:lnTo>
                <a:lnTo>
                  <a:pt x="3090" y="0"/>
                </a:ln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 name="Subtitle 2">
            <a:extLst>
              <a:ext uri="{FF2B5EF4-FFF2-40B4-BE49-F238E27FC236}">
                <a16:creationId xmlns:a16="http://schemas.microsoft.com/office/drawing/2014/main" id="{EEE09F0D-0ECF-BD21-3584-CAFFAD8B08BC}"/>
              </a:ext>
            </a:extLst>
          </p:cNvPr>
          <p:cNvSpPr>
            <a:spLocks noGrp="1"/>
          </p:cNvSpPr>
          <p:nvPr>
            <p:ph type="subTitle" idx="1" hasCustomPrompt="1"/>
          </p:nvPr>
        </p:nvSpPr>
        <p:spPr>
          <a:xfrm>
            <a:off x="6588049" y="4597046"/>
            <a:ext cx="5016576" cy="769441"/>
          </a:xfrm>
          <a:noFill/>
        </p:spPr>
        <p:txBody>
          <a:bodyPr wrap="square" anchor="b" anchorCtr="0">
            <a:spAutoFit/>
          </a:bodyPr>
          <a:lstStyle>
            <a:lvl1pPr marL="0" indent="0" algn="l">
              <a:buNone/>
              <a:defRPr sz="50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Titel</a:t>
            </a:r>
          </a:p>
        </p:txBody>
      </p:sp>
      <p:grpSp>
        <p:nvGrpSpPr>
          <p:cNvPr id="6" name="Groep 5">
            <a:extLst>
              <a:ext uri="{FF2B5EF4-FFF2-40B4-BE49-F238E27FC236}">
                <a16:creationId xmlns:a16="http://schemas.microsoft.com/office/drawing/2014/main" id="{E8080B4C-9A8F-406E-D2EC-0E97BC8CCA1B}"/>
              </a:ext>
            </a:extLst>
          </p:cNvPr>
          <p:cNvGrpSpPr/>
          <p:nvPr userDrawn="1"/>
        </p:nvGrpSpPr>
        <p:grpSpPr>
          <a:xfrm>
            <a:off x="10015200" y="5839200"/>
            <a:ext cx="1599388" cy="433809"/>
            <a:chOff x="3101010" y="1249096"/>
            <a:chExt cx="3978412" cy="1079079"/>
          </a:xfrm>
          <a:solidFill>
            <a:schemeClr val="bg1"/>
          </a:solidFill>
        </p:grpSpPr>
        <p:sp>
          <p:nvSpPr>
            <p:cNvPr id="7" name="Vrije vorm 6">
              <a:extLst>
                <a:ext uri="{FF2B5EF4-FFF2-40B4-BE49-F238E27FC236}">
                  <a16:creationId xmlns:a16="http://schemas.microsoft.com/office/drawing/2014/main" id="{C1C2BD47-1A8B-7CAD-049D-6E938956DB42}"/>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745499C9-09C6-7044-5ED9-D99FB5EEB5BD}"/>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1B3BEFF4-0128-A0AE-81E4-577300943CB9}"/>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192F0070-2896-8AC5-CC34-118D1842D5F1}"/>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371F8579-D604-9158-28FE-0FA789887038}"/>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25" name="Vrije vorm 24">
              <a:extLst>
                <a:ext uri="{FF2B5EF4-FFF2-40B4-BE49-F238E27FC236}">
                  <a16:creationId xmlns:a16="http://schemas.microsoft.com/office/drawing/2014/main" id="{85368597-F8BD-EC70-BA38-94C87F2307CF}"/>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6" name="Vrije vorm 25">
              <a:extLst>
                <a:ext uri="{FF2B5EF4-FFF2-40B4-BE49-F238E27FC236}">
                  <a16:creationId xmlns:a16="http://schemas.microsoft.com/office/drawing/2014/main" id="{C171C06E-8E3D-DFFD-DF3C-CB62DF716FC9}"/>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E1535AE8-B840-D3CD-08DF-CCB9D58F1F3C}"/>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119959258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act / bee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74A6C65-F574-5A49-FF35-2AF79C74B3A9}"/>
              </a:ext>
            </a:extLst>
          </p:cNvPr>
          <p:cNvSpPr/>
          <p:nvPr userDrawn="1"/>
        </p:nvSpPr>
        <p:spPr>
          <a:xfrm>
            <a:off x="0" y="546736"/>
            <a:ext cx="8858789" cy="6311263"/>
          </a:xfrm>
          <a:custGeom>
            <a:avLst/>
            <a:gdLst>
              <a:gd name="connsiteX0" fmla="*/ 0 w 8858789"/>
              <a:gd name="connsiteY0" fmla="*/ 0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8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13" fmla="*/ 0 w 8858789"/>
              <a:gd name="connsiteY13" fmla="*/ 0 h 6858000"/>
              <a:gd name="connsiteX0" fmla="*/ 0 w 8858789"/>
              <a:gd name="connsiteY0" fmla="*/ 4342128 h 6858000"/>
              <a:gd name="connsiteX1" fmla="*/ 1 w 8858789"/>
              <a:gd name="connsiteY1" fmla="*/ 0 h 6858000"/>
              <a:gd name="connsiteX2" fmla="*/ 1 w 8858789"/>
              <a:gd name="connsiteY2" fmla="*/ 4326985 h 6858000"/>
              <a:gd name="connsiteX3" fmla="*/ 1335166 w 8858789"/>
              <a:gd name="connsiteY3" fmla="*/ 2259119 h 6858000"/>
              <a:gd name="connsiteX4" fmla="*/ 5287752 w 8858789"/>
              <a:gd name="connsiteY4" fmla="*/ 547803 h 6858000"/>
              <a:gd name="connsiteX5" fmla="*/ 6079518 w 8858789"/>
              <a:gd name="connsiteY5" fmla="*/ 594988 h 6858000"/>
              <a:gd name="connsiteX6" fmla="*/ 8826470 w 8858789"/>
              <a:gd name="connsiteY6" fmla="*/ 2041504 h 6858000"/>
              <a:gd name="connsiteX7" fmla="*/ 8858789 w 8858789"/>
              <a:gd name="connsiteY7" fmla="*/ 2071834 h 6858000"/>
              <a:gd name="connsiteX8" fmla="*/ 8858789 w 8858789"/>
              <a:gd name="connsiteY8" fmla="*/ 2084986 h 6858000"/>
              <a:gd name="connsiteX9" fmla="*/ 4109538 w 8858789"/>
              <a:gd name="connsiteY9" fmla="*/ 6858000 h 6858000"/>
              <a:gd name="connsiteX10" fmla="*/ 1 w 8858789"/>
              <a:gd name="connsiteY10" fmla="*/ 6858000 h 6858000"/>
              <a:gd name="connsiteX11" fmla="*/ 1 w 8858789"/>
              <a:gd name="connsiteY11" fmla="*/ 4342126 h 6858000"/>
              <a:gd name="connsiteX12" fmla="*/ 0 w 8858789"/>
              <a:gd name="connsiteY12" fmla="*/ 4342128 h 6858000"/>
              <a:gd name="connsiteX0" fmla="*/ 98900 w 8957689"/>
              <a:gd name="connsiteY0" fmla="*/ 3795391 h 6311263"/>
              <a:gd name="connsiteX1" fmla="*/ 98901 w 8957689"/>
              <a:gd name="connsiteY1" fmla="*/ 3780248 h 6311263"/>
              <a:gd name="connsiteX2" fmla="*/ 1434066 w 8957689"/>
              <a:gd name="connsiteY2" fmla="*/ 1712382 h 6311263"/>
              <a:gd name="connsiteX3" fmla="*/ 5386652 w 8957689"/>
              <a:gd name="connsiteY3" fmla="*/ 1066 h 6311263"/>
              <a:gd name="connsiteX4" fmla="*/ 6178418 w 8957689"/>
              <a:gd name="connsiteY4" fmla="*/ 48251 h 6311263"/>
              <a:gd name="connsiteX5" fmla="*/ 8925370 w 8957689"/>
              <a:gd name="connsiteY5" fmla="*/ 1494767 h 6311263"/>
              <a:gd name="connsiteX6" fmla="*/ 8957689 w 8957689"/>
              <a:gd name="connsiteY6" fmla="*/ 1525097 h 6311263"/>
              <a:gd name="connsiteX7" fmla="*/ 8957689 w 8957689"/>
              <a:gd name="connsiteY7" fmla="*/ 1538249 h 6311263"/>
              <a:gd name="connsiteX8" fmla="*/ 4208438 w 8957689"/>
              <a:gd name="connsiteY8" fmla="*/ 6311263 h 6311263"/>
              <a:gd name="connsiteX9" fmla="*/ 98901 w 8957689"/>
              <a:gd name="connsiteY9" fmla="*/ 6311263 h 6311263"/>
              <a:gd name="connsiteX10" fmla="*/ 98901 w 8957689"/>
              <a:gd name="connsiteY10" fmla="*/ 3795389 h 6311263"/>
              <a:gd name="connsiteX11" fmla="*/ 98900 w 8957689"/>
              <a:gd name="connsiteY11" fmla="*/ 3795391 h 6311263"/>
              <a:gd name="connsiteX0" fmla="*/ 0 w 8858789"/>
              <a:gd name="connsiteY0" fmla="*/ 3795391 h 6311263"/>
              <a:gd name="connsiteX1" fmla="*/ 1 w 8858789"/>
              <a:gd name="connsiteY1" fmla="*/ 3780248 h 6311263"/>
              <a:gd name="connsiteX2" fmla="*/ 1335166 w 8858789"/>
              <a:gd name="connsiteY2" fmla="*/ 1712382 h 6311263"/>
              <a:gd name="connsiteX3" fmla="*/ 5287752 w 8858789"/>
              <a:gd name="connsiteY3" fmla="*/ 1066 h 6311263"/>
              <a:gd name="connsiteX4" fmla="*/ 6079518 w 8858789"/>
              <a:gd name="connsiteY4" fmla="*/ 48251 h 6311263"/>
              <a:gd name="connsiteX5" fmla="*/ 8826470 w 8858789"/>
              <a:gd name="connsiteY5" fmla="*/ 1494767 h 6311263"/>
              <a:gd name="connsiteX6" fmla="*/ 8858789 w 8858789"/>
              <a:gd name="connsiteY6" fmla="*/ 1525097 h 6311263"/>
              <a:gd name="connsiteX7" fmla="*/ 8858789 w 8858789"/>
              <a:gd name="connsiteY7" fmla="*/ 1538249 h 6311263"/>
              <a:gd name="connsiteX8" fmla="*/ 4109538 w 8858789"/>
              <a:gd name="connsiteY8" fmla="*/ 6311263 h 6311263"/>
              <a:gd name="connsiteX9" fmla="*/ 1 w 8858789"/>
              <a:gd name="connsiteY9" fmla="*/ 6311263 h 6311263"/>
              <a:gd name="connsiteX10" fmla="*/ 1 w 8858789"/>
              <a:gd name="connsiteY10" fmla="*/ 3795389 h 6311263"/>
              <a:gd name="connsiteX11" fmla="*/ 0 w 8858789"/>
              <a:gd name="connsiteY11" fmla="*/ 3795391 h 63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789" h="6311263">
                <a:moveTo>
                  <a:pt x="0" y="3795391"/>
                </a:moveTo>
                <a:cubicBezTo>
                  <a:pt x="0" y="3790343"/>
                  <a:pt x="1" y="3785296"/>
                  <a:pt x="1" y="3780248"/>
                </a:cubicBezTo>
                <a:cubicBezTo>
                  <a:pt x="267925" y="3068601"/>
                  <a:pt x="696857" y="2353120"/>
                  <a:pt x="1335166" y="1712382"/>
                </a:cubicBezTo>
                <a:cubicBezTo>
                  <a:pt x="2563733" y="479137"/>
                  <a:pt x="4068321" y="25656"/>
                  <a:pt x="5287752" y="1066"/>
                </a:cubicBezTo>
                <a:cubicBezTo>
                  <a:pt x="5569159" y="-4609"/>
                  <a:pt x="5835380" y="12558"/>
                  <a:pt x="6079518" y="48251"/>
                </a:cubicBezTo>
                <a:cubicBezTo>
                  <a:pt x="6707087" y="137127"/>
                  <a:pt x="7661107" y="472509"/>
                  <a:pt x="8826470" y="1494767"/>
                </a:cubicBezTo>
                <a:lnTo>
                  <a:pt x="8858789" y="1525097"/>
                </a:lnTo>
                <a:lnTo>
                  <a:pt x="8858789" y="1538249"/>
                </a:lnTo>
                <a:lnTo>
                  <a:pt x="4109538" y="6311263"/>
                </a:lnTo>
                <a:lnTo>
                  <a:pt x="1" y="6311263"/>
                </a:lnTo>
                <a:lnTo>
                  <a:pt x="1" y="3795389"/>
                </a:lnTo>
                <a:cubicBezTo>
                  <a:pt x="1" y="3795390"/>
                  <a:pt x="0" y="3795390"/>
                  <a:pt x="0" y="3795391"/>
                </a:cubicBezTo>
                <a:close/>
              </a:path>
            </a:pathLst>
          </a:custGeom>
          <a:solidFill>
            <a:schemeClr val="accent3"/>
          </a:solidFill>
          <a:ln w="12700" cap="flat">
            <a:solidFill>
              <a:schemeClr val="accent3"/>
            </a:solidFill>
            <a:prstDash val="solid"/>
            <a:miter/>
          </a:ln>
        </p:spPr>
        <p:txBody>
          <a:bodyPr wrap="square" rtlCol="0" anchor="ctr">
            <a:noAutofit/>
          </a:bodyPr>
          <a:lstStyle/>
          <a:p>
            <a:endParaRPr lang="en-GB" dirty="0"/>
          </a:p>
        </p:txBody>
      </p:sp>
      <p:sp>
        <p:nvSpPr>
          <p:cNvPr id="8" name="Freeform: Shape 7">
            <a:extLst>
              <a:ext uri="{FF2B5EF4-FFF2-40B4-BE49-F238E27FC236}">
                <a16:creationId xmlns:a16="http://schemas.microsoft.com/office/drawing/2014/main" id="{0019CB90-A3E6-6CE0-8889-AF6353A3E372}"/>
              </a:ext>
            </a:extLst>
          </p:cNvPr>
          <p:cNvSpPr/>
          <p:nvPr userDrawn="1"/>
        </p:nvSpPr>
        <p:spPr>
          <a:xfrm>
            <a:off x="-1" y="0"/>
            <a:ext cx="10949305" cy="4342128"/>
          </a:xfrm>
          <a:custGeom>
            <a:avLst/>
            <a:gdLst>
              <a:gd name="connsiteX0" fmla="*/ 0 w 10949305"/>
              <a:gd name="connsiteY0" fmla="*/ 0 h 4342128"/>
              <a:gd name="connsiteX1" fmla="*/ 10949305 w 10949305"/>
              <a:gd name="connsiteY1" fmla="*/ 0 h 4342128"/>
              <a:gd name="connsiteX2" fmla="*/ 8844237 w 10949305"/>
              <a:gd name="connsiteY2" fmla="*/ 2105068 h 4342128"/>
              <a:gd name="connsiteX3" fmla="*/ 8840883 w 10949305"/>
              <a:gd name="connsiteY3" fmla="*/ 2101933 h 4342128"/>
              <a:gd name="connsiteX4" fmla="*/ 8865033 w 10949305"/>
              <a:gd name="connsiteY4" fmla="*/ 2077694 h 4342128"/>
              <a:gd name="connsiteX5" fmla="*/ 8826470 w 10949305"/>
              <a:gd name="connsiteY5" fmla="*/ 2041504 h 4342128"/>
              <a:gd name="connsiteX6" fmla="*/ 6079518 w 10949305"/>
              <a:gd name="connsiteY6" fmla="*/ 594988 h 4342128"/>
              <a:gd name="connsiteX7" fmla="*/ 5287752 w 10949305"/>
              <a:gd name="connsiteY7" fmla="*/ 547803 h 4342128"/>
              <a:gd name="connsiteX8" fmla="*/ 1335166 w 10949305"/>
              <a:gd name="connsiteY8" fmla="*/ 2259119 h 4342128"/>
              <a:gd name="connsiteX9" fmla="*/ 1 w 10949305"/>
              <a:gd name="connsiteY9" fmla="*/ 4326985 h 4342128"/>
              <a:gd name="connsiteX10" fmla="*/ 1 w 10949305"/>
              <a:gd name="connsiteY10" fmla="*/ 4342126 h 4342128"/>
              <a:gd name="connsiteX11" fmla="*/ 0 w 10949305"/>
              <a:gd name="connsiteY11" fmla="*/ 4342128 h 4342128"/>
              <a:gd name="connsiteX12" fmla="*/ 0 w 10949305"/>
              <a:gd name="connsiteY12" fmla="*/ 0 h 4342128"/>
              <a:gd name="connsiteX0" fmla="*/ 0 w 10949305"/>
              <a:gd name="connsiteY0" fmla="*/ 0 h 4342128"/>
              <a:gd name="connsiteX1" fmla="*/ 10949305 w 10949305"/>
              <a:gd name="connsiteY1" fmla="*/ 0 h 4342128"/>
              <a:gd name="connsiteX2" fmla="*/ 8844237 w 10949305"/>
              <a:gd name="connsiteY2" fmla="*/ 2105068 h 4342128"/>
              <a:gd name="connsiteX3" fmla="*/ 8865033 w 10949305"/>
              <a:gd name="connsiteY3" fmla="*/ 2077694 h 4342128"/>
              <a:gd name="connsiteX4" fmla="*/ 8826470 w 10949305"/>
              <a:gd name="connsiteY4" fmla="*/ 2041504 h 4342128"/>
              <a:gd name="connsiteX5" fmla="*/ 6079518 w 10949305"/>
              <a:gd name="connsiteY5" fmla="*/ 594988 h 4342128"/>
              <a:gd name="connsiteX6" fmla="*/ 5287752 w 10949305"/>
              <a:gd name="connsiteY6" fmla="*/ 547803 h 4342128"/>
              <a:gd name="connsiteX7" fmla="*/ 1335166 w 10949305"/>
              <a:gd name="connsiteY7" fmla="*/ 2259119 h 4342128"/>
              <a:gd name="connsiteX8" fmla="*/ 1 w 10949305"/>
              <a:gd name="connsiteY8" fmla="*/ 4326985 h 4342128"/>
              <a:gd name="connsiteX9" fmla="*/ 1 w 10949305"/>
              <a:gd name="connsiteY9" fmla="*/ 4342126 h 4342128"/>
              <a:gd name="connsiteX10" fmla="*/ 0 w 10949305"/>
              <a:gd name="connsiteY10" fmla="*/ 4342128 h 4342128"/>
              <a:gd name="connsiteX11" fmla="*/ 0 w 10949305"/>
              <a:gd name="connsiteY11" fmla="*/ 0 h 43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305" h="4342128">
                <a:moveTo>
                  <a:pt x="0" y="0"/>
                </a:moveTo>
                <a:lnTo>
                  <a:pt x="10949305" y="0"/>
                </a:lnTo>
                <a:lnTo>
                  <a:pt x="8844237" y="2105068"/>
                </a:lnTo>
                <a:lnTo>
                  <a:pt x="8865033" y="2077694"/>
                </a:lnTo>
                <a:lnTo>
                  <a:pt x="8826470" y="2041504"/>
                </a:lnTo>
                <a:cubicBezTo>
                  <a:pt x="7661107" y="1019246"/>
                  <a:pt x="6707087" y="683864"/>
                  <a:pt x="6079518" y="594988"/>
                </a:cubicBezTo>
                <a:cubicBezTo>
                  <a:pt x="5835380" y="559295"/>
                  <a:pt x="5569159" y="542128"/>
                  <a:pt x="5287752" y="547803"/>
                </a:cubicBezTo>
                <a:cubicBezTo>
                  <a:pt x="4068321" y="572393"/>
                  <a:pt x="2563733" y="1025874"/>
                  <a:pt x="1335166" y="2259119"/>
                </a:cubicBezTo>
                <a:cubicBezTo>
                  <a:pt x="696857" y="2899857"/>
                  <a:pt x="267925" y="3615338"/>
                  <a:pt x="1" y="4326985"/>
                </a:cubicBezTo>
                <a:lnTo>
                  <a:pt x="1" y="4342126"/>
                </a:lnTo>
                <a:cubicBezTo>
                  <a:pt x="1" y="4342127"/>
                  <a:pt x="0" y="4342127"/>
                  <a:pt x="0" y="4342128"/>
                </a:cubicBezTo>
                <a:lnTo>
                  <a:pt x="0" y="0"/>
                </a:lnTo>
                <a:close/>
              </a:path>
            </a:pathLst>
          </a:custGeom>
          <a:solidFill>
            <a:srgbClr val="007D7D"/>
          </a:solidFill>
          <a:ln w="12700">
            <a:solidFill>
              <a:srgbClr val="007D7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10" name="Freeform: Shape 9">
            <a:extLst>
              <a:ext uri="{FF2B5EF4-FFF2-40B4-BE49-F238E27FC236}">
                <a16:creationId xmlns:a16="http://schemas.microsoft.com/office/drawing/2014/main" id="{E20172B7-39DA-FF71-2EA4-96F309218C44}"/>
              </a:ext>
            </a:extLst>
          </p:cNvPr>
          <p:cNvSpPr/>
          <p:nvPr userDrawn="1"/>
        </p:nvSpPr>
        <p:spPr>
          <a:xfrm>
            <a:off x="8864810" y="0"/>
            <a:ext cx="3327190" cy="5399115"/>
          </a:xfrm>
          <a:custGeom>
            <a:avLst/>
            <a:gdLst>
              <a:gd name="connsiteX0" fmla="*/ 2084494 w 3327190"/>
              <a:gd name="connsiteY0" fmla="*/ 0 h 5399115"/>
              <a:gd name="connsiteX1" fmla="*/ 3327190 w 3327190"/>
              <a:gd name="connsiteY1" fmla="*/ 0 h 5399115"/>
              <a:gd name="connsiteX2" fmla="*/ 3327190 w 3327190"/>
              <a:gd name="connsiteY2" fmla="*/ 5399115 h 5399115"/>
              <a:gd name="connsiteX3" fmla="*/ 469508 w 3327190"/>
              <a:gd name="connsiteY3" fmla="*/ 2526750 h 5399115"/>
              <a:gd name="connsiteX4" fmla="*/ 407278 w 3327190"/>
              <a:gd name="connsiteY4" fmla="*/ 2464839 h 5399115"/>
              <a:gd name="connsiteX5" fmla="*/ 380608 w 3327190"/>
              <a:gd name="connsiteY5" fmla="*/ 2438670 h 5399115"/>
              <a:gd name="connsiteX6" fmla="*/ 345684 w 3327190"/>
              <a:gd name="connsiteY6" fmla="*/ 2404841 h 5399115"/>
              <a:gd name="connsiteX7" fmla="*/ 310123 w 3327190"/>
              <a:gd name="connsiteY7" fmla="*/ 2371015 h 5399115"/>
              <a:gd name="connsiteX8" fmla="*/ 284723 w 3327190"/>
              <a:gd name="connsiteY8" fmla="*/ 2346760 h 5399115"/>
              <a:gd name="connsiteX9" fmla="*/ 244084 w 3327190"/>
              <a:gd name="connsiteY9" fmla="*/ 2307826 h 5399115"/>
              <a:gd name="connsiteX10" fmla="*/ 225668 w 3327190"/>
              <a:gd name="connsiteY10" fmla="*/ 2290593 h 5399115"/>
              <a:gd name="connsiteX11" fmla="*/ 180583 w 3327190"/>
              <a:gd name="connsiteY11" fmla="*/ 2247829 h 5399115"/>
              <a:gd name="connsiteX12" fmla="*/ 167248 w 3327190"/>
              <a:gd name="connsiteY12" fmla="*/ 2235702 h 5399115"/>
              <a:gd name="connsiteX13" fmla="*/ 117718 w 3327190"/>
              <a:gd name="connsiteY13" fmla="*/ 2190386 h 5399115"/>
              <a:gd name="connsiteX14" fmla="*/ 109462 w 3327190"/>
              <a:gd name="connsiteY14" fmla="*/ 2182726 h 5399115"/>
              <a:gd name="connsiteX15" fmla="*/ 56758 w 3327190"/>
              <a:gd name="connsiteY15" fmla="*/ 2134857 h 5399115"/>
              <a:gd name="connsiteX16" fmla="*/ 52948 w 3327190"/>
              <a:gd name="connsiteY16" fmla="*/ 2131665 h 5399115"/>
              <a:gd name="connsiteX17" fmla="*/ 0 w 3327190"/>
              <a:gd name="connsiteY17" fmla="*/ 2084494 h 5399115"/>
              <a:gd name="connsiteX18" fmla="*/ 2084494 w 3327190"/>
              <a:gd name="connsiteY18" fmla="*/ 0 h 539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27190" h="5399115">
                <a:moveTo>
                  <a:pt x="2084494" y="0"/>
                </a:moveTo>
                <a:lnTo>
                  <a:pt x="3327190" y="0"/>
                </a:lnTo>
                <a:lnTo>
                  <a:pt x="3327190" y="5399115"/>
                </a:lnTo>
                <a:lnTo>
                  <a:pt x="469508" y="2526750"/>
                </a:lnTo>
                <a:cubicBezTo>
                  <a:pt x="448554" y="2505688"/>
                  <a:pt x="427599" y="2485263"/>
                  <a:pt x="407278" y="2464839"/>
                </a:cubicBezTo>
                <a:cubicBezTo>
                  <a:pt x="398388" y="2455903"/>
                  <a:pt x="389498" y="2447605"/>
                  <a:pt x="380608" y="2438670"/>
                </a:cubicBezTo>
                <a:cubicBezTo>
                  <a:pt x="369178" y="2427182"/>
                  <a:pt x="357748" y="2415693"/>
                  <a:pt x="345684" y="2404841"/>
                </a:cubicBezTo>
                <a:cubicBezTo>
                  <a:pt x="333618" y="2393354"/>
                  <a:pt x="322188" y="2381865"/>
                  <a:pt x="310123" y="2371015"/>
                </a:cubicBezTo>
                <a:cubicBezTo>
                  <a:pt x="301868" y="2362717"/>
                  <a:pt x="293614" y="2355057"/>
                  <a:pt x="284723" y="2346760"/>
                </a:cubicBezTo>
                <a:cubicBezTo>
                  <a:pt x="270753" y="2333357"/>
                  <a:pt x="257418" y="2320591"/>
                  <a:pt x="244084" y="2307826"/>
                </a:cubicBezTo>
                <a:cubicBezTo>
                  <a:pt x="237734" y="2302082"/>
                  <a:pt x="232018" y="2296338"/>
                  <a:pt x="225668" y="2290593"/>
                </a:cubicBezTo>
                <a:cubicBezTo>
                  <a:pt x="210428" y="2276551"/>
                  <a:pt x="195188" y="2261871"/>
                  <a:pt x="180583" y="2247829"/>
                </a:cubicBezTo>
                <a:cubicBezTo>
                  <a:pt x="176138" y="2244000"/>
                  <a:pt x="171693" y="2239532"/>
                  <a:pt x="167248" y="2235702"/>
                </a:cubicBezTo>
                <a:cubicBezTo>
                  <a:pt x="150738" y="2220384"/>
                  <a:pt x="134228" y="2205066"/>
                  <a:pt x="117718" y="2190386"/>
                </a:cubicBezTo>
                <a:cubicBezTo>
                  <a:pt x="115178" y="2187832"/>
                  <a:pt x="112638" y="2185279"/>
                  <a:pt x="109462" y="2182726"/>
                </a:cubicBezTo>
                <a:cubicBezTo>
                  <a:pt x="91684" y="2166770"/>
                  <a:pt x="73903" y="2150814"/>
                  <a:pt x="56758" y="2134857"/>
                </a:cubicBezTo>
                <a:cubicBezTo>
                  <a:pt x="55488" y="2133581"/>
                  <a:pt x="54218" y="2132942"/>
                  <a:pt x="52948" y="2131665"/>
                </a:cubicBezTo>
                <a:lnTo>
                  <a:pt x="0" y="2084494"/>
                </a:lnTo>
                <a:lnTo>
                  <a:pt x="2084494" y="0"/>
                </a:lnTo>
                <a:close/>
              </a:path>
            </a:pathLst>
          </a:cu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6" name="Freeform: Shape 5">
            <a:extLst>
              <a:ext uri="{FF2B5EF4-FFF2-40B4-BE49-F238E27FC236}">
                <a16:creationId xmlns:a16="http://schemas.microsoft.com/office/drawing/2014/main" id="{B93F6A57-A779-6046-0EB8-C09B5A1CF949}"/>
              </a:ext>
            </a:extLst>
          </p:cNvPr>
          <p:cNvSpPr/>
          <p:nvPr userDrawn="1"/>
        </p:nvSpPr>
        <p:spPr>
          <a:xfrm>
            <a:off x="4109538" y="2081881"/>
            <a:ext cx="8082463" cy="4776119"/>
          </a:xfrm>
          <a:custGeom>
            <a:avLst/>
            <a:gdLst>
              <a:gd name="connsiteX0" fmla="*/ 4752340 w 8082463"/>
              <a:gd name="connsiteY0" fmla="*/ 0 h 4776119"/>
              <a:gd name="connsiteX1" fmla="*/ 4808220 w 8082463"/>
              <a:gd name="connsiteY1" fmla="*/ 49784 h 4776119"/>
              <a:gd name="connsiteX2" fmla="*/ 4812030 w 8082463"/>
              <a:gd name="connsiteY2" fmla="*/ 52976 h 4776119"/>
              <a:gd name="connsiteX3" fmla="*/ 4864734 w 8082463"/>
              <a:gd name="connsiteY3" fmla="*/ 100845 h 4776119"/>
              <a:gd name="connsiteX4" fmla="*/ 4872990 w 8082463"/>
              <a:gd name="connsiteY4" fmla="*/ 108505 h 4776119"/>
              <a:gd name="connsiteX5" fmla="*/ 4922520 w 8082463"/>
              <a:gd name="connsiteY5" fmla="*/ 153821 h 4776119"/>
              <a:gd name="connsiteX6" fmla="*/ 4935855 w 8082463"/>
              <a:gd name="connsiteY6" fmla="*/ 165948 h 4776119"/>
              <a:gd name="connsiteX7" fmla="*/ 4980940 w 8082463"/>
              <a:gd name="connsiteY7" fmla="*/ 208712 h 4776119"/>
              <a:gd name="connsiteX8" fmla="*/ 4999356 w 8082463"/>
              <a:gd name="connsiteY8" fmla="*/ 225945 h 4776119"/>
              <a:gd name="connsiteX9" fmla="*/ 5039995 w 8082463"/>
              <a:gd name="connsiteY9" fmla="*/ 264879 h 4776119"/>
              <a:gd name="connsiteX10" fmla="*/ 5065395 w 8082463"/>
              <a:gd name="connsiteY10" fmla="*/ 289134 h 4776119"/>
              <a:gd name="connsiteX11" fmla="*/ 5100956 w 8082463"/>
              <a:gd name="connsiteY11" fmla="*/ 322960 h 4776119"/>
              <a:gd name="connsiteX12" fmla="*/ 5135880 w 8082463"/>
              <a:gd name="connsiteY12" fmla="*/ 356789 h 4776119"/>
              <a:gd name="connsiteX13" fmla="*/ 5162550 w 8082463"/>
              <a:gd name="connsiteY13" fmla="*/ 382958 h 4776119"/>
              <a:gd name="connsiteX14" fmla="*/ 5224780 w 8082463"/>
              <a:gd name="connsiteY14" fmla="*/ 444869 h 4776119"/>
              <a:gd name="connsiteX15" fmla="*/ 8082463 w 8082463"/>
              <a:gd name="connsiteY15" fmla="*/ 3317235 h 4776119"/>
              <a:gd name="connsiteX16" fmla="*/ 8082463 w 8082463"/>
              <a:gd name="connsiteY16" fmla="*/ 4776119 h 4776119"/>
              <a:gd name="connsiteX17" fmla="*/ 0 w 8082463"/>
              <a:gd name="connsiteY17" fmla="*/ 4776119 h 477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82463" h="4776119">
                <a:moveTo>
                  <a:pt x="4752340" y="0"/>
                </a:moveTo>
                <a:cubicBezTo>
                  <a:pt x="4770756" y="16595"/>
                  <a:pt x="4789805" y="33190"/>
                  <a:pt x="4808220" y="49784"/>
                </a:cubicBezTo>
                <a:cubicBezTo>
                  <a:pt x="4809490" y="51061"/>
                  <a:pt x="4810760" y="51700"/>
                  <a:pt x="4812030" y="52976"/>
                </a:cubicBezTo>
                <a:cubicBezTo>
                  <a:pt x="4829175" y="68933"/>
                  <a:pt x="4846956" y="84889"/>
                  <a:pt x="4864734" y="100845"/>
                </a:cubicBezTo>
                <a:cubicBezTo>
                  <a:pt x="4867910" y="103398"/>
                  <a:pt x="4870450" y="105951"/>
                  <a:pt x="4872990" y="108505"/>
                </a:cubicBezTo>
                <a:cubicBezTo>
                  <a:pt x="4889500" y="123185"/>
                  <a:pt x="4906010" y="138503"/>
                  <a:pt x="4922520" y="153821"/>
                </a:cubicBezTo>
                <a:cubicBezTo>
                  <a:pt x="4926965" y="157651"/>
                  <a:pt x="4931410" y="162119"/>
                  <a:pt x="4935855" y="165948"/>
                </a:cubicBezTo>
                <a:cubicBezTo>
                  <a:pt x="4950460" y="179990"/>
                  <a:pt x="4965700" y="194670"/>
                  <a:pt x="4980940" y="208712"/>
                </a:cubicBezTo>
                <a:cubicBezTo>
                  <a:pt x="4987290" y="214457"/>
                  <a:pt x="4993006" y="220201"/>
                  <a:pt x="4999356" y="225945"/>
                </a:cubicBezTo>
                <a:cubicBezTo>
                  <a:pt x="5012690" y="238710"/>
                  <a:pt x="5026025" y="251476"/>
                  <a:pt x="5039995" y="264879"/>
                </a:cubicBezTo>
                <a:cubicBezTo>
                  <a:pt x="5048886" y="273176"/>
                  <a:pt x="5057140" y="280836"/>
                  <a:pt x="5065395" y="289134"/>
                </a:cubicBezTo>
                <a:cubicBezTo>
                  <a:pt x="5077460" y="299984"/>
                  <a:pt x="5088890" y="311473"/>
                  <a:pt x="5100956" y="322960"/>
                </a:cubicBezTo>
                <a:cubicBezTo>
                  <a:pt x="5113020" y="333812"/>
                  <a:pt x="5124450" y="345301"/>
                  <a:pt x="5135880" y="356789"/>
                </a:cubicBezTo>
                <a:cubicBezTo>
                  <a:pt x="5144770" y="365724"/>
                  <a:pt x="5153660" y="374022"/>
                  <a:pt x="5162550" y="382958"/>
                </a:cubicBezTo>
                <a:cubicBezTo>
                  <a:pt x="5182871" y="403382"/>
                  <a:pt x="5203826" y="423807"/>
                  <a:pt x="5224780" y="444869"/>
                </a:cubicBezTo>
                <a:lnTo>
                  <a:pt x="8082463" y="3317235"/>
                </a:lnTo>
                <a:lnTo>
                  <a:pt x="8082463" y="4776119"/>
                </a:lnTo>
                <a:lnTo>
                  <a:pt x="0" y="4776119"/>
                </a:lnTo>
                <a:close/>
              </a:path>
            </a:pathLst>
          </a:custGeom>
          <a:solidFill>
            <a:srgbClr val="007D7D"/>
          </a:solidFill>
          <a:ln w="12700" cap="flat">
            <a:solidFill>
              <a:srgbClr val="007D7D"/>
            </a:solidFill>
            <a:prstDash val="solid"/>
            <a:miter/>
          </a:ln>
        </p:spPr>
        <p:txBody>
          <a:bodyPr wrap="square" rtlCol="0" anchor="ctr">
            <a:noAutofit/>
          </a:bodyPr>
          <a:lstStyle/>
          <a:p>
            <a:endParaRPr lang="en-GB"/>
          </a:p>
        </p:txBody>
      </p:sp>
      <p:sp>
        <p:nvSpPr>
          <p:cNvPr id="41" name="Title 1">
            <a:extLst>
              <a:ext uri="{FF2B5EF4-FFF2-40B4-BE49-F238E27FC236}">
                <a16:creationId xmlns:a16="http://schemas.microsoft.com/office/drawing/2014/main" id="{28CFD1A7-076B-DEF9-8D83-50E9E82FA68F}"/>
              </a:ext>
            </a:extLst>
          </p:cNvPr>
          <p:cNvSpPr>
            <a:spLocks noGrp="1"/>
          </p:cNvSpPr>
          <p:nvPr>
            <p:ph type="ctrTitle" hasCustomPrompt="1"/>
          </p:nvPr>
        </p:nvSpPr>
        <p:spPr>
          <a:xfrm>
            <a:off x="1137600" y="3207024"/>
            <a:ext cx="6812280" cy="449482"/>
          </a:xfrm>
          <a:noFill/>
        </p:spPr>
        <p:txBody>
          <a:bodyPr wrap="square" anchor="b">
            <a:spAutoFit/>
          </a:bodyPr>
          <a:lstStyle>
            <a:lvl1pPr algn="l">
              <a:lnSpc>
                <a:spcPct val="80000"/>
              </a:lnSpc>
              <a:defRPr sz="3600" b="1">
                <a:solidFill>
                  <a:schemeClr val="bg1"/>
                </a:solidFill>
              </a:defRPr>
            </a:lvl1pPr>
          </a:lstStyle>
          <a:p>
            <a:r>
              <a:rPr lang="nl-NL" noProof="0" dirty="0"/>
              <a:t>Naam</a:t>
            </a:r>
          </a:p>
        </p:txBody>
      </p:sp>
      <p:sp>
        <p:nvSpPr>
          <p:cNvPr id="42" name="Subtitle 2">
            <a:extLst>
              <a:ext uri="{FF2B5EF4-FFF2-40B4-BE49-F238E27FC236}">
                <a16:creationId xmlns:a16="http://schemas.microsoft.com/office/drawing/2014/main" id="{7FCF5694-9FEB-58DA-9F56-07296AE6C366}"/>
              </a:ext>
            </a:extLst>
          </p:cNvPr>
          <p:cNvSpPr>
            <a:spLocks noGrp="1"/>
          </p:cNvSpPr>
          <p:nvPr>
            <p:ph type="subTitle" idx="1" hasCustomPrompt="1"/>
          </p:nvPr>
        </p:nvSpPr>
        <p:spPr>
          <a:xfrm>
            <a:off x="1137600" y="3696048"/>
            <a:ext cx="6812280" cy="369332"/>
          </a:xfrm>
          <a:noFill/>
        </p:spPr>
        <p:txBody>
          <a:bodyPr wrap="square" anchor="t">
            <a:spAutoFit/>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Afdeling/Functie</a:t>
            </a:r>
          </a:p>
        </p:txBody>
      </p:sp>
      <p:sp>
        <p:nvSpPr>
          <p:cNvPr id="3" name="Tekstvak 2">
            <a:extLst>
              <a:ext uri="{FF2B5EF4-FFF2-40B4-BE49-F238E27FC236}">
                <a16:creationId xmlns:a16="http://schemas.microsoft.com/office/drawing/2014/main" id="{9806E908-3F22-CE3A-A292-6379B07428C1}"/>
              </a:ext>
            </a:extLst>
          </p:cNvPr>
          <p:cNvSpPr txBox="1"/>
          <p:nvPr userDrawn="1"/>
        </p:nvSpPr>
        <p:spPr>
          <a:xfrm>
            <a:off x="1137600" y="5870262"/>
            <a:ext cx="6102350" cy="276999"/>
          </a:xfrm>
          <a:prstGeom prst="rect">
            <a:avLst/>
          </a:prstGeom>
          <a:noFill/>
        </p:spPr>
        <p:txBody>
          <a:bodyPr wrap="square" lIns="0" tIns="0" rIns="0" bIns="0">
            <a:spAutoFit/>
          </a:bodyPr>
          <a:lstStyle/>
          <a:p>
            <a:r>
              <a:rPr lang="nl-NL" sz="1800" dirty="0">
                <a:solidFill>
                  <a:schemeClr val="bg1"/>
                </a:solidFill>
                <a:effectLst/>
                <a:latin typeface="+mn-lt"/>
              </a:rPr>
              <a:t>heartofhealth.com </a:t>
            </a:r>
            <a:endParaRPr lang="en-GB" dirty="0">
              <a:solidFill>
                <a:schemeClr val="bg1"/>
              </a:solidFill>
              <a:latin typeface="+mn-lt"/>
            </a:endParaRPr>
          </a:p>
        </p:txBody>
      </p:sp>
      <p:sp>
        <p:nvSpPr>
          <p:cNvPr id="5" name="Text Placeholder 4">
            <a:extLst>
              <a:ext uri="{FF2B5EF4-FFF2-40B4-BE49-F238E27FC236}">
                <a16:creationId xmlns:a16="http://schemas.microsoft.com/office/drawing/2014/main" id="{A9255E2B-5841-681C-09E3-97F577DF72BF}"/>
              </a:ext>
            </a:extLst>
          </p:cNvPr>
          <p:cNvSpPr>
            <a:spLocks noGrp="1"/>
          </p:cNvSpPr>
          <p:nvPr>
            <p:ph type="body" sz="quarter" idx="19" hasCustomPrompt="1"/>
          </p:nvPr>
        </p:nvSpPr>
        <p:spPr>
          <a:xfrm>
            <a:off x="1137600" y="4381670"/>
            <a:ext cx="6811962" cy="276999"/>
          </a:xfrm>
        </p:spPr>
        <p:txBody>
          <a:bodyPr>
            <a:spAutoFit/>
          </a:bodyPr>
          <a:lstStyle>
            <a:lvl1pPr>
              <a:defRPr sz="1800">
                <a:solidFill>
                  <a:schemeClr val="bg1"/>
                </a:solidFill>
              </a:defRPr>
            </a:lvl1pPr>
          </a:lstStyle>
          <a:p>
            <a:pPr lvl="0"/>
            <a:r>
              <a:rPr lang="nl-NL" noProof="0" dirty="0"/>
              <a:t>email</a:t>
            </a:r>
          </a:p>
        </p:txBody>
      </p:sp>
      <p:sp>
        <p:nvSpPr>
          <p:cNvPr id="11" name="Picture Placeholder 8">
            <a:extLst>
              <a:ext uri="{FF2B5EF4-FFF2-40B4-BE49-F238E27FC236}">
                <a16:creationId xmlns:a16="http://schemas.microsoft.com/office/drawing/2014/main" id="{3F035AA5-F14A-BEA7-72CD-B8BA66669A56}"/>
              </a:ext>
            </a:extLst>
          </p:cNvPr>
          <p:cNvSpPr>
            <a:spLocks noGrp="1"/>
          </p:cNvSpPr>
          <p:nvPr>
            <p:ph type="pic" sz="quarter" idx="20"/>
          </p:nvPr>
        </p:nvSpPr>
        <p:spPr>
          <a:xfrm>
            <a:off x="6808663" y="1514846"/>
            <a:ext cx="3845172" cy="3828308"/>
          </a:xfrm>
          <a:prstGeom prst="ellipse">
            <a:avLst/>
          </a:prstGeom>
          <a:solidFill>
            <a:schemeClr val="bg1">
              <a:lumMod val="95000"/>
            </a:schemeClr>
          </a:solidFill>
        </p:spPr>
        <p:txBody>
          <a:bodyPr anchor="ctr" anchorCtr="0"/>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grpSp>
        <p:nvGrpSpPr>
          <p:cNvPr id="2" name="Groep 1">
            <a:extLst>
              <a:ext uri="{FF2B5EF4-FFF2-40B4-BE49-F238E27FC236}">
                <a16:creationId xmlns:a16="http://schemas.microsoft.com/office/drawing/2014/main" id="{87AE091C-B0D8-82B1-D994-76044ACB4B49}"/>
              </a:ext>
            </a:extLst>
          </p:cNvPr>
          <p:cNvGrpSpPr/>
          <p:nvPr userDrawn="1"/>
        </p:nvGrpSpPr>
        <p:grpSpPr>
          <a:xfrm>
            <a:off x="10014482" y="5839298"/>
            <a:ext cx="1599388" cy="433809"/>
            <a:chOff x="3101010" y="1249096"/>
            <a:chExt cx="3978412" cy="1079079"/>
          </a:xfrm>
          <a:solidFill>
            <a:schemeClr val="bg1"/>
          </a:solidFill>
        </p:grpSpPr>
        <p:sp>
          <p:nvSpPr>
            <p:cNvPr id="4" name="Vrije vorm 3">
              <a:extLst>
                <a:ext uri="{FF2B5EF4-FFF2-40B4-BE49-F238E27FC236}">
                  <a16:creationId xmlns:a16="http://schemas.microsoft.com/office/drawing/2014/main" id="{BE01A867-5351-DF72-BB40-A82EEC52CB0C}"/>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4377C5CF-E5BD-0B76-D8E3-0CD896700247}"/>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CBF666B4-2E7B-073A-79A1-152E4CB0DD3D}"/>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63B67466-CE83-044E-12EE-C5CB73A55FA4}"/>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E9AE048F-75FD-A6CB-21CF-9FB29108EBC3}"/>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72F64390-92C9-F155-EDBE-6D075CCC2B8B}"/>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E70A7D4C-5EC8-EE7F-6A5F-588F656DA118}"/>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58ACC5BB-9445-F131-D9EA-BD52D34AF0CA}"/>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8" name="Graphic 11">
            <a:extLst>
              <a:ext uri="{FF2B5EF4-FFF2-40B4-BE49-F238E27FC236}">
                <a16:creationId xmlns:a16="http://schemas.microsoft.com/office/drawing/2014/main" id="{622EE411-3194-946E-160E-1F9FB021F0DE}"/>
              </a:ext>
              <a:ext uri="{C183D7F6-B498-43B3-948B-1728B52AA6E4}">
                <adec:decorative xmlns:adec="http://schemas.microsoft.com/office/drawing/2017/decorative" val="0"/>
              </a:ext>
            </a:extLst>
          </p:cNvPr>
          <p:cNvSpPr/>
          <p:nvPr userDrawn="1"/>
        </p:nvSpPr>
        <p:spPr>
          <a:xfrm>
            <a:off x="1154113" y="4893269"/>
            <a:ext cx="366523" cy="366523"/>
          </a:xfrm>
          <a:custGeom>
            <a:avLst/>
            <a:gdLst>
              <a:gd name="connsiteX0" fmla="*/ 354337 w 382607"/>
              <a:gd name="connsiteY0" fmla="*/ 0 h 382607"/>
              <a:gd name="connsiteX1" fmla="*/ 28270 w 382607"/>
              <a:gd name="connsiteY1" fmla="*/ 0 h 382607"/>
              <a:gd name="connsiteX2" fmla="*/ 0 w 382607"/>
              <a:gd name="connsiteY2" fmla="*/ 27633 h 382607"/>
              <a:gd name="connsiteX3" fmla="*/ 0 w 382607"/>
              <a:gd name="connsiteY3" fmla="*/ 354974 h 382607"/>
              <a:gd name="connsiteX4" fmla="*/ 28270 w 382607"/>
              <a:gd name="connsiteY4" fmla="*/ 382607 h 382607"/>
              <a:gd name="connsiteX5" fmla="*/ 354337 w 382607"/>
              <a:gd name="connsiteY5" fmla="*/ 382607 h 382607"/>
              <a:gd name="connsiteX6" fmla="*/ 382607 w 382607"/>
              <a:gd name="connsiteY6" fmla="*/ 354974 h 382607"/>
              <a:gd name="connsiteX7" fmla="*/ 382607 w 382607"/>
              <a:gd name="connsiteY7" fmla="*/ 27633 h 382607"/>
              <a:gd name="connsiteX8" fmla="*/ 354337 w 382607"/>
              <a:gd name="connsiteY8" fmla="*/ 0 h 382607"/>
              <a:gd name="connsiteX9" fmla="*/ 113507 w 382607"/>
              <a:gd name="connsiteY9" fmla="*/ 326066 h 382607"/>
              <a:gd name="connsiteX10" fmla="*/ 56647 w 382607"/>
              <a:gd name="connsiteY10" fmla="*/ 326066 h 382607"/>
              <a:gd name="connsiteX11" fmla="*/ 56647 w 382607"/>
              <a:gd name="connsiteY11" fmla="*/ 143478 h 382607"/>
              <a:gd name="connsiteX12" fmla="*/ 113401 w 382607"/>
              <a:gd name="connsiteY12" fmla="*/ 143478 h 382607"/>
              <a:gd name="connsiteX13" fmla="*/ 113401 w 382607"/>
              <a:gd name="connsiteY13" fmla="*/ 326066 h 382607"/>
              <a:gd name="connsiteX14" fmla="*/ 85130 w 382607"/>
              <a:gd name="connsiteY14" fmla="*/ 118502 h 382607"/>
              <a:gd name="connsiteX15" fmla="*/ 52183 w 382607"/>
              <a:gd name="connsiteY15" fmla="*/ 85555 h 382607"/>
              <a:gd name="connsiteX16" fmla="*/ 85130 w 382607"/>
              <a:gd name="connsiteY16" fmla="*/ 52608 h 382607"/>
              <a:gd name="connsiteX17" fmla="*/ 117971 w 382607"/>
              <a:gd name="connsiteY17" fmla="*/ 85555 h 382607"/>
              <a:gd name="connsiteX18" fmla="*/ 85130 w 382607"/>
              <a:gd name="connsiteY18" fmla="*/ 118502 h 382607"/>
              <a:gd name="connsiteX19" fmla="*/ 326066 w 382607"/>
              <a:gd name="connsiteY19" fmla="*/ 326066 h 382607"/>
              <a:gd name="connsiteX20" fmla="*/ 269313 w 382607"/>
              <a:gd name="connsiteY20" fmla="*/ 326066 h 382607"/>
              <a:gd name="connsiteX21" fmla="*/ 269313 w 382607"/>
              <a:gd name="connsiteY21" fmla="*/ 237323 h 382607"/>
              <a:gd name="connsiteX22" fmla="*/ 239873 w 382607"/>
              <a:gd name="connsiteY22" fmla="*/ 188859 h 382607"/>
              <a:gd name="connsiteX23" fmla="*/ 205864 w 382607"/>
              <a:gd name="connsiteY23" fmla="*/ 235728 h 382607"/>
              <a:gd name="connsiteX24" fmla="*/ 205864 w 382607"/>
              <a:gd name="connsiteY24" fmla="*/ 326066 h 382607"/>
              <a:gd name="connsiteX25" fmla="*/ 149217 w 382607"/>
              <a:gd name="connsiteY25" fmla="*/ 326066 h 382607"/>
              <a:gd name="connsiteX26" fmla="*/ 149217 w 382607"/>
              <a:gd name="connsiteY26" fmla="*/ 143478 h 382607"/>
              <a:gd name="connsiteX27" fmla="*/ 203632 w 382607"/>
              <a:gd name="connsiteY27" fmla="*/ 143478 h 382607"/>
              <a:gd name="connsiteX28" fmla="*/ 203632 w 382607"/>
              <a:gd name="connsiteY28" fmla="*/ 168453 h 382607"/>
              <a:gd name="connsiteX29" fmla="*/ 204376 w 382607"/>
              <a:gd name="connsiteY29" fmla="*/ 168453 h 382607"/>
              <a:gd name="connsiteX30" fmla="*/ 258047 w 382607"/>
              <a:gd name="connsiteY30" fmla="*/ 139014 h 382607"/>
              <a:gd name="connsiteX31" fmla="*/ 326173 w 382607"/>
              <a:gd name="connsiteY31" fmla="*/ 225951 h 382607"/>
              <a:gd name="connsiteX32" fmla="*/ 326173 w 382607"/>
              <a:gd name="connsiteY32" fmla="*/ 326066 h 382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2607" h="382607">
                <a:moveTo>
                  <a:pt x="354337" y="0"/>
                </a:moveTo>
                <a:lnTo>
                  <a:pt x="28270" y="0"/>
                </a:lnTo>
                <a:cubicBezTo>
                  <a:pt x="12647" y="0"/>
                  <a:pt x="0" y="12328"/>
                  <a:pt x="0" y="27633"/>
                </a:cubicBezTo>
                <a:lnTo>
                  <a:pt x="0" y="354974"/>
                </a:lnTo>
                <a:cubicBezTo>
                  <a:pt x="0" y="370279"/>
                  <a:pt x="12647" y="382607"/>
                  <a:pt x="28270" y="382607"/>
                </a:cubicBezTo>
                <a:lnTo>
                  <a:pt x="354337" y="382607"/>
                </a:lnTo>
                <a:cubicBezTo>
                  <a:pt x="369854" y="382607"/>
                  <a:pt x="382607" y="370279"/>
                  <a:pt x="382607" y="354974"/>
                </a:cubicBezTo>
                <a:lnTo>
                  <a:pt x="382607" y="27633"/>
                </a:lnTo>
                <a:cubicBezTo>
                  <a:pt x="382607" y="12328"/>
                  <a:pt x="369854" y="0"/>
                  <a:pt x="354337" y="0"/>
                </a:cubicBezTo>
                <a:close/>
                <a:moveTo>
                  <a:pt x="113507" y="326066"/>
                </a:moveTo>
                <a:lnTo>
                  <a:pt x="56647" y="326066"/>
                </a:lnTo>
                <a:lnTo>
                  <a:pt x="56647" y="143478"/>
                </a:lnTo>
                <a:lnTo>
                  <a:pt x="113401" y="143478"/>
                </a:lnTo>
                <a:lnTo>
                  <a:pt x="113401" y="326066"/>
                </a:lnTo>
                <a:close/>
                <a:moveTo>
                  <a:pt x="85130" y="118502"/>
                </a:moveTo>
                <a:cubicBezTo>
                  <a:pt x="66956" y="118502"/>
                  <a:pt x="52183" y="103729"/>
                  <a:pt x="52183" y="85555"/>
                </a:cubicBezTo>
                <a:cubicBezTo>
                  <a:pt x="52183" y="67381"/>
                  <a:pt x="66850" y="52608"/>
                  <a:pt x="85130" y="52608"/>
                </a:cubicBezTo>
                <a:cubicBezTo>
                  <a:pt x="103304" y="52608"/>
                  <a:pt x="117971" y="67381"/>
                  <a:pt x="117971" y="85555"/>
                </a:cubicBezTo>
                <a:cubicBezTo>
                  <a:pt x="117971" y="103729"/>
                  <a:pt x="103304" y="118502"/>
                  <a:pt x="85130" y="118502"/>
                </a:cubicBezTo>
                <a:close/>
                <a:moveTo>
                  <a:pt x="326066" y="326066"/>
                </a:moveTo>
                <a:lnTo>
                  <a:pt x="269313" y="326066"/>
                </a:lnTo>
                <a:lnTo>
                  <a:pt x="269313" y="237323"/>
                </a:lnTo>
                <a:cubicBezTo>
                  <a:pt x="269313" y="216173"/>
                  <a:pt x="268994" y="188859"/>
                  <a:pt x="239873" y="188859"/>
                </a:cubicBezTo>
                <a:cubicBezTo>
                  <a:pt x="210328" y="188859"/>
                  <a:pt x="205864" y="211922"/>
                  <a:pt x="205864" y="235728"/>
                </a:cubicBezTo>
                <a:lnTo>
                  <a:pt x="205864" y="326066"/>
                </a:lnTo>
                <a:lnTo>
                  <a:pt x="149217" y="326066"/>
                </a:lnTo>
                <a:lnTo>
                  <a:pt x="149217" y="143478"/>
                </a:lnTo>
                <a:lnTo>
                  <a:pt x="203632" y="143478"/>
                </a:lnTo>
                <a:lnTo>
                  <a:pt x="203632" y="168453"/>
                </a:lnTo>
                <a:lnTo>
                  <a:pt x="204376" y="168453"/>
                </a:lnTo>
                <a:cubicBezTo>
                  <a:pt x="211922" y="154106"/>
                  <a:pt x="230415" y="139014"/>
                  <a:pt x="258047" y="139014"/>
                </a:cubicBezTo>
                <a:cubicBezTo>
                  <a:pt x="315545" y="139014"/>
                  <a:pt x="326173" y="176849"/>
                  <a:pt x="326173" y="225951"/>
                </a:cubicBezTo>
                <a:lnTo>
                  <a:pt x="326173" y="326066"/>
                </a:lnTo>
                <a:close/>
              </a:path>
            </a:pathLst>
          </a:custGeom>
          <a:solidFill>
            <a:schemeClr val="bg1"/>
          </a:solidFill>
          <a:ln w="10432" cap="flat">
            <a:noFill/>
            <a:prstDash val="solid"/>
            <a:miter/>
          </a:ln>
        </p:spPr>
        <p:txBody>
          <a:bodyPr rtlCol="0" anchor="ctr"/>
          <a:lstStyle/>
          <a:p>
            <a:endParaRPr lang="en-GB"/>
          </a:p>
        </p:txBody>
      </p:sp>
    </p:spTree>
    <p:extLst>
      <p:ext uri="{BB962C8B-B14F-4D97-AF65-F5344CB8AC3E}">
        <p14:creationId xmlns:p14="http://schemas.microsoft.com/office/powerpoint/2010/main" val="268764261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fsluiting / Beeld">
    <p:bg>
      <p:bgPr>
        <a:solidFill>
          <a:schemeClr val="accent1"/>
        </a:solidFill>
        <a:effectLst/>
      </p:bgPr>
    </p:bg>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750D8FE7-C87B-9F36-0BB1-F47746731658}"/>
              </a:ext>
            </a:extLst>
          </p:cNvPr>
          <p:cNvSpPr>
            <a:spLocks noGrp="1"/>
          </p:cNvSpPr>
          <p:nvPr>
            <p:ph type="pic" sz="quarter" idx="19"/>
          </p:nvPr>
        </p:nvSpPr>
        <p:spPr>
          <a:xfrm>
            <a:off x="0" y="-6038"/>
            <a:ext cx="6182350" cy="6216857"/>
          </a:xfrm>
          <a:custGeom>
            <a:avLst/>
            <a:gdLst>
              <a:gd name="connsiteX0" fmla="*/ 6182350 w 6182350"/>
              <a:gd name="connsiteY0" fmla="*/ 5672849 h 6216857"/>
              <a:gd name="connsiteX1" fmla="*/ 6182303 w 6182350"/>
              <a:gd name="connsiteY1" fmla="*/ 5672878 h 6216857"/>
              <a:gd name="connsiteX2" fmla="*/ 5983423 w 6182350"/>
              <a:gd name="connsiteY2" fmla="*/ 5779967 h 6216857"/>
              <a:gd name="connsiteX3" fmla="*/ 5983423 w 6182350"/>
              <a:gd name="connsiteY3" fmla="*/ 5779967 h 6216857"/>
              <a:gd name="connsiteX4" fmla="*/ 0 w 6182350"/>
              <a:gd name="connsiteY4" fmla="*/ 0 h 6216857"/>
              <a:gd name="connsiteX5" fmla="*/ 5983422 w 6182350"/>
              <a:gd name="connsiteY5" fmla="*/ 0 h 6216857"/>
              <a:gd name="connsiteX6" fmla="*/ 5983422 w 6182350"/>
              <a:gd name="connsiteY6" fmla="*/ 5779967 h 6216857"/>
              <a:gd name="connsiteX7" fmla="*/ 5811051 w 6182350"/>
              <a:gd name="connsiteY7" fmla="*/ 5863717 h 6216857"/>
              <a:gd name="connsiteX8" fmla="*/ 4806520 w 6182350"/>
              <a:gd name="connsiteY8" fmla="*/ 6172938 h 6216857"/>
              <a:gd name="connsiteX9" fmla="*/ 477737 w 6182350"/>
              <a:gd name="connsiteY9" fmla="*/ 4659542 h 6216857"/>
              <a:gd name="connsiteX10" fmla="*/ 226169 w 6182350"/>
              <a:gd name="connsiteY10" fmla="*/ 4390367 h 6216857"/>
              <a:gd name="connsiteX11" fmla="*/ 0 w 6182350"/>
              <a:gd name="connsiteY11" fmla="*/ 4113334 h 621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82350" h="6216857">
                <a:moveTo>
                  <a:pt x="6182350" y="5672849"/>
                </a:moveTo>
                <a:lnTo>
                  <a:pt x="6182303" y="5672878"/>
                </a:lnTo>
                <a:lnTo>
                  <a:pt x="5983423" y="5779967"/>
                </a:lnTo>
                <a:lnTo>
                  <a:pt x="5983423" y="5779967"/>
                </a:lnTo>
                <a:close/>
                <a:moveTo>
                  <a:pt x="0" y="0"/>
                </a:moveTo>
                <a:lnTo>
                  <a:pt x="5983422" y="0"/>
                </a:lnTo>
                <a:lnTo>
                  <a:pt x="5983422" y="5779967"/>
                </a:lnTo>
                <a:lnTo>
                  <a:pt x="5811051" y="5863717"/>
                </a:lnTo>
                <a:cubicBezTo>
                  <a:pt x="5416730" y="6045561"/>
                  <a:pt x="5078116" y="6134419"/>
                  <a:pt x="4806520" y="6172938"/>
                </a:cubicBezTo>
                <a:cubicBezTo>
                  <a:pt x="3618360" y="6346219"/>
                  <a:pt x="1857337" y="6039674"/>
                  <a:pt x="477737" y="4659542"/>
                </a:cubicBezTo>
                <a:cubicBezTo>
                  <a:pt x="389527" y="4571298"/>
                  <a:pt x="305732" y="4481488"/>
                  <a:pt x="226169" y="4390367"/>
                </a:cubicBezTo>
                <a:lnTo>
                  <a:pt x="0" y="4113334"/>
                </a:lnTo>
                <a:close/>
              </a:path>
            </a:pathLst>
          </a:custGeom>
          <a:solidFill>
            <a:schemeClr val="bg1">
              <a:lumMod val="85000"/>
            </a:schemeClr>
          </a:solidFill>
        </p:spPr>
        <p:txBody>
          <a:bodyPr wrap="square" tIns="914400" anchor="ctr" anchorCtr="0">
            <a:noAutofit/>
          </a:bodyPr>
          <a:lstStyle>
            <a:lvl1pPr marL="0" marR="0" indent="0" algn="ctr" defTabSz="914400" rtl="0" eaLnBrk="1" fontAlgn="auto" latinLnBrk="0" hangingPunct="1">
              <a:lnSpc>
                <a:spcPct val="100000"/>
              </a:lnSpc>
              <a:spcBef>
                <a:spcPts val="0"/>
              </a:spcBef>
              <a:spcAft>
                <a:spcPts val="300"/>
              </a:spcAft>
              <a:buClrTx/>
              <a:buSzTx/>
              <a:buFontTx/>
              <a:buNone/>
              <a:tabLst/>
              <a:defRPr sz="1200"/>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nl-NL"/>
              <a:t>Klik op het pictogram als u een afbeelding wilt toevoegen</a:t>
            </a:r>
            <a:endParaRPr lang="en-GB"/>
          </a:p>
        </p:txBody>
      </p:sp>
      <p:sp>
        <p:nvSpPr>
          <p:cNvPr id="26" name="Vrije vorm 25">
            <a:extLst>
              <a:ext uri="{FF2B5EF4-FFF2-40B4-BE49-F238E27FC236}">
                <a16:creationId xmlns:a16="http://schemas.microsoft.com/office/drawing/2014/main" id="{0D2933BE-CBC4-6C62-C7C3-37ACB5A9EDAB}"/>
              </a:ext>
            </a:extLst>
          </p:cNvPr>
          <p:cNvSpPr/>
          <p:nvPr userDrawn="1"/>
        </p:nvSpPr>
        <p:spPr>
          <a:xfrm>
            <a:off x="5983422" y="-3841"/>
            <a:ext cx="6212267" cy="6868873"/>
          </a:xfrm>
          <a:custGeom>
            <a:avLst/>
            <a:gdLst>
              <a:gd name="connsiteX0" fmla="*/ 6212268 w 6212267"/>
              <a:gd name="connsiteY0" fmla="*/ 6868874 h 6868873"/>
              <a:gd name="connsiteX1" fmla="*/ 6212268 w 6212267"/>
              <a:gd name="connsiteY1" fmla="*/ 0 h 6868873"/>
              <a:gd name="connsiteX2" fmla="*/ 1796677 w 6212267"/>
              <a:gd name="connsiteY2" fmla="*/ 4417336 h 6868873"/>
              <a:gd name="connsiteX3" fmla="*/ 0 w 6212267"/>
              <a:gd name="connsiteY3" fmla="*/ 5777770 h 6868873"/>
              <a:gd name="connsiteX4" fmla="*/ 0 w 6212267"/>
              <a:gd name="connsiteY4" fmla="*/ 6868874 h 6868873"/>
              <a:gd name="connsiteX5" fmla="*/ 6212268 w 6212267"/>
              <a:gd name="connsiteY5" fmla="*/ 6868874 h 686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2267" h="6868873">
                <a:moveTo>
                  <a:pt x="6212268" y="6868874"/>
                </a:moveTo>
                <a:lnTo>
                  <a:pt x="6212268" y="0"/>
                </a:lnTo>
                <a:lnTo>
                  <a:pt x="1796677" y="4417336"/>
                </a:lnTo>
                <a:cubicBezTo>
                  <a:pt x="1126082" y="5088166"/>
                  <a:pt x="519608" y="5512547"/>
                  <a:pt x="0" y="5777770"/>
                </a:cubicBezTo>
                <a:lnTo>
                  <a:pt x="0" y="6868874"/>
                </a:lnTo>
                <a:lnTo>
                  <a:pt x="6212268" y="6868874"/>
                </a:lnTo>
                <a:close/>
              </a:path>
            </a:pathLst>
          </a:custGeom>
          <a:solidFill>
            <a:srgbClr val="007D7D"/>
          </a:solidFill>
          <a:ln w="12700" cap="flat">
            <a:solidFill>
              <a:srgbClr val="007D7D"/>
            </a:solid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1B4EB234-DB26-D2B9-6394-EA97F26864A6}"/>
              </a:ext>
            </a:extLst>
          </p:cNvPr>
          <p:cNvSpPr/>
          <p:nvPr userDrawn="1"/>
        </p:nvSpPr>
        <p:spPr>
          <a:xfrm>
            <a:off x="0" y="4107295"/>
            <a:ext cx="5983422" cy="2757736"/>
          </a:xfrm>
          <a:custGeom>
            <a:avLst/>
            <a:gdLst>
              <a:gd name="connsiteX0" fmla="*/ 0 w 5983422"/>
              <a:gd name="connsiteY0" fmla="*/ 0 h 2757736"/>
              <a:gd name="connsiteX1" fmla="*/ 0 w 5983422"/>
              <a:gd name="connsiteY1" fmla="*/ 2757736 h 2757736"/>
              <a:gd name="connsiteX2" fmla="*/ 5983423 w 5983422"/>
              <a:gd name="connsiteY2" fmla="*/ 2757736 h 2757736"/>
              <a:gd name="connsiteX3" fmla="*/ 5983423 w 5983422"/>
              <a:gd name="connsiteY3" fmla="*/ 1666633 h 2757736"/>
              <a:gd name="connsiteX4" fmla="*/ 4806520 w 5983422"/>
              <a:gd name="connsiteY4" fmla="*/ 2059605 h 2757736"/>
              <a:gd name="connsiteX5" fmla="*/ 477737 w 5983422"/>
              <a:gd name="connsiteY5" fmla="*/ 546209 h 2757736"/>
              <a:gd name="connsiteX6" fmla="*/ 0 w 5983422"/>
              <a:gd name="connsiteY6" fmla="*/ 0 h 275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3422" h="2757736">
                <a:moveTo>
                  <a:pt x="0" y="0"/>
                </a:moveTo>
                <a:lnTo>
                  <a:pt x="0" y="2757736"/>
                </a:lnTo>
                <a:lnTo>
                  <a:pt x="5983423" y="2757736"/>
                </a:lnTo>
                <a:lnTo>
                  <a:pt x="5983423" y="1666633"/>
                </a:lnTo>
                <a:cubicBezTo>
                  <a:pt x="5514844" y="1905813"/>
                  <a:pt x="5116915" y="2015583"/>
                  <a:pt x="4806520" y="2059605"/>
                </a:cubicBezTo>
                <a:cubicBezTo>
                  <a:pt x="3618360" y="2232886"/>
                  <a:pt x="1857337" y="1926341"/>
                  <a:pt x="477737" y="546209"/>
                </a:cubicBezTo>
                <a:cubicBezTo>
                  <a:pt x="301317" y="369721"/>
                  <a:pt x="142555" y="186966"/>
                  <a:pt x="0" y="0"/>
                </a:cubicBezTo>
              </a:path>
            </a:pathLst>
          </a:custGeom>
          <a:solidFill>
            <a:schemeClr val="accent3"/>
          </a:solidFill>
          <a:ln w="12700" cap="flat">
            <a:solidFill>
              <a:schemeClr val="accent3"/>
            </a:solidFill>
            <a:prstDash val="solid"/>
            <a:miter/>
          </a:ln>
        </p:spPr>
        <p:txBody>
          <a:bodyPr rtlCol="0" anchor="ctr"/>
          <a:lstStyle/>
          <a:p>
            <a:endParaRPr lang="nl-NL"/>
          </a:p>
        </p:txBody>
      </p:sp>
      <p:sp>
        <p:nvSpPr>
          <p:cNvPr id="28" name="Vrije vorm 27">
            <a:extLst>
              <a:ext uri="{FF2B5EF4-FFF2-40B4-BE49-F238E27FC236}">
                <a16:creationId xmlns:a16="http://schemas.microsoft.com/office/drawing/2014/main" id="{3658FEB1-68B3-77E1-5752-DAE16069FAC9}"/>
              </a:ext>
            </a:extLst>
          </p:cNvPr>
          <p:cNvSpPr/>
          <p:nvPr userDrawn="1"/>
        </p:nvSpPr>
        <p:spPr>
          <a:xfrm>
            <a:off x="5983422" y="-3848"/>
            <a:ext cx="6212267" cy="5777776"/>
          </a:xfrm>
          <a:custGeom>
            <a:avLst/>
            <a:gdLst>
              <a:gd name="connsiteX0" fmla="*/ 0 w 6212267"/>
              <a:gd name="connsiteY0" fmla="*/ 5777777 h 5777776"/>
              <a:gd name="connsiteX1" fmla="*/ 1796677 w 6212267"/>
              <a:gd name="connsiteY1" fmla="*/ 4417331 h 5777776"/>
              <a:gd name="connsiteX2" fmla="*/ 6212268 w 6212267"/>
              <a:gd name="connsiteY2" fmla="*/ 0 h 5777776"/>
              <a:gd name="connsiteX3" fmla="*/ 0 w 6212267"/>
              <a:gd name="connsiteY3" fmla="*/ 11 h 5777776"/>
              <a:gd name="connsiteX4" fmla="*/ 0 w 6212267"/>
              <a:gd name="connsiteY4" fmla="*/ 5777777 h 5777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2267" h="5777776">
                <a:moveTo>
                  <a:pt x="0" y="5777777"/>
                </a:moveTo>
                <a:cubicBezTo>
                  <a:pt x="519596" y="5512553"/>
                  <a:pt x="1126082" y="5088161"/>
                  <a:pt x="1796677" y="4417331"/>
                </a:cubicBezTo>
                <a:lnTo>
                  <a:pt x="6212268" y="0"/>
                </a:lnTo>
                <a:lnTo>
                  <a:pt x="0" y="11"/>
                </a:lnTo>
                <a:lnTo>
                  <a:pt x="0" y="5777777"/>
                </a:lnTo>
                <a:close/>
              </a:path>
            </a:pathLst>
          </a:custGeom>
          <a:solidFill>
            <a:schemeClr val="accent3"/>
          </a:solidFill>
          <a:ln w="12700" cap="flat">
            <a:solidFill>
              <a:schemeClr val="accent3"/>
            </a:solidFill>
            <a:prstDash val="solid"/>
            <a:miter/>
          </a:ln>
        </p:spPr>
        <p:txBody>
          <a:bodyPr rtlCol="0" anchor="ctr"/>
          <a:lstStyle/>
          <a:p>
            <a:endParaRPr lang="nl-NL"/>
          </a:p>
        </p:txBody>
      </p:sp>
      <p:sp>
        <p:nvSpPr>
          <p:cNvPr id="2" name="Titel 1">
            <a:extLst>
              <a:ext uri="{FF2B5EF4-FFF2-40B4-BE49-F238E27FC236}">
                <a16:creationId xmlns:a16="http://schemas.microsoft.com/office/drawing/2014/main" id="{9C22CEDD-0BA5-7B67-45FA-777969FEB4B5}"/>
              </a:ext>
            </a:extLst>
          </p:cNvPr>
          <p:cNvSpPr>
            <a:spLocks noGrp="1"/>
          </p:cNvSpPr>
          <p:nvPr>
            <p:ph type="title" hasCustomPrompt="1"/>
          </p:nvPr>
        </p:nvSpPr>
        <p:spPr>
          <a:xfrm>
            <a:off x="6588049" y="4936253"/>
            <a:ext cx="5016576" cy="692497"/>
          </a:xfrm>
        </p:spPr>
        <p:txBody>
          <a:bodyPr wrap="square" anchor="b" anchorCtr="0">
            <a:spAutoFit/>
          </a:bodyPr>
          <a:lstStyle>
            <a:lvl1pPr>
              <a:defRPr sz="5000">
                <a:solidFill>
                  <a:schemeClr val="bg1"/>
                </a:solidFill>
              </a:defRPr>
            </a:lvl1pPr>
          </a:lstStyle>
          <a:p>
            <a:r>
              <a:rPr lang="nl-NL" dirty="0"/>
              <a:t>Afsluiting</a:t>
            </a:r>
          </a:p>
        </p:txBody>
      </p:sp>
      <p:grpSp>
        <p:nvGrpSpPr>
          <p:cNvPr id="5" name="Groep 4">
            <a:extLst>
              <a:ext uri="{FF2B5EF4-FFF2-40B4-BE49-F238E27FC236}">
                <a16:creationId xmlns:a16="http://schemas.microsoft.com/office/drawing/2014/main" id="{82117802-456D-6AF4-E7D2-18FB3465A58A}"/>
              </a:ext>
            </a:extLst>
          </p:cNvPr>
          <p:cNvGrpSpPr/>
          <p:nvPr userDrawn="1"/>
        </p:nvGrpSpPr>
        <p:grpSpPr>
          <a:xfrm>
            <a:off x="9131077" y="510242"/>
            <a:ext cx="2473548" cy="670910"/>
            <a:chOff x="3101010" y="1249097"/>
            <a:chExt cx="3978412" cy="1079078"/>
          </a:xfrm>
          <a:solidFill>
            <a:schemeClr val="bg1"/>
          </a:solidFill>
        </p:grpSpPr>
        <p:sp>
          <p:nvSpPr>
            <p:cNvPr id="6" name="Vrije vorm 5">
              <a:extLst>
                <a:ext uri="{FF2B5EF4-FFF2-40B4-BE49-F238E27FC236}">
                  <a16:creationId xmlns:a16="http://schemas.microsoft.com/office/drawing/2014/main" id="{0FED2527-BEA9-7AF9-7316-311C3BF89D23}"/>
                </a:ext>
              </a:extLst>
            </p:cNvPr>
            <p:cNvSpPr/>
            <p:nvPr/>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1B541DF7-90F8-4878-482E-CC59764E06C7}"/>
                </a:ext>
              </a:extLst>
            </p:cNvPr>
            <p:cNvSpPr/>
            <p:nvPr/>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9733BCED-EAE3-C324-7205-D83F9338DEB0}"/>
                </a:ext>
              </a:extLst>
            </p:cNvPr>
            <p:cNvSpPr/>
            <p:nvPr/>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A8590B33-E181-BB42-A07C-965B75F49726}"/>
                </a:ext>
              </a:extLst>
            </p:cNvPr>
            <p:cNvSpPr/>
            <p:nvPr/>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D8B49135-7172-D2B7-4D24-88D7B3B3F609}"/>
                </a:ext>
              </a:extLst>
            </p:cNvPr>
            <p:cNvSpPr/>
            <p:nvPr/>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523CEF53-D3F5-3A4D-FD65-B951F455A647}"/>
                </a:ext>
              </a:extLst>
            </p:cNvPr>
            <p:cNvSpPr/>
            <p:nvPr/>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28721FAD-2360-9AB6-4B28-87610BC5E47C}"/>
                </a:ext>
              </a:extLst>
            </p:cNvPr>
            <p:cNvSpPr/>
            <p:nvPr/>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DA9B6AF1-3B48-8780-24BF-AC783FE8A52B}"/>
                </a:ext>
              </a:extLst>
            </p:cNvPr>
            <p:cNvSpPr/>
            <p:nvPr/>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
        <p:nvSpPr>
          <p:cNvPr id="15" name="Subtitle 2">
            <a:extLst>
              <a:ext uri="{FF2B5EF4-FFF2-40B4-BE49-F238E27FC236}">
                <a16:creationId xmlns:a16="http://schemas.microsoft.com/office/drawing/2014/main" id="{5FC5C1CF-68A8-8DCD-2F45-C441E28129A6}"/>
              </a:ext>
            </a:extLst>
          </p:cNvPr>
          <p:cNvSpPr>
            <a:spLocks noGrp="1"/>
          </p:cNvSpPr>
          <p:nvPr>
            <p:ph type="subTitle" idx="1" hasCustomPrompt="1"/>
          </p:nvPr>
        </p:nvSpPr>
        <p:spPr>
          <a:xfrm>
            <a:off x="6588049" y="5829147"/>
            <a:ext cx="5016576" cy="430887"/>
          </a:xfrm>
          <a:noFill/>
        </p:spPr>
        <p:txBody>
          <a:bodyPr wrap="square" anchor="b" anchorCtr="0">
            <a:spAutoFit/>
          </a:bodyPr>
          <a:lstStyle>
            <a:lvl1pPr marL="0" indent="0" algn="l">
              <a:buNone/>
              <a:defRPr sz="2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dirty="0"/>
              <a:t>Subtitel</a:t>
            </a:r>
          </a:p>
        </p:txBody>
      </p:sp>
      <p:sp>
        <p:nvSpPr>
          <p:cNvPr id="16" name="Content Placeholder 2">
            <a:extLst>
              <a:ext uri="{FF2B5EF4-FFF2-40B4-BE49-F238E27FC236}">
                <a16:creationId xmlns:a16="http://schemas.microsoft.com/office/drawing/2014/main" id="{EFB7DEB3-7883-503E-2476-9B5D764EA356}"/>
              </a:ext>
            </a:extLst>
          </p:cNvPr>
          <p:cNvSpPr>
            <a:spLocks noGrp="1"/>
          </p:cNvSpPr>
          <p:nvPr>
            <p:ph idx="17" hasCustomPrompt="1"/>
          </p:nvPr>
        </p:nvSpPr>
        <p:spPr>
          <a:xfrm>
            <a:off x="587375" y="6044590"/>
            <a:ext cx="1428991" cy="215444"/>
          </a:xfrm>
          <a:noFill/>
        </p:spPr>
        <p:txBody>
          <a:bodyPr wrap="square" anchor="ctr">
            <a:spAutoFit/>
          </a:bodyPr>
          <a:lstStyle>
            <a:lvl1pPr>
              <a:defRPr sz="1400">
                <a:solidFill>
                  <a:schemeClr val="bg1"/>
                </a:solidFill>
              </a:defRPr>
            </a:lvl1pPr>
            <a:lvl2pPr marL="0" indent="0">
              <a:spcAft>
                <a:spcPts val="0"/>
              </a:spcAft>
              <a:buNone/>
              <a:defRPr sz="1400">
                <a:solidFill>
                  <a:schemeClr val="bg1"/>
                </a:solidFill>
              </a:defRPr>
            </a:lvl2pPr>
          </a:lstStyle>
          <a:p>
            <a:pPr lvl="0"/>
            <a:r>
              <a:rPr lang="nl-NL" noProof="0"/>
              <a:t>Datum </a:t>
            </a:r>
          </a:p>
        </p:txBody>
      </p:sp>
    </p:spTree>
    <p:extLst>
      <p:ext uri="{BB962C8B-B14F-4D97-AF65-F5344CB8AC3E}">
        <p14:creationId xmlns:p14="http://schemas.microsoft.com/office/powerpoint/2010/main" val="98569377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Instructie 1">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0ED13-85AF-48A2-B969-4D6B3D0E2E20}"/>
              </a:ext>
            </a:extLst>
          </p:cNvPr>
          <p:cNvGraphicFramePr>
            <a:graphicFrameLocks noChangeAspect="1"/>
          </p:cNvGraphicFramePr>
          <p:nvPr>
            <p:custDataLst>
              <p:tags r:id="rId1"/>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4" name="Object 3" hidden="1">
                        <a:extLst>
                          <a:ext uri="{FF2B5EF4-FFF2-40B4-BE49-F238E27FC236}">
                            <a16:creationId xmlns:a16="http://schemas.microsoft.com/office/drawing/2014/main" id="{07A0ED13-85AF-48A2-B969-4D6B3D0E2E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kstvak 7">
            <a:extLst>
              <a:ext uri="{FF2B5EF4-FFF2-40B4-BE49-F238E27FC236}">
                <a16:creationId xmlns:a16="http://schemas.microsoft.com/office/drawing/2014/main" id="{2B08A765-50B6-F8F2-E8E8-921C88A6A2FB}"/>
              </a:ext>
            </a:extLst>
          </p:cNvPr>
          <p:cNvSpPr txBox="1"/>
          <p:nvPr/>
        </p:nvSpPr>
        <p:spPr>
          <a:xfrm>
            <a:off x="1137600" y="594000"/>
            <a:ext cx="6212114" cy="498598"/>
          </a:xfrm>
          <a:prstGeom prst="rect">
            <a:avLst/>
          </a:prstGeom>
        </p:spPr>
        <p:txBody>
          <a:bodyPr vert="horz" wrap="square" lIns="0" tIns="0" rIns="0" bIns="0" rtlCol="0" anchor="t">
            <a:spAutoFit/>
          </a:bodyPr>
          <a:lstStyle>
            <a:lvl1pPr>
              <a:lnSpc>
                <a:spcPct val="90000"/>
              </a:lnSpc>
              <a:spcBef>
                <a:spcPct val="0"/>
              </a:spcBef>
              <a:buNone/>
              <a:defRPr sz="3600" b="1">
                <a:solidFill>
                  <a:schemeClr val="tx2"/>
                </a:solidFill>
                <a:latin typeface="+mj-lt"/>
                <a:ea typeface="+mj-ea"/>
                <a:cs typeface="+mj-cs"/>
              </a:defRPr>
            </a:lvl1pPr>
          </a:lstStyle>
          <a:p>
            <a:pPr lvl="0"/>
            <a:r>
              <a:rPr lang="nl-NL" noProof="1"/>
              <a:t>Instructie template (1)</a:t>
            </a:r>
          </a:p>
        </p:txBody>
      </p:sp>
      <p:cxnSp>
        <p:nvCxnSpPr>
          <p:cNvPr id="17" name="Rechte verbindingslijn 16">
            <a:extLst>
              <a:ext uri="{FF2B5EF4-FFF2-40B4-BE49-F238E27FC236}">
                <a16:creationId xmlns:a16="http://schemas.microsoft.com/office/drawing/2014/main" id="{83C19C54-F645-9C9B-8AD5-B38B834AFF77}"/>
              </a:ext>
            </a:extLst>
          </p:cNvPr>
          <p:cNvCxnSpPr/>
          <p:nvPr userDrawn="1"/>
        </p:nvCxnSpPr>
        <p:spPr>
          <a:xfrm>
            <a:off x="5895165" y="1799999"/>
            <a:ext cx="0" cy="425245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ijdelijke aanduiding voor inhoud 25">
            <a:extLst>
              <a:ext uri="{FF2B5EF4-FFF2-40B4-BE49-F238E27FC236}">
                <a16:creationId xmlns:a16="http://schemas.microsoft.com/office/drawing/2014/main" id="{023246C8-3048-4D12-2836-4744D95D0819}"/>
              </a:ext>
            </a:extLst>
          </p:cNvPr>
          <p:cNvSpPr txBox="1">
            <a:spLocks/>
          </p:cNvSpPr>
          <p:nvPr userDrawn="1"/>
        </p:nvSpPr>
        <p:spPr>
          <a:xfrm>
            <a:off x="1137600" y="1558187"/>
            <a:ext cx="9188436" cy="977191"/>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0"/>
              </a:spcBef>
              <a:spcAft>
                <a:spcPts val="300"/>
              </a:spcAft>
              <a:buFontTx/>
              <a:buNone/>
              <a:defRPr sz="2000" kern="1200">
                <a:solidFill>
                  <a:schemeClr val="tx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2000" kern="1200">
                <a:solidFill>
                  <a:schemeClr val="tx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400" noProof="1">
                <a:solidFill>
                  <a:schemeClr val="tx2"/>
                </a:solidFill>
              </a:rPr>
              <a:t>Invoegen vastgelegde lay-outs in de template</a:t>
            </a:r>
          </a:p>
          <a:p>
            <a:r>
              <a:rPr lang="nl-NL" sz="1400" noProof="1">
                <a:solidFill>
                  <a:schemeClr val="tx1"/>
                </a:solidFill>
              </a:rPr>
              <a:t>Je kan kiezen uit drie kleurencombinaties:  Blauw + Groen,  Bruin+ Grijsblauw en Aqua + Paars</a:t>
            </a:r>
          </a:p>
          <a:p>
            <a:endParaRPr lang="nl-NL" sz="1400" noProof="1">
              <a:solidFill>
                <a:schemeClr val="tx1"/>
              </a:solidFill>
            </a:endParaRPr>
          </a:p>
          <a:p>
            <a:r>
              <a:rPr lang="nl-NL" sz="1400" noProof="1">
                <a:solidFill>
                  <a:schemeClr val="tx2"/>
                </a:solidFill>
              </a:rPr>
              <a:t>Ga naar START / nieuwe dia &gt; kies de gewenste lay-out</a:t>
            </a:r>
          </a:p>
        </p:txBody>
      </p:sp>
      <p:pic>
        <p:nvPicPr>
          <p:cNvPr id="19" name="Afbeelding 18">
            <a:extLst>
              <a:ext uri="{FF2B5EF4-FFF2-40B4-BE49-F238E27FC236}">
                <a16:creationId xmlns:a16="http://schemas.microsoft.com/office/drawing/2014/main" id="{7A8852F6-0C45-3670-A1A6-F510B23094E0}"/>
              </a:ext>
            </a:extLst>
          </p:cNvPr>
          <p:cNvPicPr>
            <a:picLocks noChangeAspect="1"/>
          </p:cNvPicPr>
          <p:nvPr userDrawn="1"/>
        </p:nvPicPr>
        <p:blipFill>
          <a:blip r:embed="rId7"/>
          <a:stretch>
            <a:fillRect/>
          </a:stretch>
        </p:blipFill>
        <p:spPr>
          <a:xfrm>
            <a:off x="1127125" y="3635110"/>
            <a:ext cx="2082720" cy="987760"/>
          </a:xfrm>
          <a:prstGeom prst="rect">
            <a:avLst/>
          </a:prstGeom>
        </p:spPr>
      </p:pic>
      <p:sp>
        <p:nvSpPr>
          <p:cNvPr id="21" name="Vrije vorm: vorm 20">
            <a:extLst>
              <a:ext uri="{FF2B5EF4-FFF2-40B4-BE49-F238E27FC236}">
                <a16:creationId xmlns:a16="http://schemas.microsoft.com/office/drawing/2014/main" id="{C72599B5-CF5B-BBFA-F85C-B6F29FE0A56A}"/>
              </a:ext>
            </a:extLst>
          </p:cNvPr>
          <p:cNvSpPr/>
          <p:nvPr userDrawn="1"/>
        </p:nvSpPr>
        <p:spPr>
          <a:xfrm>
            <a:off x="1137600" y="3012154"/>
            <a:ext cx="1662801" cy="396664"/>
          </a:xfrm>
          <a:custGeom>
            <a:avLst/>
            <a:gdLst>
              <a:gd name="connsiteX0" fmla="*/ 0 w 1092200"/>
              <a:gd name="connsiteY0" fmla="*/ 558800 h 558800"/>
              <a:gd name="connsiteX1" fmla="*/ 0 w 1092200"/>
              <a:gd name="connsiteY1" fmla="*/ 0 h 558800"/>
              <a:gd name="connsiteX2" fmla="*/ 1092200 w 1092200"/>
              <a:gd name="connsiteY2" fmla="*/ 0 h 558800"/>
            </a:gdLst>
            <a:ahLst/>
            <a:cxnLst>
              <a:cxn ang="0">
                <a:pos x="connsiteX0" y="connsiteY0"/>
              </a:cxn>
              <a:cxn ang="0">
                <a:pos x="connsiteX1" y="connsiteY1"/>
              </a:cxn>
              <a:cxn ang="0">
                <a:pos x="connsiteX2" y="connsiteY2"/>
              </a:cxn>
            </a:cxnLst>
            <a:rect l="l" t="t" r="r" b="b"/>
            <a:pathLst>
              <a:path w="1092200" h="558800">
                <a:moveTo>
                  <a:pt x="0" y="558800"/>
                </a:moveTo>
                <a:lnTo>
                  <a:pt x="0" y="0"/>
                </a:lnTo>
                <a:lnTo>
                  <a:pt x="1092200" y="0"/>
                </a:lnTo>
              </a:path>
            </a:pathLst>
          </a:custGeom>
          <a:noFill/>
          <a:ln w="19050">
            <a:solidFill>
              <a:schemeClr val="tx1"/>
            </a:solidFill>
            <a:tailEnd type="arrow"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aphicFrame>
        <p:nvGraphicFramePr>
          <p:cNvPr id="2" name="Object 1" hidden="1">
            <a:extLst>
              <a:ext uri="{FF2B5EF4-FFF2-40B4-BE49-F238E27FC236}">
                <a16:creationId xmlns:a16="http://schemas.microsoft.com/office/drawing/2014/main" id="{F81ECF55-F1D0-36B9-59BF-4A5BBC43F3A0}"/>
              </a:ext>
            </a:extLst>
          </p:cNvPr>
          <p:cNvGraphicFramePr>
            <a:graphicFrameLocks noChangeAspect="1"/>
          </p:cNvGraphicFramePr>
          <p:nvPr>
            <p:custDataLst>
              <p:tags r:id="rId2"/>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2" name="Object 1" hidden="1">
                        <a:extLst>
                          <a:ext uri="{FF2B5EF4-FFF2-40B4-BE49-F238E27FC236}">
                            <a16:creationId xmlns:a16="http://schemas.microsoft.com/office/drawing/2014/main" id="{F81ECF55-F1D0-36B9-59BF-4A5BBC43F3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8" name="Object 27" hidden="1">
            <a:extLst>
              <a:ext uri="{FF2B5EF4-FFF2-40B4-BE49-F238E27FC236}">
                <a16:creationId xmlns:a16="http://schemas.microsoft.com/office/drawing/2014/main" id="{7CD0338D-3A04-790F-37A1-0A6EE4BBF4F6}"/>
              </a:ext>
            </a:extLst>
          </p:cNvPr>
          <p:cNvGraphicFramePr>
            <a:graphicFrameLocks noChangeAspect="1"/>
          </p:cNvGraphicFramePr>
          <p:nvPr userDrawn="1">
            <p:custDataLst>
              <p:tags r:id="rId3"/>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28" name="Object 27" hidden="1">
                        <a:extLst>
                          <a:ext uri="{FF2B5EF4-FFF2-40B4-BE49-F238E27FC236}">
                            <a16:creationId xmlns:a16="http://schemas.microsoft.com/office/drawing/2014/main" id="{7CD0338D-3A04-790F-37A1-0A6EE4BBF4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Afbeelding 4" descr="Afbeelding met tekst, schermopname, diagram, Kleurrijkheid&#10;&#10;Door AI gegenereerde inhoud is mogelijk onjuist.">
            <a:extLst>
              <a:ext uri="{FF2B5EF4-FFF2-40B4-BE49-F238E27FC236}">
                <a16:creationId xmlns:a16="http://schemas.microsoft.com/office/drawing/2014/main" id="{DD2ED806-B370-3EA6-D8A3-BADF6839F266}"/>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3222809" y="2978137"/>
            <a:ext cx="2520000" cy="2520000"/>
          </a:xfrm>
          <a:prstGeom prst="rect">
            <a:avLst/>
          </a:prstGeom>
        </p:spPr>
      </p:pic>
      <p:pic>
        <p:nvPicPr>
          <p:cNvPr id="6" name="Afbeelding 5" descr="Afbeelding met tekst, schermopname, diagram, ontwerp&#10;&#10;Door AI gegenereerde inhoud is mogelijk onjuist.">
            <a:extLst>
              <a:ext uri="{FF2B5EF4-FFF2-40B4-BE49-F238E27FC236}">
                <a16:creationId xmlns:a16="http://schemas.microsoft.com/office/drawing/2014/main" id="{7D3E7801-B178-ABA8-25E1-939BAA047819}"/>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5883842" y="2978137"/>
            <a:ext cx="2520000" cy="2520000"/>
          </a:xfrm>
          <a:prstGeom prst="rect">
            <a:avLst/>
          </a:prstGeom>
        </p:spPr>
      </p:pic>
      <p:pic>
        <p:nvPicPr>
          <p:cNvPr id="20" name="Afbeelding 19" descr="Afbeelding met tekst, schermopname, Kleurrijkheid, diagram&#10;&#10;Door AI gegenereerde inhoud is mogelijk onjuist.">
            <a:extLst>
              <a:ext uri="{FF2B5EF4-FFF2-40B4-BE49-F238E27FC236}">
                <a16:creationId xmlns:a16="http://schemas.microsoft.com/office/drawing/2014/main" id="{9D0D0618-BF89-9CA3-034C-D7DFC67C57C2}"/>
              </a:ext>
            </a:extLst>
          </p:cNvPr>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a:xfrm>
            <a:off x="8544875" y="2978137"/>
            <a:ext cx="2520000" cy="2520000"/>
          </a:xfrm>
          <a:prstGeom prst="rect">
            <a:avLst/>
          </a:prstGeom>
        </p:spPr>
      </p:pic>
    </p:spTree>
    <p:extLst>
      <p:ext uri="{BB962C8B-B14F-4D97-AF65-F5344CB8AC3E}">
        <p14:creationId xmlns:p14="http://schemas.microsoft.com/office/powerpoint/2010/main" val="335249622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_Instructie 1">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0ED13-85AF-48A2-B969-4D6B3D0E2E20}"/>
              </a:ext>
            </a:extLst>
          </p:cNvPr>
          <p:cNvGraphicFramePr>
            <a:graphicFrameLocks noChangeAspect="1"/>
          </p:cNvGraphicFramePr>
          <p:nvPr>
            <p:custDataLst>
              <p:tags r:id="rId1"/>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4" name="Object 3" hidden="1">
                        <a:extLst>
                          <a:ext uri="{FF2B5EF4-FFF2-40B4-BE49-F238E27FC236}">
                            <a16:creationId xmlns:a16="http://schemas.microsoft.com/office/drawing/2014/main" id="{07A0ED13-85AF-48A2-B969-4D6B3D0E2E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kstvak 7">
            <a:extLst>
              <a:ext uri="{FF2B5EF4-FFF2-40B4-BE49-F238E27FC236}">
                <a16:creationId xmlns:a16="http://schemas.microsoft.com/office/drawing/2014/main" id="{2B08A765-50B6-F8F2-E8E8-921C88A6A2FB}"/>
              </a:ext>
            </a:extLst>
          </p:cNvPr>
          <p:cNvSpPr txBox="1"/>
          <p:nvPr/>
        </p:nvSpPr>
        <p:spPr>
          <a:xfrm>
            <a:off x="1137600" y="594000"/>
            <a:ext cx="6212114" cy="498598"/>
          </a:xfrm>
          <a:prstGeom prst="rect">
            <a:avLst/>
          </a:prstGeom>
        </p:spPr>
        <p:txBody>
          <a:bodyPr vert="horz" wrap="square" lIns="0" tIns="0" rIns="0" bIns="0" rtlCol="0" anchor="t">
            <a:spAutoFit/>
          </a:bodyPr>
          <a:lstStyle>
            <a:lvl1pPr>
              <a:lnSpc>
                <a:spcPct val="90000"/>
              </a:lnSpc>
              <a:spcBef>
                <a:spcPct val="0"/>
              </a:spcBef>
              <a:buNone/>
              <a:defRPr sz="3600" b="1">
                <a:solidFill>
                  <a:schemeClr val="tx2"/>
                </a:solidFill>
                <a:latin typeface="+mj-lt"/>
                <a:ea typeface="+mj-ea"/>
                <a:cs typeface="+mj-cs"/>
              </a:defRPr>
            </a:lvl1pPr>
          </a:lstStyle>
          <a:p>
            <a:pPr lvl="0"/>
            <a:r>
              <a:rPr lang="nl-NL" noProof="1"/>
              <a:t>Instructie template (2)</a:t>
            </a:r>
          </a:p>
        </p:txBody>
      </p:sp>
      <p:cxnSp>
        <p:nvCxnSpPr>
          <p:cNvPr id="17" name="Rechte verbindingslijn 16">
            <a:extLst>
              <a:ext uri="{FF2B5EF4-FFF2-40B4-BE49-F238E27FC236}">
                <a16:creationId xmlns:a16="http://schemas.microsoft.com/office/drawing/2014/main" id="{83C19C54-F645-9C9B-8AD5-B38B834AFF77}"/>
              </a:ext>
            </a:extLst>
          </p:cNvPr>
          <p:cNvCxnSpPr/>
          <p:nvPr userDrawn="1"/>
        </p:nvCxnSpPr>
        <p:spPr>
          <a:xfrm>
            <a:off x="5895165" y="1799999"/>
            <a:ext cx="0" cy="425245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ijdelijke aanduiding voor inhoud 25">
            <a:extLst>
              <a:ext uri="{FF2B5EF4-FFF2-40B4-BE49-F238E27FC236}">
                <a16:creationId xmlns:a16="http://schemas.microsoft.com/office/drawing/2014/main" id="{023246C8-3048-4D12-2836-4744D95D0819}"/>
              </a:ext>
            </a:extLst>
          </p:cNvPr>
          <p:cNvSpPr txBox="1">
            <a:spLocks/>
          </p:cNvSpPr>
          <p:nvPr userDrawn="1"/>
        </p:nvSpPr>
        <p:spPr>
          <a:xfrm>
            <a:off x="1137599" y="1558800"/>
            <a:ext cx="10467025" cy="148502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0"/>
              </a:spcBef>
              <a:spcAft>
                <a:spcPts val="300"/>
              </a:spcAft>
              <a:buFontTx/>
              <a:buNone/>
              <a:defRPr sz="2000" kern="1200">
                <a:solidFill>
                  <a:schemeClr val="tx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2000" kern="1200">
                <a:solidFill>
                  <a:schemeClr val="tx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400" noProof="1">
                <a:solidFill>
                  <a:schemeClr val="tx2"/>
                </a:solidFill>
              </a:rPr>
              <a:t>Kleur van je vaste lay-out aanpassen</a:t>
            </a:r>
          </a:p>
          <a:p>
            <a:r>
              <a:rPr lang="nl-NL" sz="1400" noProof="1">
                <a:solidFill>
                  <a:schemeClr val="tx1"/>
                </a:solidFill>
              </a:rPr>
              <a:t>Klik in de linkerkolom op de slide die je wilt aanpassen.</a:t>
            </a:r>
          </a:p>
          <a:p>
            <a:r>
              <a:rPr lang="nl-NL" sz="1400" noProof="1">
                <a:solidFill>
                  <a:schemeClr val="tx1"/>
                </a:solidFill>
              </a:rPr>
              <a:t>Ga naar het tabblad Start.</a:t>
            </a:r>
          </a:p>
          <a:p>
            <a:r>
              <a:rPr lang="nl-NL" sz="1400" noProof="1">
                <a:solidFill>
                  <a:schemeClr val="tx1"/>
                </a:solidFill>
              </a:rPr>
              <a:t>Klik op Indeling.</a:t>
            </a:r>
          </a:p>
          <a:p>
            <a:r>
              <a:rPr lang="nl-NL" sz="1400" noProof="1">
                <a:solidFill>
                  <a:schemeClr val="tx1"/>
                </a:solidFill>
              </a:rPr>
              <a:t>Kies de gewenste lay-out met dezelfde naam in dit voorbeeld Personen 1 in de kleuren die je wilt  (Bruin+Grijsblauw).</a:t>
            </a:r>
          </a:p>
          <a:p>
            <a:r>
              <a:rPr lang="nl-NL" sz="1400" noProof="1">
                <a:solidFill>
                  <a:schemeClr val="tx1"/>
                </a:solidFill>
              </a:rPr>
              <a:t>Je lay-out krijgt nu automatisch de nieuwe kleuren.</a:t>
            </a:r>
          </a:p>
        </p:txBody>
      </p:sp>
      <p:graphicFrame>
        <p:nvGraphicFramePr>
          <p:cNvPr id="2" name="Object 1" hidden="1">
            <a:extLst>
              <a:ext uri="{FF2B5EF4-FFF2-40B4-BE49-F238E27FC236}">
                <a16:creationId xmlns:a16="http://schemas.microsoft.com/office/drawing/2014/main" id="{F81ECF55-F1D0-36B9-59BF-4A5BBC43F3A0}"/>
              </a:ext>
            </a:extLst>
          </p:cNvPr>
          <p:cNvGraphicFramePr>
            <a:graphicFrameLocks noChangeAspect="1"/>
          </p:cNvGraphicFramePr>
          <p:nvPr>
            <p:custDataLst>
              <p:tags r:id="rId2"/>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2" name="Object 1" hidden="1">
                        <a:extLst>
                          <a:ext uri="{FF2B5EF4-FFF2-40B4-BE49-F238E27FC236}">
                            <a16:creationId xmlns:a16="http://schemas.microsoft.com/office/drawing/2014/main" id="{F81ECF55-F1D0-36B9-59BF-4A5BBC43F3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8" name="Object 27" hidden="1">
            <a:extLst>
              <a:ext uri="{FF2B5EF4-FFF2-40B4-BE49-F238E27FC236}">
                <a16:creationId xmlns:a16="http://schemas.microsoft.com/office/drawing/2014/main" id="{7CD0338D-3A04-790F-37A1-0A6EE4BBF4F6}"/>
              </a:ext>
            </a:extLst>
          </p:cNvPr>
          <p:cNvGraphicFramePr>
            <a:graphicFrameLocks noChangeAspect="1"/>
          </p:cNvGraphicFramePr>
          <p:nvPr userDrawn="1">
            <p:custDataLst>
              <p:tags r:id="rId3"/>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28" name="Object 27" hidden="1">
                        <a:extLst>
                          <a:ext uri="{FF2B5EF4-FFF2-40B4-BE49-F238E27FC236}">
                            <a16:creationId xmlns:a16="http://schemas.microsoft.com/office/drawing/2014/main" id="{7CD0338D-3A04-790F-37A1-0A6EE4BBF4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Afbeelding 9" descr="Afbeelding met tekst, software, Multimediasoftware, Computerpictogram&#10;&#10;Door AI gegenereerde inhoud is mogelijk onjuist.">
            <a:extLst>
              <a:ext uri="{FF2B5EF4-FFF2-40B4-BE49-F238E27FC236}">
                <a16:creationId xmlns:a16="http://schemas.microsoft.com/office/drawing/2014/main" id="{B5873C08-10F8-14FD-1616-C041E9F9A7B1}"/>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137600" y="3352700"/>
            <a:ext cx="4328450" cy="2700000"/>
          </a:xfrm>
          <a:prstGeom prst="rect">
            <a:avLst/>
          </a:prstGeom>
        </p:spPr>
      </p:pic>
      <p:pic>
        <p:nvPicPr>
          <p:cNvPr id="12" name="Afbeelding 11" descr="Afbeelding met tekst, schermopname, software, Computerpictogram&#10;&#10;Door AI gegenereerde inhoud is mogelijk onjuist.">
            <a:extLst>
              <a:ext uri="{FF2B5EF4-FFF2-40B4-BE49-F238E27FC236}">
                <a16:creationId xmlns:a16="http://schemas.microsoft.com/office/drawing/2014/main" id="{B31A09E3-88CB-25A0-28F0-270CECEE936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5626669" y="3352700"/>
            <a:ext cx="2574768" cy="2700000"/>
          </a:xfrm>
          <a:prstGeom prst="rect">
            <a:avLst/>
          </a:prstGeom>
        </p:spPr>
      </p:pic>
      <p:pic>
        <p:nvPicPr>
          <p:cNvPr id="14" name="Afbeelding 13" descr="Afbeelding met tekst, schermopname, visitekaartje, Lettertype&#10;&#10;Door AI gegenereerde inhoud is mogelijk onjuist.">
            <a:extLst>
              <a:ext uri="{FF2B5EF4-FFF2-40B4-BE49-F238E27FC236}">
                <a16:creationId xmlns:a16="http://schemas.microsoft.com/office/drawing/2014/main" id="{D2E8B93B-A8AF-7D03-675A-8C66A64C75F3}"/>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8277421" y="4481499"/>
            <a:ext cx="2787454" cy="1571201"/>
          </a:xfrm>
          <a:prstGeom prst="rect">
            <a:avLst/>
          </a:prstGeom>
        </p:spPr>
      </p:pic>
    </p:spTree>
    <p:extLst>
      <p:ext uri="{BB962C8B-B14F-4D97-AF65-F5344CB8AC3E}">
        <p14:creationId xmlns:p14="http://schemas.microsoft.com/office/powerpoint/2010/main" val="21867357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Instructie 1">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0ED13-85AF-48A2-B969-4D6B3D0E2E20}"/>
              </a:ext>
            </a:extLst>
          </p:cNvPr>
          <p:cNvGraphicFramePr>
            <a:graphicFrameLocks noChangeAspect="1"/>
          </p:cNvGraphicFramePr>
          <p:nvPr>
            <p:custDataLst>
              <p:tags r:id="rId1"/>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4" name="Object 3" hidden="1">
                        <a:extLst>
                          <a:ext uri="{FF2B5EF4-FFF2-40B4-BE49-F238E27FC236}">
                            <a16:creationId xmlns:a16="http://schemas.microsoft.com/office/drawing/2014/main" id="{07A0ED13-85AF-48A2-B969-4D6B3D0E2E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kstvak 7">
            <a:extLst>
              <a:ext uri="{FF2B5EF4-FFF2-40B4-BE49-F238E27FC236}">
                <a16:creationId xmlns:a16="http://schemas.microsoft.com/office/drawing/2014/main" id="{2B08A765-50B6-F8F2-E8E8-921C88A6A2FB}"/>
              </a:ext>
            </a:extLst>
          </p:cNvPr>
          <p:cNvSpPr txBox="1"/>
          <p:nvPr/>
        </p:nvSpPr>
        <p:spPr>
          <a:xfrm>
            <a:off x="1137600" y="594000"/>
            <a:ext cx="6212114" cy="498598"/>
          </a:xfrm>
          <a:prstGeom prst="rect">
            <a:avLst/>
          </a:prstGeom>
        </p:spPr>
        <p:txBody>
          <a:bodyPr vert="horz" wrap="square" lIns="0" tIns="0" rIns="0" bIns="0" rtlCol="0" anchor="t">
            <a:spAutoFit/>
          </a:bodyPr>
          <a:lstStyle>
            <a:lvl1pPr>
              <a:lnSpc>
                <a:spcPct val="90000"/>
              </a:lnSpc>
              <a:spcBef>
                <a:spcPct val="0"/>
              </a:spcBef>
              <a:buNone/>
              <a:defRPr sz="3600" b="1">
                <a:solidFill>
                  <a:schemeClr val="tx2"/>
                </a:solidFill>
                <a:latin typeface="+mj-lt"/>
                <a:ea typeface="+mj-ea"/>
                <a:cs typeface="+mj-cs"/>
              </a:defRPr>
            </a:lvl1pPr>
          </a:lstStyle>
          <a:p>
            <a:pPr lvl="0"/>
            <a:r>
              <a:rPr lang="nl-NL" noProof="1"/>
              <a:t>Instructie template (3)</a:t>
            </a:r>
          </a:p>
        </p:txBody>
      </p:sp>
      <p:grpSp>
        <p:nvGrpSpPr>
          <p:cNvPr id="9" name="Groep 8">
            <a:extLst>
              <a:ext uri="{FF2B5EF4-FFF2-40B4-BE49-F238E27FC236}">
                <a16:creationId xmlns:a16="http://schemas.microsoft.com/office/drawing/2014/main" id="{FA6F6B0B-0433-D3BB-7692-D5245F83F409}"/>
              </a:ext>
            </a:extLst>
          </p:cNvPr>
          <p:cNvGrpSpPr/>
          <p:nvPr userDrawn="1"/>
        </p:nvGrpSpPr>
        <p:grpSpPr>
          <a:xfrm>
            <a:off x="9675254" y="2862089"/>
            <a:ext cx="2050791" cy="1560270"/>
            <a:chOff x="11289401" y="2741174"/>
            <a:chExt cx="3207649" cy="2440424"/>
          </a:xfrm>
        </p:grpSpPr>
        <p:pic>
          <p:nvPicPr>
            <p:cNvPr id="10" name="Afbeelding 9">
              <a:extLst>
                <a:ext uri="{FF2B5EF4-FFF2-40B4-BE49-F238E27FC236}">
                  <a16:creationId xmlns:a16="http://schemas.microsoft.com/office/drawing/2014/main" id="{0DEEA243-79FC-9FEB-C980-F3C8EDE5094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289401" y="2741174"/>
              <a:ext cx="3207649" cy="2440424"/>
            </a:xfrm>
            <a:prstGeom prst="rect">
              <a:avLst/>
            </a:prstGeom>
          </p:spPr>
        </p:pic>
        <p:sp>
          <p:nvSpPr>
            <p:cNvPr id="11" name="Rechthoek 10">
              <a:extLst>
                <a:ext uri="{FF2B5EF4-FFF2-40B4-BE49-F238E27FC236}">
                  <a16:creationId xmlns:a16="http://schemas.microsoft.com/office/drawing/2014/main" id="{A99ECCF7-7C08-F5BA-86BD-F859ACCDF95C}"/>
                </a:ext>
              </a:extLst>
            </p:cNvPr>
            <p:cNvSpPr/>
            <p:nvPr/>
          </p:nvSpPr>
          <p:spPr>
            <a:xfrm>
              <a:off x="11289401" y="3067050"/>
              <a:ext cx="1147865" cy="21145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sp>
        <p:nvSpPr>
          <p:cNvPr id="16" name="Tijdelijke aanduiding voor inhoud 25">
            <a:extLst>
              <a:ext uri="{FF2B5EF4-FFF2-40B4-BE49-F238E27FC236}">
                <a16:creationId xmlns:a16="http://schemas.microsoft.com/office/drawing/2014/main" id="{A4DB9B88-5F13-A1A6-5815-125BCD18321E}"/>
              </a:ext>
            </a:extLst>
          </p:cNvPr>
          <p:cNvSpPr txBox="1">
            <a:spLocks/>
          </p:cNvSpPr>
          <p:nvPr userDrawn="1"/>
        </p:nvSpPr>
        <p:spPr>
          <a:xfrm>
            <a:off x="6386286" y="1558187"/>
            <a:ext cx="3820159" cy="4147289"/>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0"/>
              </a:spcBef>
              <a:spcAft>
                <a:spcPts val="300"/>
              </a:spcAft>
              <a:buFontTx/>
              <a:buNone/>
              <a:defRPr sz="2000" kern="1200">
                <a:solidFill>
                  <a:schemeClr val="tx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2000" kern="1200">
                <a:solidFill>
                  <a:schemeClr val="tx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400" noProof="1">
                <a:solidFill>
                  <a:schemeClr val="tx2"/>
                </a:solidFill>
              </a:rPr>
              <a:t>Beeld toevoegen</a:t>
            </a:r>
          </a:p>
          <a:p>
            <a:pPr marL="0" marR="0" lvl="0" indent="0" algn="l" defTabSz="914400" rtl="0" eaLnBrk="1" fontAlgn="auto" latinLnBrk="0" hangingPunct="1">
              <a:lnSpc>
                <a:spcPct val="100000"/>
              </a:lnSpc>
              <a:spcBef>
                <a:spcPts val="0"/>
              </a:spcBef>
              <a:spcAft>
                <a:spcPts val="300"/>
              </a:spcAft>
              <a:buClrTx/>
              <a:buSzTx/>
              <a:buFontTx/>
              <a:buNone/>
              <a:tabLst/>
              <a:defRPr/>
            </a:pPr>
            <a:r>
              <a:rPr lang="nl-NL" sz="1400" noProof="1"/>
              <a:t>Selecteer Beeld &gt; klik icoon of vlak</a:t>
            </a:r>
            <a:br>
              <a:rPr lang="nl-NL" sz="1400" noProof="1"/>
            </a:br>
            <a:r>
              <a:rPr lang="nl-NL" sz="1400" noProof="1"/>
              <a:t>daarna CTRL-V (plak) of via directory invoegen beeld</a:t>
            </a:r>
            <a:br>
              <a:rPr lang="nl-NL" sz="1400" noProof="1"/>
            </a:br>
            <a:endParaRPr lang="nl-NL" sz="1400" noProof="1"/>
          </a:p>
          <a:p>
            <a:pPr marL="0" marR="0" lvl="0" indent="0" algn="l" defTabSz="914400" rtl="0" eaLnBrk="1" fontAlgn="auto" latinLnBrk="0" hangingPunct="1">
              <a:lnSpc>
                <a:spcPct val="100000"/>
              </a:lnSpc>
              <a:spcBef>
                <a:spcPts val="0"/>
              </a:spcBef>
              <a:spcAft>
                <a:spcPts val="300"/>
              </a:spcAft>
              <a:buClrTx/>
              <a:buSzTx/>
              <a:buFontTx/>
              <a:buNone/>
              <a:tabLst/>
              <a:defRPr/>
            </a:pPr>
            <a:r>
              <a:rPr lang="nl-NL" sz="1400" noProof="1">
                <a:solidFill>
                  <a:schemeClr val="tx2"/>
                </a:solidFill>
              </a:rPr>
              <a:t>Beeld uitsnede  aanpassen na </a:t>
            </a:r>
            <a:br>
              <a:rPr lang="nl-NL" sz="1400" noProof="1">
                <a:solidFill>
                  <a:schemeClr val="tx2"/>
                </a:solidFill>
              </a:rPr>
            </a:br>
            <a:r>
              <a:rPr lang="nl-NL" sz="1400" noProof="1">
                <a:solidFill>
                  <a:schemeClr val="tx2"/>
                </a:solidFill>
              </a:rPr>
              <a:t>invoegen in placeholder / </a:t>
            </a:r>
            <a:br>
              <a:rPr lang="nl-NL" sz="1400" noProof="1">
                <a:solidFill>
                  <a:schemeClr val="tx2"/>
                </a:solidFill>
              </a:rPr>
            </a:br>
            <a:r>
              <a:rPr lang="nl-NL" sz="1400" noProof="1">
                <a:solidFill>
                  <a:schemeClr val="tx2"/>
                </a:solidFill>
              </a:rPr>
              <a:t>bijsnijden</a:t>
            </a:r>
          </a:p>
          <a:p>
            <a:r>
              <a:rPr lang="nl-NL" sz="1400" noProof="1"/>
              <a:t>Selecteer Beeld &gt; </a:t>
            </a:r>
            <a:br>
              <a:rPr lang="nl-NL" sz="1400" noProof="1"/>
            </a:br>
            <a:r>
              <a:rPr lang="nl-NL" sz="1400" noProof="1"/>
              <a:t>Klik op Afbeeldingsindeling &gt; </a:t>
            </a:r>
            <a:br>
              <a:rPr lang="nl-NL" sz="1400" noProof="1"/>
            </a:br>
            <a:r>
              <a:rPr lang="nl-NL" sz="1400" noProof="1"/>
              <a:t>Bijsnijden</a:t>
            </a:r>
          </a:p>
          <a:p>
            <a:endParaRPr lang="nl-NL" sz="1400" noProof="1"/>
          </a:p>
          <a:p>
            <a:r>
              <a:rPr lang="nl-NL" sz="1400" noProof="1"/>
              <a:t>2 mogelijkheden: </a:t>
            </a:r>
          </a:p>
          <a:p>
            <a:pPr lvl="1"/>
            <a:r>
              <a:rPr lang="nl-NL" sz="1400" noProof="1"/>
              <a:t>Proportioneel vergroten/verkleinen: </a:t>
            </a:r>
            <a:br>
              <a:rPr lang="nl-NL" sz="1400" noProof="1"/>
            </a:br>
            <a:r>
              <a:rPr lang="nl-NL" sz="1400" noProof="1"/>
              <a:t>Selecteer met SHIFT de ronde iconen en sleep groter/Kleiner</a:t>
            </a:r>
          </a:p>
          <a:p>
            <a:pPr lvl="1"/>
            <a:r>
              <a:rPr lang="nl-NL" sz="1400" noProof="1"/>
              <a:t>Klik op de foto en sleep om de uitsnede binnen het masker te positioneren</a:t>
            </a:r>
          </a:p>
        </p:txBody>
      </p:sp>
      <p:cxnSp>
        <p:nvCxnSpPr>
          <p:cNvPr id="17" name="Rechte verbindingslijn 16">
            <a:extLst>
              <a:ext uri="{FF2B5EF4-FFF2-40B4-BE49-F238E27FC236}">
                <a16:creationId xmlns:a16="http://schemas.microsoft.com/office/drawing/2014/main" id="{83C19C54-F645-9C9B-8AD5-B38B834AFF77}"/>
              </a:ext>
            </a:extLst>
          </p:cNvPr>
          <p:cNvCxnSpPr/>
          <p:nvPr userDrawn="1"/>
        </p:nvCxnSpPr>
        <p:spPr>
          <a:xfrm>
            <a:off x="5895165" y="1799999"/>
            <a:ext cx="0" cy="425245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ijdelijke aanduiding voor inhoud 25">
            <a:extLst>
              <a:ext uri="{FF2B5EF4-FFF2-40B4-BE49-F238E27FC236}">
                <a16:creationId xmlns:a16="http://schemas.microsoft.com/office/drawing/2014/main" id="{023246C8-3048-4D12-2836-4744D95D0819}"/>
              </a:ext>
            </a:extLst>
          </p:cNvPr>
          <p:cNvSpPr txBox="1">
            <a:spLocks/>
          </p:cNvSpPr>
          <p:nvPr userDrawn="1"/>
        </p:nvSpPr>
        <p:spPr>
          <a:xfrm>
            <a:off x="1137600" y="1558800"/>
            <a:ext cx="4462162" cy="1231106"/>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0"/>
              </a:spcBef>
              <a:spcAft>
                <a:spcPts val="300"/>
              </a:spcAft>
              <a:buFontTx/>
              <a:buNone/>
              <a:defRPr sz="2000" kern="1200">
                <a:solidFill>
                  <a:schemeClr val="tx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2000" kern="1200">
                <a:solidFill>
                  <a:schemeClr val="tx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400" noProof="1">
                <a:solidFill>
                  <a:schemeClr val="tx2"/>
                </a:solidFill>
              </a:rPr>
              <a:t>Invoegen vastgelegde lay-outs in de template</a:t>
            </a:r>
          </a:p>
          <a:p>
            <a:r>
              <a:rPr lang="nl-NL" sz="1400" noProof="1">
                <a:solidFill>
                  <a:schemeClr val="tx1"/>
                </a:solidFill>
              </a:rPr>
              <a:t>Je kan kiezen uit drie kleurenthema’s: </a:t>
            </a:r>
          </a:p>
          <a:p>
            <a:r>
              <a:rPr lang="nl-NL" sz="1400" noProof="1">
                <a:solidFill>
                  <a:schemeClr val="tx1"/>
                </a:solidFill>
              </a:rPr>
              <a:t>Blauw + Groen,  Bruin+ Grijsblauw en Aqua + Paars</a:t>
            </a:r>
          </a:p>
          <a:p>
            <a:endParaRPr lang="nl-NL" sz="1400" noProof="1">
              <a:solidFill>
                <a:schemeClr val="tx1"/>
              </a:solidFill>
            </a:endParaRPr>
          </a:p>
          <a:p>
            <a:r>
              <a:rPr lang="nl-NL" sz="1400" noProof="1">
                <a:solidFill>
                  <a:schemeClr val="tx2"/>
                </a:solidFill>
              </a:rPr>
              <a:t>Ga naar START / nieuwe dia &gt; kies lay-out</a:t>
            </a:r>
          </a:p>
        </p:txBody>
      </p:sp>
      <p:pic>
        <p:nvPicPr>
          <p:cNvPr id="19" name="Afbeelding 18">
            <a:extLst>
              <a:ext uri="{FF2B5EF4-FFF2-40B4-BE49-F238E27FC236}">
                <a16:creationId xmlns:a16="http://schemas.microsoft.com/office/drawing/2014/main" id="{7A8852F6-0C45-3670-A1A6-F510B23094E0}"/>
              </a:ext>
            </a:extLst>
          </p:cNvPr>
          <p:cNvPicPr>
            <a:picLocks noChangeAspect="1"/>
          </p:cNvPicPr>
          <p:nvPr userDrawn="1"/>
        </p:nvPicPr>
        <p:blipFill>
          <a:blip r:embed="rId8"/>
          <a:stretch>
            <a:fillRect/>
          </a:stretch>
        </p:blipFill>
        <p:spPr>
          <a:xfrm>
            <a:off x="544941" y="3590650"/>
            <a:ext cx="2082720" cy="987760"/>
          </a:xfrm>
          <a:prstGeom prst="rect">
            <a:avLst/>
          </a:prstGeom>
        </p:spPr>
      </p:pic>
      <p:sp>
        <p:nvSpPr>
          <p:cNvPr id="21" name="Vrije vorm: vorm 20">
            <a:extLst>
              <a:ext uri="{FF2B5EF4-FFF2-40B4-BE49-F238E27FC236}">
                <a16:creationId xmlns:a16="http://schemas.microsoft.com/office/drawing/2014/main" id="{C72599B5-CF5B-BBFA-F85C-B6F29FE0A56A}"/>
              </a:ext>
            </a:extLst>
          </p:cNvPr>
          <p:cNvSpPr/>
          <p:nvPr userDrawn="1"/>
        </p:nvSpPr>
        <p:spPr>
          <a:xfrm>
            <a:off x="902599" y="3070436"/>
            <a:ext cx="1662801" cy="396664"/>
          </a:xfrm>
          <a:custGeom>
            <a:avLst/>
            <a:gdLst>
              <a:gd name="connsiteX0" fmla="*/ 0 w 1092200"/>
              <a:gd name="connsiteY0" fmla="*/ 558800 h 558800"/>
              <a:gd name="connsiteX1" fmla="*/ 0 w 1092200"/>
              <a:gd name="connsiteY1" fmla="*/ 0 h 558800"/>
              <a:gd name="connsiteX2" fmla="*/ 1092200 w 1092200"/>
              <a:gd name="connsiteY2" fmla="*/ 0 h 558800"/>
            </a:gdLst>
            <a:ahLst/>
            <a:cxnLst>
              <a:cxn ang="0">
                <a:pos x="connsiteX0" y="connsiteY0"/>
              </a:cxn>
              <a:cxn ang="0">
                <a:pos x="connsiteX1" y="connsiteY1"/>
              </a:cxn>
              <a:cxn ang="0">
                <a:pos x="connsiteX2" y="connsiteY2"/>
              </a:cxn>
            </a:cxnLst>
            <a:rect l="l" t="t" r="r" b="b"/>
            <a:pathLst>
              <a:path w="1092200" h="558800">
                <a:moveTo>
                  <a:pt x="0" y="558800"/>
                </a:moveTo>
                <a:lnTo>
                  <a:pt x="0" y="0"/>
                </a:lnTo>
                <a:lnTo>
                  <a:pt x="1092200" y="0"/>
                </a:lnTo>
              </a:path>
            </a:pathLst>
          </a:custGeom>
          <a:noFill/>
          <a:ln w="19050">
            <a:solidFill>
              <a:schemeClr val="tx1"/>
            </a:solidFill>
            <a:tailEnd type="arrow"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1"/>
          </a:p>
        </p:txBody>
      </p:sp>
      <p:grpSp>
        <p:nvGrpSpPr>
          <p:cNvPr id="12" name="Group 7">
            <a:extLst>
              <a:ext uri="{FF2B5EF4-FFF2-40B4-BE49-F238E27FC236}">
                <a16:creationId xmlns:a16="http://schemas.microsoft.com/office/drawing/2014/main" id="{737AB3CC-1434-9908-7259-86CF2D40AAE6}"/>
              </a:ext>
            </a:extLst>
          </p:cNvPr>
          <p:cNvGrpSpPr/>
          <p:nvPr userDrawn="1"/>
        </p:nvGrpSpPr>
        <p:grpSpPr>
          <a:xfrm>
            <a:off x="10619968" y="4549382"/>
            <a:ext cx="857250" cy="335589"/>
            <a:chOff x="11013144" y="2216280"/>
            <a:chExt cx="590814" cy="182713"/>
          </a:xfrm>
        </p:grpSpPr>
        <p:pic>
          <p:nvPicPr>
            <p:cNvPr id="13" name="Picture 9">
              <a:extLst>
                <a:ext uri="{FF2B5EF4-FFF2-40B4-BE49-F238E27FC236}">
                  <a16:creationId xmlns:a16="http://schemas.microsoft.com/office/drawing/2014/main" id="{952865C5-83BC-9BA6-49AD-456DBCB29743}"/>
                </a:ext>
              </a:extLst>
            </p:cNvPr>
            <p:cNvPicPr>
              <a:picLocks noChangeAspect="1"/>
            </p:cNvPicPr>
            <p:nvPr/>
          </p:nvPicPr>
          <p:blipFill>
            <a:blip r:embed="rId9">
              <a:duotone>
                <a:prstClr val="black"/>
                <a:schemeClr val="bg1">
                  <a:tint val="45000"/>
                  <a:satMod val="400000"/>
                </a:schemeClr>
              </a:duotone>
              <a:extLst>
                <a:ext uri="{28A0092B-C50C-407E-A947-70E740481C1C}">
                  <a14:useLocalDpi xmlns:a14="http://schemas.microsoft.com/office/drawing/2010/main"/>
                </a:ext>
              </a:extLst>
            </a:blip>
            <a:stretch>
              <a:fillRect/>
            </a:stretch>
          </p:blipFill>
          <p:spPr bwMode="gray">
            <a:xfrm>
              <a:off x="11013144" y="2216280"/>
              <a:ext cx="236946" cy="182712"/>
            </a:xfrm>
            <a:prstGeom prst="rect">
              <a:avLst/>
            </a:prstGeom>
          </p:spPr>
        </p:pic>
        <p:pic>
          <p:nvPicPr>
            <p:cNvPr id="14" name="Picture 11">
              <a:extLst>
                <a:ext uri="{FF2B5EF4-FFF2-40B4-BE49-F238E27FC236}">
                  <a16:creationId xmlns:a16="http://schemas.microsoft.com/office/drawing/2014/main" id="{0690A7CC-6D88-3C9C-FFCA-BBA52D0A7F18}"/>
                </a:ext>
              </a:extLst>
            </p:cNvPr>
            <p:cNvPicPr>
              <a:picLocks noChangeAspect="1"/>
            </p:cNvPicPr>
            <p:nvPr/>
          </p:nvPicPr>
          <p:blipFill>
            <a:blip r:embed="rId10">
              <a:duotone>
                <a:prstClr val="black"/>
                <a:schemeClr val="bg1">
                  <a:tint val="45000"/>
                  <a:satMod val="400000"/>
                </a:schemeClr>
              </a:duotone>
              <a:extLst>
                <a:ext uri="{28A0092B-C50C-407E-A947-70E740481C1C}">
                  <a14:useLocalDpi xmlns:a14="http://schemas.microsoft.com/office/drawing/2010/main"/>
                </a:ext>
              </a:extLst>
            </a:blip>
            <a:stretch>
              <a:fillRect/>
            </a:stretch>
          </p:blipFill>
          <p:spPr bwMode="gray">
            <a:xfrm>
              <a:off x="11367012" y="2216281"/>
              <a:ext cx="236946" cy="182712"/>
            </a:xfrm>
            <a:prstGeom prst="rect">
              <a:avLst/>
            </a:prstGeom>
          </p:spPr>
        </p:pic>
        <p:sp>
          <p:nvSpPr>
            <p:cNvPr id="15" name="Oval 12">
              <a:extLst>
                <a:ext uri="{FF2B5EF4-FFF2-40B4-BE49-F238E27FC236}">
                  <a16:creationId xmlns:a16="http://schemas.microsoft.com/office/drawing/2014/main" id="{B4147BD7-69D9-0D38-2620-8878A7D35F7B}"/>
                </a:ext>
              </a:extLst>
            </p:cNvPr>
            <p:cNvSpPr/>
            <p:nvPr/>
          </p:nvSpPr>
          <p:spPr bwMode="gray">
            <a:xfrm>
              <a:off x="11436907" y="2258121"/>
              <a:ext cx="156896" cy="120985"/>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l"/>
              <a:endParaRPr lang="nl-NL" sz="1350" noProof="1">
                <a:latin typeface="+mn-lt"/>
              </a:endParaRPr>
            </a:p>
          </p:txBody>
        </p:sp>
      </p:grpSp>
      <p:graphicFrame>
        <p:nvGraphicFramePr>
          <p:cNvPr id="2" name="Object 1" hidden="1">
            <a:extLst>
              <a:ext uri="{FF2B5EF4-FFF2-40B4-BE49-F238E27FC236}">
                <a16:creationId xmlns:a16="http://schemas.microsoft.com/office/drawing/2014/main" id="{F81ECF55-F1D0-36B9-59BF-4A5BBC43F3A0}"/>
              </a:ext>
            </a:extLst>
          </p:cNvPr>
          <p:cNvGraphicFramePr>
            <a:graphicFrameLocks noChangeAspect="1"/>
          </p:cNvGraphicFramePr>
          <p:nvPr>
            <p:custDataLst>
              <p:tags r:id="rId2"/>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2" name="Object 1" hidden="1">
                        <a:extLst>
                          <a:ext uri="{FF2B5EF4-FFF2-40B4-BE49-F238E27FC236}">
                            <a16:creationId xmlns:a16="http://schemas.microsoft.com/office/drawing/2014/main" id="{F81ECF55-F1D0-36B9-59BF-4A5BBC43F3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8" name="Object 27" hidden="1">
            <a:extLst>
              <a:ext uri="{FF2B5EF4-FFF2-40B4-BE49-F238E27FC236}">
                <a16:creationId xmlns:a16="http://schemas.microsoft.com/office/drawing/2014/main" id="{7CD0338D-3A04-790F-37A1-0A6EE4BBF4F6}"/>
              </a:ext>
            </a:extLst>
          </p:cNvPr>
          <p:cNvGraphicFramePr>
            <a:graphicFrameLocks noChangeAspect="1"/>
          </p:cNvGraphicFramePr>
          <p:nvPr userDrawn="1">
            <p:custDataLst>
              <p:tags r:id="rId3"/>
            </p:custDataLst>
            <p:extLst>
              <p:ext uri="{D42A27DB-BD31-4B8C-83A1-F6EECF244321}">
                <p14:modId xmlns:p14="http://schemas.microsoft.com/office/powerpoint/2010/main" val="50306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28" name="Object 27" hidden="1">
                        <a:extLst>
                          <a:ext uri="{FF2B5EF4-FFF2-40B4-BE49-F238E27FC236}">
                            <a16:creationId xmlns:a16="http://schemas.microsoft.com/office/drawing/2014/main" id="{7CD0338D-3A04-790F-37A1-0A6EE4BBF4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Afbeelding 4" descr="Afbeelding met tekst, schermopname, diagram, Kleurrijkheid&#10;&#10;Door AI gegenereerde inhoud is mogelijk onjuist.">
            <a:extLst>
              <a:ext uri="{FF2B5EF4-FFF2-40B4-BE49-F238E27FC236}">
                <a16:creationId xmlns:a16="http://schemas.microsoft.com/office/drawing/2014/main" id="{DD2ED806-B370-3EA6-D8A3-BADF6839F266}"/>
              </a:ext>
            </a:extLst>
          </p:cNvPr>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a:xfrm>
            <a:off x="2769674" y="2912843"/>
            <a:ext cx="3045738" cy="3057800"/>
          </a:xfrm>
          <a:prstGeom prst="rect">
            <a:avLst/>
          </a:prstGeom>
        </p:spPr>
      </p:pic>
    </p:spTree>
    <p:extLst>
      <p:ext uri="{BB962C8B-B14F-4D97-AF65-F5344CB8AC3E}">
        <p14:creationId xmlns:p14="http://schemas.microsoft.com/office/powerpoint/2010/main" val="315536687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8"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theme" Target="../theme/theme3.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slideLayout" Target="../slideLayouts/slideLayout93.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8"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9.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theme" Target="../theme/theme4.xml"/><Relationship Id="rId5" Type="http://schemas.openxmlformats.org/officeDocument/2006/relationships/slideLayout" Target="../slideLayouts/slideLayout101.xml"/><Relationship Id="rId4"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3C879A5-1F52-420F-A3E1-CFC5A4B9C17B}"/>
              </a:ext>
            </a:extLst>
          </p:cNvPr>
          <p:cNvSpPr>
            <a:spLocks noGrp="1"/>
          </p:cNvSpPr>
          <p:nvPr>
            <p:ph type="body" idx="1"/>
          </p:nvPr>
        </p:nvSpPr>
        <p:spPr>
          <a:xfrm>
            <a:off x="1139124" y="2003728"/>
            <a:ext cx="9925751" cy="3650247"/>
          </a:xfrm>
          <a:prstGeom prst="rect">
            <a:avLst/>
          </a:prstGeom>
          <a:noFill/>
        </p:spPr>
        <p:txBody>
          <a:bodyPr vert="horz" lIns="0" tIns="0" rIns="0" bIns="0" rtlCol="0">
            <a:no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le Placeholder 1">
            <a:extLst>
              <a:ext uri="{FF2B5EF4-FFF2-40B4-BE49-F238E27FC236}">
                <a16:creationId xmlns:a16="http://schemas.microsoft.com/office/drawing/2014/main" id="{40D6E857-3280-48E6-99A5-56C7D9B18FE0}"/>
              </a:ext>
            </a:extLst>
          </p:cNvPr>
          <p:cNvSpPr>
            <a:spLocks noGrp="1"/>
          </p:cNvSpPr>
          <p:nvPr>
            <p:ph type="title"/>
          </p:nvPr>
        </p:nvSpPr>
        <p:spPr>
          <a:xfrm>
            <a:off x="1139124" y="595590"/>
            <a:ext cx="9925751" cy="1000736"/>
          </a:xfrm>
          <a:prstGeom prst="rect">
            <a:avLst/>
          </a:prstGeom>
          <a:noFill/>
        </p:spPr>
        <p:txBody>
          <a:bodyPr vert="horz" lIns="0" tIns="0" rIns="0" bIns="0" rtlCol="0" anchor="t" anchorCtr="0">
            <a:noAutofit/>
          </a:bodyPr>
          <a:lstStyle/>
          <a:p>
            <a:r>
              <a:rPr lang="nl-NL" dirty="0"/>
              <a:t>Klik om stijl te bewerken</a:t>
            </a:r>
          </a:p>
        </p:txBody>
      </p:sp>
    </p:spTree>
    <p:extLst>
      <p:ext uri="{BB962C8B-B14F-4D97-AF65-F5344CB8AC3E}">
        <p14:creationId xmlns:p14="http://schemas.microsoft.com/office/powerpoint/2010/main" val="134625580"/>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42" r:id="rId3"/>
    <p:sldLayoutId id="2147483943" r:id="rId4"/>
    <p:sldLayoutId id="2147483915" r:id="rId5"/>
    <p:sldLayoutId id="2147484021" r:id="rId6"/>
    <p:sldLayoutId id="2147483924" r:id="rId7"/>
    <p:sldLayoutId id="2147484047" r:id="rId8"/>
    <p:sldLayoutId id="2147483974" r:id="rId9"/>
    <p:sldLayoutId id="2147483975" r:id="rId10"/>
    <p:sldLayoutId id="2147483976" r:id="rId11"/>
    <p:sldLayoutId id="2147483981" r:id="rId12"/>
    <p:sldLayoutId id="2147483982" r:id="rId13"/>
    <p:sldLayoutId id="2147483983" r:id="rId14"/>
    <p:sldLayoutId id="2147484004" r:id="rId15"/>
    <p:sldLayoutId id="2147483984" r:id="rId16"/>
    <p:sldLayoutId id="2147483985" r:id="rId17"/>
    <p:sldLayoutId id="2147483986" r:id="rId18"/>
    <p:sldLayoutId id="2147483987" r:id="rId19"/>
    <p:sldLayoutId id="2147483941" r:id="rId20"/>
    <p:sldLayoutId id="2147483920" r:id="rId21"/>
    <p:sldLayoutId id="2147483919" r:id="rId22"/>
    <p:sldLayoutId id="2147483916" r:id="rId23"/>
    <p:sldLayoutId id="2147484022" r:id="rId24"/>
    <p:sldLayoutId id="2147483917" r:id="rId25"/>
    <p:sldLayoutId id="2147483921" r:id="rId26"/>
    <p:sldLayoutId id="2147484005" r:id="rId27"/>
    <p:sldLayoutId id="2147483922" r:id="rId28"/>
    <p:sldLayoutId id="2147484044" r:id="rId29"/>
    <p:sldLayoutId id="2147484009" r:id="rId30"/>
    <p:sldLayoutId id="2147484019" r:id="rId31"/>
    <p:sldLayoutId id="2147484025" r:id="rId32"/>
  </p:sldLayoutIdLst>
  <p:hf sldNum="0" hdr="0" ftr="0" dt="0"/>
  <p:txStyles>
    <p:title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300"/>
        </a:spcAft>
        <a:buFontTx/>
        <a:buNone/>
        <a:defRPr sz="2400" kern="1200">
          <a:solidFill>
            <a:schemeClr val="tx2"/>
          </a:solidFill>
          <a:latin typeface="+mn-lt"/>
          <a:ea typeface="+mn-ea"/>
          <a:cs typeface="+mn-cs"/>
        </a:defRPr>
      </a:lvl1pPr>
      <a:lvl2pPr marL="266700" indent="-266700" algn="l" defTabSz="914400" rtl="0" eaLnBrk="1" latinLnBrk="0" hangingPunct="1">
        <a:lnSpc>
          <a:spcPct val="100000"/>
        </a:lnSpc>
        <a:spcBef>
          <a:spcPts val="0"/>
        </a:spcBef>
        <a:spcAft>
          <a:spcPts val="300"/>
        </a:spcAft>
        <a:buSzPct val="100000"/>
        <a:buFont typeface="EuclidUtrecht-Regular" panose="020B0504000000000000" pitchFamily="34" charset="0"/>
        <a:buChar char="&gt;"/>
        <a:defRPr sz="2400" kern="1200">
          <a:solidFill>
            <a:schemeClr val="tx2"/>
          </a:solidFill>
          <a:latin typeface="+mn-lt"/>
          <a:ea typeface="+mn-ea"/>
          <a:cs typeface="+mn-cs"/>
        </a:defRPr>
      </a:lvl2pPr>
      <a:lvl3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tx2"/>
          </a:solidFill>
          <a:latin typeface="+mn-lt"/>
          <a:ea typeface="+mn-ea"/>
          <a:cs typeface="+mn-cs"/>
        </a:defRPr>
      </a:lvl3pPr>
      <a:lvl4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tx2"/>
          </a:solidFill>
          <a:latin typeface="+mn-lt"/>
          <a:ea typeface="+mn-ea"/>
          <a:cs typeface="+mn-cs"/>
        </a:defRPr>
      </a:lvl4pPr>
      <a:lvl5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orient="horz" pos="368">
          <p15:clr>
            <a:srgbClr val="F26B43"/>
          </p15:clr>
        </p15:guide>
        <p15:guide id="3" pos="7310">
          <p15:clr>
            <a:srgbClr val="F26B43"/>
          </p15:clr>
        </p15:guide>
        <p15:guide id="4" orient="horz" pos="3952">
          <p15:clr>
            <a:srgbClr val="F26B43"/>
          </p15:clr>
        </p15:guide>
        <p15:guide id="5" pos="710">
          <p15:clr>
            <a:srgbClr val="F26B43"/>
          </p15:clr>
        </p15:guide>
        <p15:guide id="6" pos="69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3C879A5-1F52-420F-A3E1-CFC5A4B9C17B}"/>
              </a:ext>
            </a:extLst>
          </p:cNvPr>
          <p:cNvSpPr>
            <a:spLocks noGrp="1"/>
          </p:cNvSpPr>
          <p:nvPr>
            <p:ph type="body" idx="1"/>
          </p:nvPr>
        </p:nvSpPr>
        <p:spPr>
          <a:xfrm>
            <a:off x="1139124" y="2003728"/>
            <a:ext cx="9925751" cy="3650247"/>
          </a:xfrm>
          <a:prstGeom prst="rect">
            <a:avLst/>
          </a:prstGeom>
          <a:noFill/>
        </p:spPr>
        <p:txBody>
          <a:bodyPr vert="horz" lIns="0" tIns="0" rIns="0" bIns="0" rtlCol="0">
            <a:no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le Placeholder 1">
            <a:extLst>
              <a:ext uri="{FF2B5EF4-FFF2-40B4-BE49-F238E27FC236}">
                <a16:creationId xmlns:a16="http://schemas.microsoft.com/office/drawing/2014/main" id="{40D6E857-3280-48E6-99A5-56C7D9B18FE0}"/>
              </a:ext>
            </a:extLst>
          </p:cNvPr>
          <p:cNvSpPr>
            <a:spLocks noGrp="1"/>
          </p:cNvSpPr>
          <p:nvPr>
            <p:ph type="title"/>
          </p:nvPr>
        </p:nvSpPr>
        <p:spPr>
          <a:xfrm>
            <a:off x="1139124" y="595590"/>
            <a:ext cx="9925751" cy="1000736"/>
          </a:xfrm>
          <a:prstGeom prst="rect">
            <a:avLst/>
          </a:prstGeom>
          <a:noFill/>
        </p:spPr>
        <p:txBody>
          <a:bodyPr vert="horz" lIns="0" tIns="0" rIns="0" bIns="0" rtlCol="0" anchor="t" anchorCtr="0">
            <a:noAutofit/>
          </a:bodyPr>
          <a:lstStyle/>
          <a:p>
            <a:r>
              <a:rPr lang="nl-NL"/>
              <a:t>Klik om stijl te bewerken</a:t>
            </a:r>
            <a:endParaRPr lang="nl-NL" dirty="0"/>
          </a:p>
        </p:txBody>
      </p:sp>
    </p:spTree>
    <p:extLst>
      <p:ext uri="{BB962C8B-B14F-4D97-AF65-F5344CB8AC3E}">
        <p14:creationId xmlns:p14="http://schemas.microsoft.com/office/powerpoint/2010/main" val="2434398775"/>
      </p:ext>
    </p:extLst>
  </p:cSld>
  <p:clrMap bg1="lt1" tx1="dk1" bg2="lt2" tx2="dk2" accent1="accent1" accent2="accent2" accent3="accent3" accent4="accent4" accent5="accent5" accent6="accent6" hlink="hlink" folHlink="folHlink"/>
  <p:sldLayoutIdLst>
    <p:sldLayoutId id="2147483863" r:id="rId1"/>
    <p:sldLayoutId id="2147483865" r:id="rId2"/>
    <p:sldLayoutId id="2147483869" r:id="rId3"/>
    <p:sldLayoutId id="2147483870" r:id="rId4"/>
    <p:sldLayoutId id="2147483868" r:id="rId5"/>
    <p:sldLayoutId id="2147483944" r:id="rId6"/>
    <p:sldLayoutId id="2147483945" r:id="rId7"/>
    <p:sldLayoutId id="2147483965" r:id="rId8"/>
    <p:sldLayoutId id="2147483966" r:id="rId9"/>
    <p:sldLayoutId id="2147483967" r:id="rId10"/>
    <p:sldLayoutId id="2147483968" r:id="rId11"/>
    <p:sldLayoutId id="2147484028" r:id="rId12"/>
    <p:sldLayoutId id="2147484029" r:id="rId13"/>
    <p:sldLayoutId id="2147484030" r:id="rId14"/>
    <p:sldLayoutId id="2147484031" r:id="rId15"/>
    <p:sldLayoutId id="2147484032" r:id="rId16"/>
    <p:sldLayoutId id="2147484033" r:id="rId17"/>
    <p:sldLayoutId id="2147484034" r:id="rId18"/>
    <p:sldLayoutId id="2147484035" r:id="rId19"/>
    <p:sldLayoutId id="2147484045" r:id="rId20"/>
    <p:sldLayoutId id="2147483878" r:id="rId21"/>
    <p:sldLayoutId id="2147483877" r:id="rId22"/>
    <p:sldLayoutId id="2147483871" r:id="rId23"/>
    <p:sldLayoutId id="2147483876" r:id="rId24"/>
    <p:sldLayoutId id="2147483872" r:id="rId25"/>
    <p:sldLayoutId id="2147483880" r:id="rId26"/>
    <p:sldLayoutId id="2147484006" r:id="rId27"/>
    <p:sldLayoutId id="2147483884" r:id="rId28"/>
    <p:sldLayoutId id="2147484010" r:id="rId29"/>
    <p:sldLayoutId id="2147484011" r:id="rId30"/>
    <p:sldLayoutId id="2147484017" r:id="rId31"/>
    <p:sldLayoutId id="2147484026" r:id="rId32"/>
  </p:sldLayoutIdLst>
  <p:hf sldNum="0" hdr="0" ftr="0" dt="0"/>
  <p:txStyles>
    <p:title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300"/>
        </a:spcAft>
        <a:buFontTx/>
        <a:buNone/>
        <a:defRPr sz="2400" kern="1200">
          <a:solidFill>
            <a:schemeClr val="tx2"/>
          </a:solidFill>
          <a:latin typeface="+mn-lt"/>
          <a:ea typeface="+mn-ea"/>
          <a:cs typeface="+mn-cs"/>
        </a:defRPr>
      </a:lvl1pPr>
      <a:lvl2pPr marL="266700" indent="-266700" algn="l" defTabSz="914400" rtl="0" eaLnBrk="1" latinLnBrk="0" hangingPunct="1">
        <a:lnSpc>
          <a:spcPct val="100000"/>
        </a:lnSpc>
        <a:spcBef>
          <a:spcPts val="0"/>
        </a:spcBef>
        <a:spcAft>
          <a:spcPts val="300"/>
        </a:spcAft>
        <a:buSzPct val="100000"/>
        <a:buFont typeface="EuclidUtrecht-Regular" panose="020B0504000000000000" pitchFamily="34" charset="0"/>
        <a:buChar char="&gt;"/>
        <a:defRPr sz="2400" kern="1200">
          <a:solidFill>
            <a:schemeClr val="tx2"/>
          </a:solidFill>
          <a:latin typeface="+mn-lt"/>
          <a:ea typeface="+mn-ea"/>
          <a:cs typeface="+mn-cs"/>
        </a:defRPr>
      </a:lvl2pPr>
      <a:lvl3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tx2"/>
          </a:solidFill>
          <a:latin typeface="+mn-lt"/>
          <a:ea typeface="+mn-ea"/>
          <a:cs typeface="+mn-cs"/>
        </a:defRPr>
      </a:lvl3pPr>
      <a:lvl4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tx2"/>
          </a:solidFill>
          <a:latin typeface="+mn-lt"/>
          <a:ea typeface="+mn-ea"/>
          <a:cs typeface="+mn-cs"/>
        </a:defRPr>
      </a:lvl4pPr>
      <a:lvl5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orient="horz" pos="368">
          <p15:clr>
            <a:srgbClr val="F26B43"/>
          </p15:clr>
        </p15:guide>
        <p15:guide id="3" pos="7310">
          <p15:clr>
            <a:srgbClr val="F26B43"/>
          </p15:clr>
        </p15:guide>
        <p15:guide id="4" orient="horz" pos="3952">
          <p15:clr>
            <a:srgbClr val="F26B43"/>
          </p15:clr>
        </p15:guide>
        <p15:guide id="5" pos="710">
          <p15:clr>
            <a:srgbClr val="F26B43"/>
          </p15:clr>
        </p15:guide>
        <p15:guide id="6" pos="69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3C879A5-1F52-420F-A3E1-CFC5A4B9C17B}"/>
              </a:ext>
            </a:extLst>
          </p:cNvPr>
          <p:cNvSpPr>
            <a:spLocks noGrp="1"/>
          </p:cNvSpPr>
          <p:nvPr>
            <p:ph type="body" idx="1"/>
          </p:nvPr>
        </p:nvSpPr>
        <p:spPr>
          <a:xfrm>
            <a:off x="1139124" y="2003728"/>
            <a:ext cx="9925751" cy="3650247"/>
          </a:xfrm>
          <a:prstGeom prst="rect">
            <a:avLst/>
          </a:prstGeom>
          <a:noFill/>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le Placeholder 1">
            <a:extLst>
              <a:ext uri="{FF2B5EF4-FFF2-40B4-BE49-F238E27FC236}">
                <a16:creationId xmlns:a16="http://schemas.microsoft.com/office/drawing/2014/main" id="{40D6E857-3280-48E6-99A5-56C7D9B18FE0}"/>
              </a:ext>
            </a:extLst>
          </p:cNvPr>
          <p:cNvSpPr>
            <a:spLocks noGrp="1"/>
          </p:cNvSpPr>
          <p:nvPr>
            <p:ph type="title"/>
          </p:nvPr>
        </p:nvSpPr>
        <p:spPr>
          <a:xfrm>
            <a:off x="1139124" y="595590"/>
            <a:ext cx="9925751" cy="1000736"/>
          </a:xfrm>
          <a:prstGeom prst="rect">
            <a:avLst/>
          </a:prstGeom>
          <a:noFill/>
        </p:spPr>
        <p:txBody>
          <a:bodyPr vert="horz" lIns="0" tIns="0" rIns="0" bIns="0" rtlCol="0" anchor="t" anchorCtr="0">
            <a:noAutofit/>
          </a:bodyPr>
          <a:lstStyle/>
          <a:p>
            <a:r>
              <a:rPr lang="nl-NL"/>
              <a:t>Klik om stijl te bewerken</a:t>
            </a:r>
            <a:endParaRPr lang="nl-NL" dirty="0"/>
          </a:p>
        </p:txBody>
      </p:sp>
    </p:spTree>
    <p:extLst>
      <p:ext uri="{BB962C8B-B14F-4D97-AF65-F5344CB8AC3E}">
        <p14:creationId xmlns:p14="http://schemas.microsoft.com/office/powerpoint/2010/main" val="275658198"/>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50" r:id="rId3"/>
    <p:sldLayoutId id="2147483951" r:id="rId4"/>
    <p:sldLayoutId id="2147483949" r:id="rId5"/>
    <p:sldLayoutId id="2147483960" r:id="rId6"/>
    <p:sldLayoutId id="2147483961" r:id="rId7"/>
    <p:sldLayoutId id="2147484048" r:id="rId8"/>
    <p:sldLayoutId id="2147483978" r:id="rId9"/>
    <p:sldLayoutId id="2147483979" r:id="rId10"/>
    <p:sldLayoutId id="2147483980" r:id="rId11"/>
    <p:sldLayoutId id="2147484036" r:id="rId12"/>
    <p:sldLayoutId id="2147484037" r:id="rId13"/>
    <p:sldLayoutId id="2147484038" r:id="rId14"/>
    <p:sldLayoutId id="2147484039" r:id="rId15"/>
    <p:sldLayoutId id="2147484040" r:id="rId16"/>
    <p:sldLayoutId id="2147484041" r:id="rId17"/>
    <p:sldLayoutId id="2147484042" r:id="rId18"/>
    <p:sldLayoutId id="2147484043" r:id="rId19"/>
    <p:sldLayoutId id="2147484046" r:id="rId20"/>
    <p:sldLayoutId id="2147483957" r:id="rId21"/>
    <p:sldLayoutId id="2147483956" r:id="rId22"/>
    <p:sldLayoutId id="2147483952" r:id="rId23"/>
    <p:sldLayoutId id="2147483955" r:id="rId24"/>
    <p:sldLayoutId id="2147483953" r:id="rId25"/>
    <p:sldLayoutId id="2147483958" r:id="rId26"/>
    <p:sldLayoutId id="2147484007" r:id="rId27"/>
    <p:sldLayoutId id="2147483959" r:id="rId28"/>
    <p:sldLayoutId id="2147484012" r:id="rId29"/>
    <p:sldLayoutId id="2147484013" r:id="rId30"/>
    <p:sldLayoutId id="2147484015" r:id="rId31"/>
    <p:sldLayoutId id="2147484027" r:id="rId32"/>
  </p:sldLayoutIdLst>
  <p:hf sldNum="0" hdr="0" ftr="0" dt="0"/>
  <p:txStyles>
    <p:title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300"/>
        </a:spcAft>
        <a:buFontTx/>
        <a:buNone/>
        <a:defRPr sz="2400" kern="1200">
          <a:solidFill>
            <a:schemeClr val="tx2"/>
          </a:solidFill>
          <a:latin typeface="+mn-lt"/>
          <a:ea typeface="+mn-ea"/>
          <a:cs typeface="+mn-cs"/>
        </a:defRPr>
      </a:lvl1pPr>
      <a:lvl2pPr marL="266700" indent="-266700" algn="l" defTabSz="914400" rtl="0" eaLnBrk="1" latinLnBrk="0" hangingPunct="1">
        <a:lnSpc>
          <a:spcPct val="100000"/>
        </a:lnSpc>
        <a:spcBef>
          <a:spcPts val="0"/>
        </a:spcBef>
        <a:spcAft>
          <a:spcPts val="300"/>
        </a:spcAft>
        <a:buSzPct val="100000"/>
        <a:buFont typeface="EuclidUtrecht-Regular" panose="020B0504000000000000" pitchFamily="34" charset="0"/>
        <a:buChar char="&gt;"/>
        <a:defRPr sz="2400" kern="1200">
          <a:solidFill>
            <a:schemeClr val="tx2"/>
          </a:solidFill>
          <a:latin typeface="+mn-lt"/>
          <a:ea typeface="+mn-ea"/>
          <a:cs typeface="+mn-cs"/>
        </a:defRPr>
      </a:lvl2pPr>
      <a:lvl3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tx2"/>
          </a:solidFill>
          <a:latin typeface="+mn-lt"/>
          <a:ea typeface="+mn-ea"/>
          <a:cs typeface="+mn-cs"/>
        </a:defRPr>
      </a:lvl3pPr>
      <a:lvl4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tx2"/>
          </a:solidFill>
          <a:latin typeface="+mn-lt"/>
          <a:ea typeface="+mn-ea"/>
          <a:cs typeface="+mn-cs"/>
        </a:defRPr>
      </a:lvl4pPr>
      <a:lvl5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orient="horz" pos="368">
          <p15:clr>
            <a:srgbClr val="F26B43"/>
          </p15:clr>
        </p15:guide>
        <p15:guide id="3" pos="7310">
          <p15:clr>
            <a:srgbClr val="F26B43"/>
          </p15:clr>
        </p15:guide>
        <p15:guide id="4" orient="horz" pos="3952">
          <p15:clr>
            <a:srgbClr val="F26B43"/>
          </p15:clr>
        </p15:guide>
        <p15:guide id="5" pos="710">
          <p15:clr>
            <a:srgbClr val="F26B43"/>
          </p15:clr>
        </p15:guide>
        <p15:guide id="6" pos="697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3C879A5-1F52-420F-A3E1-CFC5A4B9C17B}"/>
              </a:ext>
            </a:extLst>
          </p:cNvPr>
          <p:cNvSpPr>
            <a:spLocks noGrp="1"/>
          </p:cNvSpPr>
          <p:nvPr>
            <p:ph type="body" idx="1"/>
          </p:nvPr>
        </p:nvSpPr>
        <p:spPr>
          <a:xfrm>
            <a:off x="1139124" y="2003728"/>
            <a:ext cx="9925751" cy="3650247"/>
          </a:xfrm>
          <a:prstGeom prst="rect">
            <a:avLst/>
          </a:prstGeom>
          <a:noFill/>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le Placeholder 1">
            <a:extLst>
              <a:ext uri="{FF2B5EF4-FFF2-40B4-BE49-F238E27FC236}">
                <a16:creationId xmlns:a16="http://schemas.microsoft.com/office/drawing/2014/main" id="{40D6E857-3280-48E6-99A5-56C7D9B18FE0}"/>
              </a:ext>
            </a:extLst>
          </p:cNvPr>
          <p:cNvSpPr>
            <a:spLocks noGrp="1"/>
          </p:cNvSpPr>
          <p:nvPr>
            <p:ph type="title"/>
          </p:nvPr>
        </p:nvSpPr>
        <p:spPr>
          <a:xfrm>
            <a:off x="1139124" y="595590"/>
            <a:ext cx="9925751" cy="1000736"/>
          </a:xfrm>
          <a:prstGeom prst="rect">
            <a:avLst/>
          </a:prstGeom>
          <a:noFill/>
        </p:spPr>
        <p:txBody>
          <a:bodyPr vert="horz" lIns="0" tIns="0" rIns="0" bIns="0" rtlCol="0" anchor="t" anchorCtr="0">
            <a:noAutofit/>
          </a:bodyPr>
          <a:lstStyle/>
          <a:p>
            <a:r>
              <a:rPr lang="nl-NL"/>
              <a:t>Klik om stijl te bewerken</a:t>
            </a:r>
            <a:endParaRPr lang="nl-NL" dirty="0"/>
          </a:p>
        </p:txBody>
      </p:sp>
    </p:spTree>
    <p:extLst>
      <p:ext uri="{BB962C8B-B14F-4D97-AF65-F5344CB8AC3E}">
        <p14:creationId xmlns:p14="http://schemas.microsoft.com/office/powerpoint/2010/main" val="2415266137"/>
      </p:ext>
    </p:extLst>
  </p:cSld>
  <p:clrMap bg1="lt1" tx1="dk1" bg2="lt2" tx2="dk2" accent1="accent1" accent2="accent2" accent3="accent3" accent4="accent4" accent5="accent5" accent6="accent6" hlink="hlink" folHlink="folHlink"/>
  <p:sldLayoutIdLst>
    <p:sldLayoutId id="2147484023" r:id="rId1"/>
    <p:sldLayoutId id="2147484024" r:id="rId2"/>
    <p:sldLayoutId id="2147483858" r:id="rId3"/>
    <p:sldLayoutId id="2147483859" r:id="rId4"/>
    <p:sldLayoutId id="2147483860" r:id="rId5"/>
  </p:sldLayoutIdLst>
  <p:hf sldNum="0" hdr="0" ftr="0" dt="0"/>
  <p:txStyles>
    <p:title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300"/>
        </a:spcAft>
        <a:buFontTx/>
        <a:buNone/>
        <a:defRPr sz="2400" kern="1200">
          <a:solidFill>
            <a:schemeClr val="tx2"/>
          </a:solidFill>
          <a:latin typeface="+mn-lt"/>
          <a:ea typeface="+mn-ea"/>
          <a:cs typeface="+mn-cs"/>
        </a:defRPr>
      </a:lvl1pPr>
      <a:lvl2pPr marL="266700" indent="-266700" algn="l" defTabSz="914400" rtl="0" eaLnBrk="1" latinLnBrk="0" hangingPunct="1">
        <a:lnSpc>
          <a:spcPct val="100000"/>
        </a:lnSpc>
        <a:spcBef>
          <a:spcPts val="0"/>
        </a:spcBef>
        <a:spcAft>
          <a:spcPts val="300"/>
        </a:spcAft>
        <a:buSzPct val="100000"/>
        <a:buFont typeface="EuclidUtrecht-Regular" panose="020B0504000000000000" pitchFamily="34" charset="0"/>
        <a:buChar char="&gt;"/>
        <a:defRPr sz="2400" kern="1200">
          <a:solidFill>
            <a:schemeClr val="tx2"/>
          </a:solidFill>
          <a:latin typeface="+mn-lt"/>
          <a:ea typeface="+mn-ea"/>
          <a:cs typeface="+mn-cs"/>
        </a:defRPr>
      </a:lvl2pPr>
      <a:lvl3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tx2"/>
          </a:solidFill>
          <a:latin typeface="+mn-lt"/>
          <a:ea typeface="+mn-ea"/>
          <a:cs typeface="+mn-cs"/>
        </a:defRPr>
      </a:lvl3pPr>
      <a:lvl4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tx2"/>
          </a:solidFill>
          <a:latin typeface="+mn-lt"/>
          <a:ea typeface="+mn-ea"/>
          <a:cs typeface="+mn-cs"/>
        </a:defRPr>
      </a:lvl4pPr>
      <a:lvl5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orient="horz" pos="368">
          <p15:clr>
            <a:srgbClr val="F26B43"/>
          </p15:clr>
        </p15:guide>
        <p15:guide id="3" pos="7310">
          <p15:clr>
            <a:srgbClr val="F26B43"/>
          </p15:clr>
        </p15:guide>
        <p15:guide id="4" orient="horz" pos="3952">
          <p15:clr>
            <a:srgbClr val="F26B43"/>
          </p15:clr>
        </p15:guide>
        <p15:guide id="5" pos="710">
          <p15:clr>
            <a:srgbClr val="F26B43"/>
          </p15:clr>
        </p15:guide>
        <p15:guide id="6" pos="697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11.xml"/><Relationship Id="rId4" Type="http://schemas.openxmlformats.org/officeDocument/2006/relationships/image" Target="../media/image24.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18" Type="http://schemas.openxmlformats.org/officeDocument/2006/relationships/image" Target="../media/image55.png"/><Relationship Id="rId26" Type="http://schemas.openxmlformats.org/officeDocument/2006/relationships/image" Target="../media/image63.png"/><Relationship Id="rId3" Type="http://schemas.openxmlformats.org/officeDocument/2006/relationships/image" Target="../media/image40.png"/><Relationship Id="rId21" Type="http://schemas.openxmlformats.org/officeDocument/2006/relationships/image" Target="../media/image58.png"/><Relationship Id="rId7" Type="http://schemas.openxmlformats.org/officeDocument/2006/relationships/image" Target="../media/image44.jpg"/><Relationship Id="rId12" Type="http://schemas.openxmlformats.org/officeDocument/2006/relationships/image" Target="../media/image49.png"/><Relationship Id="rId17" Type="http://schemas.openxmlformats.org/officeDocument/2006/relationships/image" Target="../media/image54.png"/><Relationship Id="rId25" Type="http://schemas.openxmlformats.org/officeDocument/2006/relationships/image" Target="../media/image62.jpeg"/><Relationship Id="rId2" Type="http://schemas.openxmlformats.org/officeDocument/2006/relationships/image" Target="../media/image39.jpg"/><Relationship Id="rId16" Type="http://schemas.openxmlformats.org/officeDocument/2006/relationships/image" Target="../media/image53.jpeg"/><Relationship Id="rId20" Type="http://schemas.openxmlformats.org/officeDocument/2006/relationships/image" Target="../media/image57.jpg"/><Relationship Id="rId29" Type="http://schemas.openxmlformats.org/officeDocument/2006/relationships/image" Target="../media/image66.jpeg"/><Relationship Id="rId1" Type="http://schemas.openxmlformats.org/officeDocument/2006/relationships/slideLayout" Target="../slideLayouts/slideLayout12.xml"/><Relationship Id="rId6" Type="http://schemas.openxmlformats.org/officeDocument/2006/relationships/image" Target="../media/image43.png"/><Relationship Id="rId11" Type="http://schemas.openxmlformats.org/officeDocument/2006/relationships/image" Target="../media/image48.png"/><Relationship Id="rId24" Type="http://schemas.openxmlformats.org/officeDocument/2006/relationships/image" Target="../media/image61.png"/><Relationship Id="rId5" Type="http://schemas.openxmlformats.org/officeDocument/2006/relationships/image" Target="../media/image42.png"/><Relationship Id="rId15" Type="http://schemas.openxmlformats.org/officeDocument/2006/relationships/image" Target="../media/image52.png"/><Relationship Id="rId23" Type="http://schemas.openxmlformats.org/officeDocument/2006/relationships/image" Target="../media/image60.png"/><Relationship Id="rId28" Type="http://schemas.openxmlformats.org/officeDocument/2006/relationships/image" Target="../media/image65.jpe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jpg"/><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59.png"/><Relationship Id="rId27" Type="http://schemas.openxmlformats.org/officeDocument/2006/relationships/image" Target="../media/image64.jpeg"/></Relationships>
</file>

<file path=ppt/slides/_rels/slide39.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svg"/><Relationship Id="rId3" Type="http://schemas.openxmlformats.org/officeDocument/2006/relationships/image" Target="../media/image68.png"/><Relationship Id="rId7" Type="http://schemas.openxmlformats.org/officeDocument/2006/relationships/image" Target="../media/image72.svg"/><Relationship Id="rId12" Type="http://schemas.openxmlformats.org/officeDocument/2006/relationships/image" Target="../media/image77.png"/><Relationship Id="rId2" Type="http://schemas.openxmlformats.org/officeDocument/2006/relationships/image" Target="../media/image67.png"/><Relationship Id="rId1" Type="http://schemas.openxmlformats.org/officeDocument/2006/relationships/slideLayout" Target="../slideLayouts/slideLayout12.xml"/><Relationship Id="rId6" Type="http://schemas.openxmlformats.org/officeDocument/2006/relationships/image" Target="../media/image71.png"/><Relationship Id="rId11" Type="http://schemas.openxmlformats.org/officeDocument/2006/relationships/image" Target="../media/image76.sv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svg"/><Relationship Id="rId14" Type="http://schemas.openxmlformats.org/officeDocument/2006/relationships/image" Target="../media/image7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534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056265-BBA7-B7A6-4212-DCF11224D2B4}"/>
              </a:ext>
            </a:extLst>
          </p:cNvPr>
          <p:cNvSpPr>
            <a:spLocks noGrp="1"/>
          </p:cNvSpPr>
          <p:nvPr>
            <p:ph type="ctrTitle"/>
          </p:nvPr>
        </p:nvSpPr>
        <p:spPr>
          <a:xfrm>
            <a:off x="1137600" y="4218920"/>
            <a:ext cx="6812280" cy="874022"/>
          </a:xfrm>
        </p:spPr>
        <p:txBody>
          <a:bodyPr/>
          <a:lstStyle/>
          <a:p>
            <a:r>
              <a:rPr lang="en-GB" dirty="0"/>
              <a:t>Titel </a:t>
            </a:r>
            <a:br>
              <a:rPr lang="en-GB" dirty="0"/>
            </a:br>
            <a:r>
              <a:rPr lang="en-GB" dirty="0" err="1"/>
              <a:t>tussenslide</a:t>
            </a:r>
            <a:endParaRPr lang="en-GB" dirty="0"/>
          </a:p>
        </p:txBody>
      </p:sp>
    </p:spTree>
    <p:extLst>
      <p:ext uri="{BB962C8B-B14F-4D97-AF65-F5344CB8AC3E}">
        <p14:creationId xmlns:p14="http://schemas.microsoft.com/office/powerpoint/2010/main" val="17356149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468743-4390-627D-5D74-C509E16DF229}"/>
              </a:ext>
            </a:extLst>
          </p:cNvPr>
          <p:cNvSpPr>
            <a:spLocks noGrp="1"/>
          </p:cNvSpPr>
          <p:nvPr>
            <p:ph type="title"/>
          </p:nvPr>
        </p:nvSpPr>
        <p:spPr/>
        <p:txBody>
          <a:bodyPr/>
          <a:lstStyle/>
          <a:p>
            <a:r>
              <a:rPr lang="en-GB"/>
              <a:t>Inhoud</a:t>
            </a:r>
            <a:endParaRPr lang="en-GB" dirty="0"/>
          </a:p>
        </p:txBody>
      </p:sp>
      <p:pic>
        <p:nvPicPr>
          <p:cNvPr id="6" name="Tijdelijke aanduiding voor afbeelding 5" descr="Afbeelding met trappen, gebouw, leuning, overdekt&#10;&#10;Door AI gegenereerde inhoud is mogelijk onjuist.">
            <a:extLst>
              <a:ext uri="{FF2B5EF4-FFF2-40B4-BE49-F238E27FC236}">
                <a16:creationId xmlns:a16="http://schemas.microsoft.com/office/drawing/2014/main" id="{AFB07799-0BF5-F913-B047-A8665CA183D8}"/>
              </a:ext>
            </a:extLst>
          </p:cNvPr>
          <p:cNvPicPr>
            <a:picLocks noGrp="1" noChangeAspect="1"/>
          </p:cNvPicPr>
          <p:nvPr>
            <p:ph type="pic" sz="quarter" idx="19"/>
          </p:nvPr>
        </p:nvPicPr>
        <p:blipFill rotWithShape="1">
          <a:blip r:embed="rId2">
            <a:extLst>
              <a:ext uri="{28A0092B-C50C-407E-A947-70E740481C1C}">
                <a14:useLocalDpi xmlns:a14="http://schemas.microsoft.com/office/drawing/2010/main"/>
              </a:ext>
            </a:extLst>
          </a:blip>
          <a:srcRect/>
          <a:stretch/>
        </p:blipFill>
        <p:spPr>
          <a:xfrm>
            <a:off x="6244558" y="3"/>
            <a:ext cx="5947441" cy="6857998"/>
          </a:xfrm>
          <a:noFill/>
        </p:spPr>
      </p:pic>
      <p:sp>
        <p:nvSpPr>
          <p:cNvPr id="4" name="Tijdelijke aanduiding voor tekst 3">
            <a:extLst>
              <a:ext uri="{FF2B5EF4-FFF2-40B4-BE49-F238E27FC236}">
                <a16:creationId xmlns:a16="http://schemas.microsoft.com/office/drawing/2014/main" id="{53C8D0B5-331A-0C13-10FC-771175A3A11E}"/>
              </a:ext>
            </a:extLst>
          </p:cNvPr>
          <p:cNvSpPr>
            <a:spLocks noGrp="1"/>
          </p:cNvSpPr>
          <p:nvPr>
            <p:ph type="body" sz="quarter" idx="10"/>
          </p:nvPr>
        </p:nvSpPr>
        <p:spPr/>
        <p:txBody>
          <a:bodyPr/>
          <a:lstStyle/>
          <a:p>
            <a:pPr lvl="1"/>
            <a:r>
              <a:rPr lang="en-GB" dirty="0"/>
              <a:t>Item 1</a:t>
            </a:r>
          </a:p>
          <a:p>
            <a:pPr lvl="2"/>
            <a:r>
              <a:rPr lang="en-GB" dirty="0"/>
              <a:t>Subitem 1</a:t>
            </a:r>
          </a:p>
          <a:p>
            <a:pPr lvl="1"/>
            <a:r>
              <a:rPr lang="en-GB" dirty="0"/>
              <a:t>Item 2</a:t>
            </a:r>
          </a:p>
          <a:p>
            <a:pPr lvl="1"/>
            <a:r>
              <a:rPr lang="en-GB" dirty="0"/>
              <a:t>Item 3</a:t>
            </a:r>
          </a:p>
          <a:p>
            <a:pPr lvl="1"/>
            <a:r>
              <a:rPr lang="en-GB" dirty="0"/>
              <a:t>Item 4</a:t>
            </a:r>
          </a:p>
          <a:p>
            <a:pPr lvl="1"/>
            <a:r>
              <a:rPr lang="en-GB" dirty="0"/>
              <a:t>Item 5</a:t>
            </a:r>
          </a:p>
        </p:txBody>
      </p:sp>
    </p:spTree>
    <p:extLst>
      <p:ext uri="{BB962C8B-B14F-4D97-AF65-F5344CB8AC3E}">
        <p14:creationId xmlns:p14="http://schemas.microsoft.com/office/powerpoint/2010/main" val="4565381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796D88-DEF0-9871-D7DD-E781C54FF662}"/>
              </a:ext>
            </a:extLst>
          </p:cNvPr>
          <p:cNvSpPr>
            <a:spLocks noGrp="1"/>
          </p:cNvSpPr>
          <p:nvPr>
            <p:ph type="title"/>
          </p:nvPr>
        </p:nvSpPr>
        <p:spPr/>
        <p:txBody>
          <a:bodyPr/>
          <a:lstStyle/>
          <a:p>
            <a:r>
              <a:rPr lang="nl-NL" noProof="0"/>
              <a:t>Utrecht</a:t>
            </a:r>
            <a:endParaRPr lang="en-GB" dirty="0"/>
          </a:p>
        </p:txBody>
      </p:sp>
      <p:sp>
        <p:nvSpPr>
          <p:cNvPr id="3" name="Tijdelijke aanduiding voor tekst 2">
            <a:extLst>
              <a:ext uri="{FF2B5EF4-FFF2-40B4-BE49-F238E27FC236}">
                <a16:creationId xmlns:a16="http://schemas.microsoft.com/office/drawing/2014/main" id="{97F34790-D0A4-959F-2DEF-92E3D8FDECA2}"/>
              </a:ext>
            </a:extLst>
          </p:cNvPr>
          <p:cNvSpPr>
            <a:spLocks noGrp="1"/>
          </p:cNvSpPr>
          <p:nvPr>
            <p:ph type="body" sz="quarter" idx="10"/>
          </p:nvPr>
        </p:nvSpPr>
        <p:spPr>
          <a:xfrm>
            <a:off x="1139124" y="2003728"/>
            <a:ext cx="8919276" cy="3885443"/>
          </a:xfrm>
        </p:spPr>
        <p:txBody>
          <a:bodyPr/>
          <a:lstStyle/>
          <a:p>
            <a:r>
              <a:rPr lang="en-US" dirty="0"/>
              <a:t>Utrecht, beating heart of a healthy society.  </a:t>
            </a:r>
            <a:endParaRPr lang="nl-NL" dirty="0"/>
          </a:p>
          <a:p>
            <a:endParaRPr lang="en-US" dirty="0"/>
          </a:p>
          <a:p>
            <a:pPr marL="0" lvl="1" indent="0">
              <a:buNone/>
            </a:pPr>
            <a:r>
              <a:rPr lang="en-US" dirty="0"/>
              <a:t>As a region, we’re on a mission to make lasting, positive change to the health of the world and its people. Supported by leading businesses, institutions and governments, we’ve got the skills, resources and facilities to make this a reality.</a:t>
            </a:r>
            <a:endParaRPr lang="nl-NL" dirty="0"/>
          </a:p>
          <a:p>
            <a:pPr lvl="1"/>
            <a:endParaRPr lang="en-US" dirty="0"/>
          </a:p>
          <a:p>
            <a:pPr marL="0" lvl="1" indent="0">
              <a:buNone/>
            </a:pPr>
            <a:r>
              <a:rPr lang="en-US" dirty="0"/>
              <a:t>From our world-class education to our renowned life sciences &amp; health innovations, Utrecht leads the way in science and technological capability. </a:t>
            </a:r>
            <a:endParaRPr lang="nl-NL" dirty="0"/>
          </a:p>
          <a:p>
            <a:endParaRPr lang="en-GB" dirty="0"/>
          </a:p>
        </p:txBody>
      </p:sp>
    </p:spTree>
    <p:extLst>
      <p:ext uri="{BB962C8B-B14F-4D97-AF65-F5344CB8AC3E}">
        <p14:creationId xmlns:p14="http://schemas.microsoft.com/office/powerpoint/2010/main" val="1994054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2">
            <a:extLst>
              <a:ext uri="{FF2B5EF4-FFF2-40B4-BE49-F238E27FC236}">
                <a16:creationId xmlns:a16="http://schemas.microsoft.com/office/drawing/2014/main" id="{6B42F00A-989F-2F40-7CD3-45BBA6D6E2DB}"/>
              </a:ext>
            </a:extLst>
          </p:cNvPr>
          <p:cNvSpPr>
            <a:spLocks noGrp="1"/>
          </p:cNvSpPr>
          <p:nvPr>
            <p:ph type="title"/>
          </p:nvPr>
        </p:nvSpPr>
        <p:spPr>
          <a:xfrm>
            <a:off x="1127126" y="2016267"/>
            <a:ext cx="2524080" cy="1000736"/>
          </a:xfrm>
        </p:spPr>
        <p:txBody>
          <a:bodyPr/>
          <a:lstStyle/>
          <a:p>
            <a:r>
              <a:rPr lang="nl-NL" sz="2400" noProof="0" dirty="0" err="1"/>
              <a:t>Healthy</a:t>
            </a:r>
            <a:r>
              <a:rPr lang="nl-NL" sz="2400" noProof="0" dirty="0"/>
              <a:t> society</a:t>
            </a:r>
            <a:endParaRPr lang="en-US" sz="2400" dirty="0"/>
          </a:p>
        </p:txBody>
      </p:sp>
      <p:grpSp>
        <p:nvGrpSpPr>
          <p:cNvPr id="5" name="Group 16">
            <a:extLst>
              <a:ext uri="{FF2B5EF4-FFF2-40B4-BE49-F238E27FC236}">
                <a16:creationId xmlns:a16="http://schemas.microsoft.com/office/drawing/2014/main" id="{22DD6D46-9A66-9768-1BFA-5EC0E01E38E4}"/>
              </a:ext>
            </a:extLst>
          </p:cNvPr>
          <p:cNvGrpSpPr/>
          <p:nvPr/>
        </p:nvGrpSpPr>
        <p:grpSpPr>
          <a:xfrm>
            <a:off x="4648628" y="755403"/>
            <a:ext cx="991863" cy="1000736"/>
            <a:chOff x="3509954" y="819170"/>
            <a:chExt cx="5173097" cy="5219372"/>
          </a:xfrm>
          <a:solidFill>
            <a:schemeClr val="accent2"/>
          </a:solidFill>
        </p:grpSpPr>
        <p:sp>
          <p:nvSpPr>
            <p:cNvPr id="6" name="Freeform: Shape 6">
              <a:extLst>
                <a:ext uri="{FF2B5EF4-FFF2-40B4-BE49-F238E27FC236}">
                  <a16:creationId xmlns:a16="http://schemas.microsoft.com/office/drawing/2014/main" id="{9683D55F-0AC3-3A4C-F4A1-7478C41C20C4}"/>
                </a:ext>
              </a:extLst>
            </p:cNvPr>
            <p:cNvSpPr/>
            <p:nvPr/>
          </p:nvSpPr>
          <p:spPr>
            <a:xfrm>
              <a:off x="3509954" y="2207472"/>
              <a:ext cx="2586520" cy="1221337"/>
            </a:xfrm>
            <a:custGeom>
              <a:avLst/>
              <a:gdLst>
                <a:gd name="connsiteX0" fmla="*/ 303283 w 2586520"/>
                <a:gd name="connsiteY0" fmla="*/ 306080 h 1221337"/>
                <a:gd name="connsiteX1" fmla="*/ 8580 w 2586520"/>
                <a:gd name="connsiteY1" fmla="*/ 1157138 h 1221337"/>
                <a:gd name="connsiteX2" fmla="*/ 21438 w 2586520"/>
                <a:gd name="connsiteY2" fmla="*/ 1221337 h 1221337"/>
                <a:gd name="connsiteX3" fmla="*/ 2586521 w 2586520"/>
                <a:gd name="connsiteY3" fmla="*/ 1221337 h 1221337"/>
                <a:gd name="connsiteX4" fmla="*/ 1726128 w 2586520"/>
                <a:gd name="connsiteY4" fmla="*/ 353228 h 1221337"/>
                <a:gd name="connsiteX5" fmla="*/ 1146722 w 2586520"/>
                <a:gd name="connsiteY5" fmla="*/ 8614 h 1221337"/>
                <a:gd name="connsiteX6" fmla="*/ 303283 w 2586520"/>
                <a:gd name="connsiteY6" fmla="*/ 305985 h 1221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6520" h="1221337">
                  <a:moveTo>
                    <a:pt x="303283" y="306080"/>
                  </a:moveTo>
                  <a:cubicBezTo>
                    <a:pt x="34488" y="577352"/>
                    <a:pt x="-25234" y="923586"/>
                    <a:pt x="8580" y="1157138"/>
                  </a:cubicBezTo>
                  <a:cubicBezTo>
                    <a:pt x="11342" y="1176760"/>
                    <a:pt x="15628" y="1198287"/>
                    <a:pt x="21438" y="1221337"/>
                  </a:cubicBezTo>
                  <a:lnTo>
                    <a:pt x="2586521" y="1221337"/>
                  </a:lnTo>
                  <a:lnTo>
                    <a:pt x="1726128" y="353228"/>
                  </a:lnTo>
                  <a:cubicBezTo>
                    <a:pt x="1477620" y="102531"/>
                    <a:pt x="1274262" y="26902"/>
                    <a:pt x="1146722" y="8614"/>
                  </a:cubicBezTo>
                  <a:cubicBezTo>
                    <a:pt x="915169" y="-25390"/>
                    <a:pt x="572079" y="34808"/>
                    <a:pt x="303283" y="305985"/>
                  </a:cubicBezTo>
                </a:path>
              </a:pathLst>
            </a:custGeom>
            <a:grpFill/>
            <a:ln w="9525" cap="flat">
              <a:noFill/>
              <a:prstDash val="solid"/>
              <a:miter/>
            </a:ln>
          </p:spPr>
          <p:txBody>
            <a:bodyPr rtlCol="0" anchor="ctr"/>
            <a:lstStyle/>
            <a:p>
              <a:endParaRPr lang="en-GB"/>
            </a:p>
          </p:txBody>
        </p:sp>
        <p:sp>
          <p:nvSpPr>
            <p:cNvPr id="7" name="Freeform: Shape 7">
              <a:extLst>
                <a:ext uri="{FF2B5EF4-FFF2-40B4-BE49-F238E27FC236}">
                  <a16:creationId xmlns:a16="http://schemas.microsoft.com/office/drawing/2014/main" id="{BC40370B-6FBA-B495-A570-1B1891B2A404}"/>
                </a:ext>
              </a:extLst>
            </p:cNvPr>
            <p:cNvSpPr/>
            <p:nvPr/>
          </p:nvSpPr>
          <p:spPr>
            <a:xfrm>
              <a:off x="6096570" y="3428904"/>
              <a:ext cx="2586481" cy="1221337"/>
            </a:xfrm>
            <a:custGeom>
              <a:avLst/>
              <a:gdLst>
                <a:gd name="connsiteX0" fmla="*/ 2283143 w 2586481"/>
                <a:gd name="connsiteY0" fmla="*/ 915162 h 1221337"/>
                <a:gd name="connsiteX1" fmla="*/ 2577942 w 2586481"/>
                <a:gd name="connsiteY1" fmla="*/ 64199 h 1221337"/>
                <a:gd name="connsiteX2" fmla="*/ 2565083 w 2586481"/>
                <a:gd name="connsiteY2" fmla="*/ 0 h 1221337"/>
                <a:gd name="connsiteX3" fmla="*/ 0 w 2586481"/>
                <a:gd name="connsiteY3" fmla="*/ 0 h 1221337"/>
                <a:gd name="connsiteX4" fmla="*/ 860393 w 2586481"/>
                <a:gd name="connsiteY4" fmla="*/ 868109 h 1221337"/>
                <a:gd name="connsiteX5" fmla="*/ 1439799 w 2586481"/>
                <a:gd name="connsiteY5" fmla="*/ 1212723 h 1221337"/>
                <a:gd name="connsiteX6" fmla="*/ 2283238 w 2586481"/>
                <a:gd name="connsiteY6" fmla="*/ 915353 h 1221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6481" h="1221337">
                  <a:moveTo>
                    <a:pt x="2283143" y="915162"/>
                  </a:moveTo>
                  <a:cubicBezTo>
                    <a:pt x="2551938" y="643985"/>
                    <a:pt x="2611660" y="297752"/>
                    <a:pt x="2577942" y="64199"/>
                  </a:cubicBezTo>
                  <a:cubicBezTo>
                    <a:pt x="2575179" y="44577"/>
                    <a:pt x="2570893" y="23051"/>
                    <a:pt x="2565083" y="0"/>
                  </a:cubicBezTo>
                  <a:lnTo>
                    <a:pt x="0" y="0"/>
                  </a:lnTo>
                  <a:lnTo>
                    <a:pt x="860393" y="868109"/>
                  </a:lnTo>
                  <a:cubicBezTo>
                    <a:pt x="1108901" y="1118807"/>
                    <a:pt x="1312259" y="1194435"/>
                    <a:pt x="1439799" y="1212723"/>
                  </a:cubicBezTo>
                  <a:cubicBezTo>
                    <a:pt x="1671256" y="1246727"/>
                    <a:pt x="2014442" y="1186529"/>
                    <a:pt x="2283238" y="915353"/>
                  </a:cubicBezTo>
                </a:path>
              </a:pathLst>
            </a:custGeom>
            <a:grpFill/>
            <a:ln w="9525" cap="flat">
              <a:noFill/>
              <a:prstDash val="solid"/>
              <a:miter/>
            </a:ln>
          </p:spPr>
          <p:txBody>
            <a:bodyPr rtlCol="0" anchor="ctr"/>
            <a:lstStyle/>
            <a:p>
              <a:endParaRPr lang="en-GB"/>
            </a:p>
          </p:txBody>
        </p:sp>
        <p:sp>
          <p:nvSpPr>
            <p:cNvPr id="8" name="Freeform: Shape 8">
              <a:extLst>
                <a:ext uri="{FF2B5EF4-FFF2-40B4-BE49-F238E27FC236}">
                  <a16:creationId xmlns:a16="http://schemas.microsoft.com/office/drawing/2014/main" id="{66A8A435-AB53-33D0-5E46-1EB996B07AD6}"/>
                </a:ext>
              </a:extLst>
            </p:cNvPr>
            <p:cNvSpPr/>
            <p:nvPr/>
          </p:nvSpPr>
          <p:spPr>
            <a:xfrm>
              <a:off x="6096475" y="819170"/>
              <a:ext cx="1210404" cy="2609638"/>
            </a:xfrm>
            <a:custGeom>
              <a:avLst/>
              <a:gdLst>
                <a:gd name="connsiteX0" fmla="*/ 907066 w 1210404"/>
                <a:gd name="connsiteY0" fmla="*/ 306017 h 2609638"/>
                <a:gd name="connsiteX1" fmla="*/ 63627 w 1210404"/>
                <a:gd name="connsiteY1" fmla="*/ 8647 h 2609638"/>
                <a:gd name="connsiteX2" fmla="*/ 0 w 1210404"/>
                <a:gd name="connsiteY2" fmla="*/ 21601 h 2609638"/>
                <a:gd name="connsiteX3" fmla="*/ 0 w 1210404"/>
                <a:gd name="connsiteY3" fmla="*/ 2609639 h 2609638"/>
                <a:gd name="connsiteX4" fmla="*/ 860393 w 1210404"/>
                <a:gd name="connsiteY4" fmla="*/ 1741530 h 2609638"/>
                <a:gd name="connsiteX5" fmla="*/ 1201865 w 1210404"/>
                <a:gd name="connsiteY5" fmla="*/ 1156981 h 2609638"/>
                <a:gd name="connsiteX6" fmla="*/ 907066 w 1210404"/>
                <a:gd name="connsiteY6" fmla="*/ 306017 h 260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0404" h="2609638">
                  <a:moveTo>
                    <a:pt x="907066" y="306017"/>
                  </a:moveTo>
                  <a:cubicBezTo>
                    <a:pt x="638270" y="34841"/>
                    <a:pt x="295180" y="-25453"/>
                    <a:pt x="63627" y="8647"/>
                  </a:cubicBezTo>
                  <a:cubicBezTo>
                    <a:pt x="44196" y="11409"/>
                    <a:pt x="22765" y="15791"/>
                    <a:pt x="0" y="21601"/>
                  </a:cubicBezTo>
                  <a:lnTo>
                    <a:pt x="0" y="2609639"/>
                  </a:lnTo>
                  <a:lnTo>
                    <a:pt x="860393" y="1741530"/>
                  </a:lnTo>
                  <a:cubicBezTo>
                    <a:pt x="1108901" y="1490832"/>
                    <a:pt x="1183862" y="1285664"/>
                    <a:pt x="1201865" y="1156981"/>
                  </a:cubicBezTo>
                  <a:cubicBezTo>
                    <a:pt x="1235583" y="923428"/>
                    <a:pt x="1175861" y="577194"/>
                    <a:pt x="907066" y="306017"/>
                  </a:cubicBezTo>
                </a:path>
              </a:pathLst>
            </a:custGeom>
            <a:grpFill/>
            <a:ln w="9525" cap="flat">
              <a:noFill/>
              <a:prstDash val="solid"/>
              <a:miter/>
            </a:ln>
          </p:spPr>
          <p:txBody>
            <a:bodyPr rtlCol="0" anchor="ctr"/>
            <a:lstStyle/>
            <a:p>
              <a:endParaRPr lang="en-GB" dirty="0"/>
            </a:p>
          </p:txBody>
        </p:sp>
        <p:sp>
          <p:nvSpPr>
            <p:cNvPr id="9" name="Freeform: Shape 9">
              <a:extLst>
                <a:ext uri="{FF2B5EF4-FFF2-40B4-BE49-F238E27FC236}">
                  <a16:creationId xmlns:a16="http://schemas.microsoft.com/office/drawing/2014/main" id="{F975F689-93F4-FA64-C366-2F63EA5E80B4}"/>
                </a:ext>
              </a:extLst>
            </p:cNvPr>
            <p:cNvSpPr/>
            <p:nvPr/>
          </p:nvSpPr>
          <p:spPr>
            <a:xfrm>
              <a:off x="4886064" y="3428904"/>
              <a:ext cx="1210410" cy="2609638"/>
            </a:xfrm>
            <a:custGeom>
              <a:avLst/>
              <a:gdLst>
                <a:gd name="connsiteX0" fmla="*/ 303345 w 1210410"/>
                <a:gd name="connsiteY0" fmla="*/ 2303622 h 2609638"/>
                <a:gd name="connsiteX1" fmla="*/ 1146784 w 1210410"/>
                <a:gd name="connsiteY1" fmla="*/ 2600992 h 2609638"/>
                <a:gd name="connsiteX2" fmla="*/ 1210411 w 1210410"/>
                <a:gd name="connsiteY2" fmla="*/ 2588038 h 2609638"/>
                <a:gd name="connsiteX3" fmla="*/ 1210411 w 1210410"/>
                <a:gd name="connsiteY3" fmla="*/ 0 h 2609638"/>
                <a:gd name="connsiteX4" fmla="*/ 350018 w 1210410"/>
                <a:gd name="connsiteY4" fmla="*/ 868109 h 2609638"/>
                <a:gd name="connsiteX5" fmla="*/ 8546 w 1210410"/>
                <a:gd name="connsiteY5" fmla="*/ 1452658 h 2609638"/>
                <a:gd name="connsiteX6" fmla="*/ 303345 w 1210410"/>
                <a:gd name="connsiteY6" fmla="*/ 2303622 h 260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0410" h="2609638">
                  <a:moveTo>
                    <a:pt x="303345" y="2303622"/>
                  </a:moveTo>
                  <a:cubicBezTo>
                    <a:pt x="572141" y="2574798"/>
                    <a:pt x="915231" y="2635092"/>
                    <a:pt x="1146784" y="2600992"/>
                  </a:cubicBezTo>
                  <a:cubicBezTo>
                    <a:pt x="1166215" y="2598230"/>
                    <a:pt x="1187646" y="2593848"/>
                    <a:pt x="1210411" y="2588038"/>
                  </a:cubicBezTo>
                  <a:lnTo>
                    <a:pt x="1210411" y="0"/>
                  </a:lnTo>
                  <a:lnTo>
                    <a:pt x="350018" y="868109"/>
                  </a:lnTo>
                  <a:cubicBezTo>
                    <a:pt x="101510" y="1118807"/>
                    <a:pt x="26549" y="1323975"/>
                    <a:pt x="8546" y="1452658"/>
                  </a:cubicBezTo>
                  <a:cubicBezTo>
                    <a:pt x="-25172" y="1686211"/>
                    <a:pt x="34454" y="2032445"/>
                    <a:pt x="303345" y="2303622"/>
                  </a:cubicBezTo>
                </a:path>
              </a:pathLst>
            </a:custGeom>
            <a:grpFill/>
            <a:ln w="9525" cap="flat">
              <a:noFill/>
              <a:prstDash val="solid"/>
              <a:miter/>
            </a:ln>
          </p:spPr>
          <p:txBody>
            <a:bodyPr rtlCol="0" anchor="ctr"/>
            <a:lstStyle/>
            <a:p>
              <a:endParaRPr lang="en-GB"/>
            </a:p>
          </p:txBody>
        </p:sp>
      </p:grpSp>
      <p:grpSp>
        <p:nvGrpSpPr>
          <p:cNvPr id="10" name="Group 15">
            <a:extLst>
              <a:ext uri="{FF2B5EF4-FFF2-40B4-BE49-F238E27FC236}">
                <a16:creationId xmlns:a16="http://schemas.microsoft.com/office/drawing/2014/main" id="{F39F1E77-90B9-A4D7-6732-457B52E3E605}"/>
              </a:ext>
            </a:extLst>
          </p:cNvPr>
          <p:cNvGrpSpPr/>
          <p:nvPr/>
        </p:nvGrpSpPr>
        <p:grpSpPr>
          <a:xfrm>
            <a:off x="8162144" y="806457"/>
            <a:ext cx="999395" cy="1000736"/>
            <a:chOff x="3752850" y="1403350"/>
            <a:chExt cx="4684489" cy="4690776"/>
          </a:xfrm>
          <a:solidFill>
            <a:schemeClr val="accent6"/>
          </a:solidFill>
        </p:grpSpPr>
        <p:sp>
          <p:nvSpPr>
            <p:cNvPr id="11" name="Freeform: Shape 10">
              <a:extLst>
                <a:ext uri="{FF2B5EF4-FFF2-40B4-BE49-F238E27FC236}">
                  <a16:creationId xmlns:a16="http://schemas.microsoft.com/office/drawing/2014/main" id="{B044CFC5-4EAF-BE91-1D0A-9B3E32DF2468}"/>
                </a:ext>
              </a:extLst>
            </p:cNvPr>
            <p:cNvSpPr/>
            <p:nvPr/>
          </p:nvSpPr>
          <p:spPr>
            <a:xfrm>
              <a:off x="3752850" y="1860073"/>
              <a:ext cx="2343435" cy="1884235"/>
            </a:xfrm>
            <a:custGeom>
              <a:avLst/>
              <a:gdLst>
                <a:gd name="connsiteX0" fmla="*/ 0 w 2343435"/>
                <a:gd name="connsiteY0" fmla="*/ 1010793 h 1884235"/>
                <a:gd name="connsiteX1" fmla="*/ 403003 w 2343435"/>
                <a:gd name="connsiteY1" fmla="*/ 1846898 h 1884235"/>
                <a:gd name="connsiteX2" fmla="*/ 459200 w 2343435"/>
                <a:gd name="connsiteY2" fmla="*/ 1884236 h 1884235"/>
                <a:gd name="connsiteX3" fmla="*/ 2343436 w 2343435"/>
                <a:gd name="connsiteY3" fmla="*/ 0 h 1884235"/>
                <a:gd name="connsiteX4" fmla="*/ 1079468 w 2343435"/>
                <a:gd name="connsiteY4" fmla="*/ 0 h 1884235"/>
                <a:gd name="connsiteX5" fmla="*/ 403003 w 2343435"/>
                <a:gd name="connsiteY5" fmla="*/ 174784 h 1884235"/>
                <a:gd name="connsiteX6" fmla="*/ 0 w 2343435"/>
                <a:gd name="connsiteY6" fmla="*/ 1010793 h 1884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3435" h="1884235">
                  <a:moveTo>
                    <a:pt x="0" y="1010793"/>
                  </a:moveTo>
                  <a:cubicBezTo>
                    <a:pt x="0" y="1405700"/>
                    <a:pt x="208217" y="1701641"/>
                    <a:pt x="403003" y="1846898"/>
                  </a:cubicBezTo>
                  <a:cubicBezTo>
                    <a:pt x="419291" y="1859185"/>
                    <a:pt x="438150" y="1871663"/>
                    <a:pt x="459200" y="1884236"/>
                  </a:cubicBezTo>
                  <a:lnTo>
                    <a:pt x="2343436" y="0"/>
                  </a:lnTo>
                  <a:lnTo>
                    <a:pt x="1079468" y="0"/>
                  </a:lnTo>
                  <a:cubicBezTo>
                    <a:pt x="714375" y="0"/>
                    <a:pt x="509969" y="94297"/>
                    <a:pt x="403003" y="174784"/>
                  </a:cubicBezTo>
                  <a:cubicBezTo>
                    <a:pt x="208217" y="320040"/>
                    <a:pt x="0" y="615887"/>
                    <a:pt x="0" y="1010793"/>
                  </a:cubicBezTo>
                </a:path>
              </a:pathLst>
            </a:custGeom>
            <a:grp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3C6A14E9-9CA6-B0AA-9747-728908218647}"/>
                </a:ext>
              </a:extLst>
            </p:cNvPr>
            <p:cNvSpPr/>
            <p:nvPr/>
          </p:nvSpPr>
          <p:spPr>
            <a:xfrm>
              <a:off x="6099619" y="1403350"/>
              <a:ext cx="1884235" cy="2343435"/>
            </a:xfrm>
            <a:custGeom>
              <a:avLst/>
              <a:gdLst>
                <a:gd name="connsiteX0" fmla="*/ 873442 w 1884235"/>
                <a:gd name="connsiteY0" fmla="*/ 0 h 2343435"/>
                <a:gd name="connsiteX1" fmla="*/ 37338 w 1884235"/>
                <a:gd name="connsiteY1" fmla="*/ 403003 h 2343435"/>
                <a:gd name="connsiteX2" fmla="*/ 0 w 1884235"/>
                <a:gd name="connsiteY2" fmla="*/ 459200 h 2343435"/>
                <a:gd name="connsiteX3" fmla="*/ 1884236 w 1884235"/>
                <a:gd name="connsiteY3" fmla="*/ 2343436 h 2343435"/>
                <a:gd name="connsiteX4" fmla="*/ 1884236 w 1884235"/>
                <a:gd name="connsiteY4" fmla="*/ 1079468 h 2343435"/>
                <a:gd name="connsiteX5" fmla="*/ 1709452 w 1884235"/>
                <a:gd name="connsiteY5" fmla="*/ 403003 h 2343435"/>
                <a:gd name="connsiteX6" fmla="*/ 873442 w 1884235"/>
                <a:gd name="connsiteY6" fmla="*/ 0 h 234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4235" h="2343435">
                  <a:moveTo>
                    <a:pt x="873442" y="0"/>
                  </a:moveTo>
                  <a:cubicBezTo>
                    <a:pt x="478536" y="0"/>
                    <a:pt x="182594" y="208217"/>
                    <a:pt x="37338" y="403003"/>
                  </a:cubicBezTo>
                  <a:cubicBezTo>
                    <a:pt x="25051" y="419291"/>
                    <a:pt x="12573" y="438150"/>
                    <a:pt x="0" y="459200"/>
                  </a:cubicBezTo>
                  <a:lnTo>
                    <a:pt x="1884236" y="2343436"/>
                  </a:lnTo>
                  <a:lnTo>
                    <a:pt x="1884236" y="1079468"/>
                  </a:lnTo>
                  <a:cubicBezTo>
                    <a:pt x="1884236" y="714375"/>
                    <a:pt x="1789938" y="509969"/>
                    <a:pt x="1709452" y="403003"/>
                  </a:cubicBezTo>
                  <a:cubicBezTo>
                    <a:pt x="1564291" y="208217"/>
                    <a:pt x="1268349" y="0"/>
                    <a:pt x="873442" y="0"/>
                  </a:cubicBezTo>
                </a:path>
              </a:pathLst>
            </a:custGeom>
            <a:grp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40257601-0A54-FE8E-9C95-5A18E00524AF}"/>
                </a:ext>
              </a:extLst>
            </p:cNvPr>
            <p:cNvSpPr/>
            <p:nvPr/>
          </p:nvSpPr>
          <p:spPr>
            <a:xfrm>
              <a:off x="6093904" y="3752881"/>
              <a:ext cx="2343435" cy="1884235"/>
            </a:xfrm>
            <a:custGeom>
              <a:avLst/>
              <a:gdLst>
                <a:gd name="connsiteX0" fmla="*/ 2343436 w 2343435"/>
                <a:gd name="connsiteY0" fmla="*/ 873443 h 1884235"/>
                <a:gd name="connsiteX1" fmla="*/ 1940433 w 2343435"/>
                <a:gd name="connsiteY1" fmla="*/ 37338 h 1884235"/>
                <a:gd name="connsiteX2" fmla="*/ 1884236 w 2343435"/>
                <a:gd name="connsiteY2" fmla="*/ 0 h 1884235"/>
                <a:gd name="connsiteX3" fmla="*/ 0 w 2343435"/>
                <a:gd name="connsiteY3" fmla="*/ 1884235 h 1884235"/>
                <a:gd name="connsiteX4" fmla="*/ 1263968 w 2343435"/>
                <a:gd name="connsiteY4" fmla="*/ 1884235 h 1884235"/>
                <a:gd name="connsiteX5" fmla="*/ 1940433 w 2343435"/>
                <a:gd name="connsiteY5" fmla="*/ 1709452 h 1884235"/>
                <a:gd name="connsiteX6" fmla="*/ 2343436 w 2343435"/>
                <a:gd name="connsiteY6" fmla="*/ 873347 h 1884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3435" h="1884235">
                  <a:moveTo>
                    <a:pt x="2343436" y="873443"/>
                  </a:moveTo>
                  <a:cubicBezTo>
                    <a:pt x="2343436" y="478536"/>
                    <a:pt x="2135220" y="182594"/>
                    <a:pt x="1940433" y="37338"/>
                  </a:cubicBezTo>
                  <a:cubicBezTo>
                    <a:pt x="1924145" y="25051"/>
                    <a:pt x="1905286" y="12478"/>
                    <a:pt x="1884236" y="0"/>
                  </a:cubicBezTo>
                  <a:lnTo>
                    <a:pt x="0" y="1884235"/>
                  </a:lnTo>
                  <a:lnTo>
                    <a:pt x="1263968" y="1884235"/>
                  </a:lnTo>
                  <a:cubicBezTo>
                    <a:pt x="1629061" y="1884235"/>
                    <a:pt x="1833467" y="1789938"/>
                    <a:pt x="1940433" y="1709452"/>
                  </a:cubicBezTo>
                  <a:cubicBezTo>
                    <a:pt x="2135315" y="1564196"/>
                    <a:pt x="2343436" y="1268254"/>
                    <a:pt x="2343436" y="873347"/>
                  </a:cubicBezTo>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D70071EE-C4BE-551E-9AF5-9C3C43D03006}"/>
                </a:ext>
              </a:extLst>
            </p:cNvPr>
            <p:cNvSpPr/>
            <p:nvPr/>
          </p:nvSpPr>
          <p:spPr>
            <a:xfrm>
              <a:off x="4210716" y="3750691"/>
              <a:ext cx="1884235" cy="2343435"/>
            </a:xfrm>
            <a:custGeom>
              <a:avLst/>
              <a:gdLst>
                <a:gd name="connsiteX0" fmla="*/ 1010793 w 1884235"/>
                <a:gd name="connsiteY0" fmla="*/ 2343436 h 2343435"/>
                <a:gd name="connsiteX1" fmla="*/ 1846898 w 1884235"/>
                <a:gd name="connsiteY1" fmla="*/ 1940433 h 2343435"/>
                <a:gd name="connsiteX2" fmla="*/ 1884236 w 1884235"/>
                <a:gd name="connsiteY2" fmla="*/ 1884236 h 2343435"/>
                <a:gd name="connsiteX3" fmla="*/ 0 w 1884235"/>
                <a:gd name="connsiteY3" fmla="*/ 0 h 2343435"/>
                <a:gd name="connsiteX4" fmla="*/ 0 w 1884235"/>
                <a:gd name="connsiteY4" fmla="*/ 1263968 h 2343435"/>
                <a:gd name="connsiteX5" fmla="*/ 174784 w 1884235"/>
                <a:gd name="connsiteY5" fmla="*/ 1940433 h 2343435"/>
                <a:gd name="connsiteX6" fmla="*/ 1010888 w 1884235"/>
                <a:gd name="connsiteY6" fmla="*/ 2343436 h 234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4235" h="2343435">
                  <a:moveTo>
                    <a:pt x="1010793" y="2343436"/>
                  </a:moveTo>
                  <a:cubicBezTo>
                    <a:pt x="1405700" y="2343436"/>
                    <a:pt x="1701641" y="2135219"/>
                    <a:pt x="1846898" y="1940433"/>
                  </a:cubicBezTo>
                  <a:cubicBezTo>
                    <a:pt x="1859185" y="1924145"/>
                    <a:pt x="1871758" y="1905286"/>
                    <a:pt x="1884236" y="1884236"/>
                  </a:cubicBezTo>
                  <a:lnTo>
                    <a:pt x="0" y="0"/>
                  </a:lnTo>
                  <a:lnTo>
                    <a:pt x="0" y="1263968"/>
                  </a:lnTo>
                  <a:cubicBezTo>
                    <a:pt x="0" y="1629061"/>
                    <a:pt x="94298" y="1833467"/>
                    <a:pt x="174784" y="1940433"/>
                  </a:cubicBezTo>
                  <a:cubicBezTo>
                    <a:pt x="320040" y="2135315"/>
                    <a:pt x="615982" y="2343436"/>
                    <a:pt x="1010888" y="2343436"/>
                  </a:cubicBezTo>
                </a:path>
              </a:pathLst>
            </a:custGeom>
            <a:grpFill/>
            <a:ln w="9525" cap="flat">
              <a:noFill/>
              <a:prstDash val="solid"/>
              <a:miter/>
            </a:ln>
          </p:spPr>
          <p:txBody>
            <a:bodyPr rtlCol="0" anchor="ctr"/>
            <a:lstStyle/>
            <a:p>
              <a:endParaRPr lang="en-GB"/>
            </a:p>
          </p:txBody>
        </p:sp>
      </p:grpSp>
      <p:sp>
        <p:nvSpPr>
          <p:cNvPr id="15" name="Title 42">
            <a:extLst>
              <a:ext uri="{FF2B5EF4-FFF2-40B4-BE49-F238E27FC236}">
                <a16:creationId xmlns:a16="http://schemas.microsoft.com/office/drawing/2014/main" id="{BB0D7A99-ACB1-459D-7582-B90A734AA439}"/>
              </a:ext>
            </a:extLst>
          </p:cNvPr>
          <p:cNvSpPr txBox="1">
            <a:spLocks/>
          </p:cNvSpPr>
          <p:nvPr/>
        </p:nvSpPr>
        <p:spPr>
          <a:xfrm>
            <a:off x="4648628" y="2024817"/>
            <a:ext cx="3697959" cy="1000736"/>
          </a:xfrm>
          <a:prstGeom prst="rect">
            <a:avLst/>
          </a:prstGeom>
          <a:noFill/>
        </p:spPr>
        <p:txBody>
          <a:bodyPr vert="horz" lIns="0" tIns="0" rIns="0" bIns="0" rtlCol="0" anchor="t" anchorCtr="0">
            <a:noAutofit/>
          </a:bodyPr>
          <a:lstStyle>
            <a:lvl1pPr algn="l" defTabSz="914400" rtl="0" eaLnBrk="1" latinLnBrk="0" hangingPunct="1">
              <a:lnSpc>
                <a:spcPct val="90000"/>
              </a:lnSpc>
              <a:spcBef>
                <a:spcPct val="0"/>
              </a:spcBef>
              <a:buNone/>
              <a:defRPr sz="4000" kern="1200">
                <a:solidFill>
                  <a:schemeClr val="bg1"/>
                </a:solidFill>
                <a:latin typeface="+mj-lt"/>
                <a:ea typeface="+mj-ea"/>
                <a:cs typeface="+mj-cs"/>
              </a:defRPr>
            </a:lvl1pPr>
          </a:lstStyle>
          <a:p>
            <a:r>
              <a:rPr lang="nl-NL" sz="2400" b="1" dirty="0" err="1"/>
              <a:t>Healthy</a:t>
            </a:r>
            <a:r>
              <a:rPr lang="nl-NL" sz="2400" b="1" dirty="0"/>
              <a:t> environment</a:t>
            </a:r>
            <a:endParaRPr lang="en-US" sz="2400" b="1" dirty="0"/>
          </a:p>
        </p:txBody>
      </p:sp>
      <p:sp>
        <p:nvSpPr>
          <p:cNvPr id="16" name="Text Placeholder 20">
            <a:extLst>
              <a:ext uri="{FF2B5EF4-FFF2-40B4-BE49-F238E27FC236}">
                <a16:creationId xmlns:a16="http://schemas.microsoft.com/office/drawing/2014/main" id="{E3176F2F-F409-4E58-CB20-E1E936664997}"/>
              </a:ext>
            </a:extLst>
          </p:cNvPr>
          <p:cNvSpPr>
            <a:spLocks noGrp="1"/>
          </p:cNvSpPr>
          <p:nvPr>
            <p:ph type="body" sz="quarter" idx="10"/>
          </p:nvPr>
        </p:nvSpPr>
        <p:spPr>
          <a:xfrm>
            <a:off x="1127125" y="2662410"/>
            <a:ext cx="2889015" cy="3201318"/>
          </a:xfrm>
        </p:spPr>
        <p:txBody>
          <a:bodyPr/>
          <a:lstStyle/>
          <a:p>
            <a:pPr marL="0" lvl="1" indent="0">
              <a:buNone/>
            </a:pPr>
            <a:r>
              <a:rPr lang="nl-NL" sz="1800" dirty="0"/>
              <a:t>We want </a:t>
            </a:r>
            <a:r>
              <a:rPr lang="nl-NL" sz="1800" dirty="0" err="1"/>
              <a:t>people</a:t>
            </a:r>
            <a:r>
              <a:rPr lang="nl-NL" sz="1800" dirty="0"/>
              <a:t> </a:t>
            </a:r>
            <a:r>
              <a:rPr lang="nl-NL" sz="1800" dirty="0" err="1"/>
              <a:t>to</a:t>
            </a:r>
            <a:r>
              <a:rPr lang="nl-NL" sz="1800" dirty="0"/>
              <a:t> live </a:t>
            </a:r>
            <a:r>
              <a:rPr lang="nl-NL" sz="1800" dirty="0" err="1"/>
              <a:t>better</a:t>
            </a:r>
            <a:r>
              <a:rPr lang="nl-NL" sz="1800" dirty="0"/>
              <a:t>, more </a:t>
            </a:r>
            <a:r>
              <a:rPr lang="nl-NL" sz="1800" dirty="0" err="1"/>
              <a:t>fulfilling</a:t>
            </a:r>
            <a:r>
              <a:rPr lang="nl-NL" sz="1800" dirty="0"/>
              <a:t> </a:t>
            </a:r>
            <a:r>
              <a:rPr lang="nl-NL" sz="1800" dirty="0" err="1"/>
              <a:t>lives</a:t>
            </a:r>
            <a:r>
              <a:rPr lang="nl-NL" sz="1800" dirty="0"/>
              <a:t> in a society </a:t>
            </a:r>
            <a:r>
              <a:rPr lang="nl-NL" sz="1800" dirty="0" err="1"/>
              <a:t>that</a:t>
            </a:r>
            <a:r>
              <a:rPr lang="nl-NL" sz="1800" dirty="0"/>
              <a:t> </a:t>
            </a:r>
            <a:r>
              <a:rPr lang="nl-NL" sz="1800" dirty="0" err="1"/>
              <a:t>promotes</a:t>
            </a:r>
            <a:r>
              <a:rPr lang="nl-NL" sz="1800" dirty="0"/>
              <a:t> </a:t>
            </a:r>
            <a:r>
              <a:rPr lang="nl-NL" sz="1800" dirty="0" err="1"/>
              <a:t>their</a:t>
            </a:r>
            <a:r>
              <a:rPr lang="nl-NL" sz="1800" dirty="0"/>
              <a:t> </a:t>
            </a:r>
            <a:r>
              <a:rPr lang="nl-NL" sz="1800" dirty="0" err="1"/>
              <a:t>wellbeing</a:t>
            </a:r>
            <a:r>
              <a:rPr lang="nl-NL" sz="1800" dirty="0"/>
              <a:t> </a:t>
            </a:r>
            <a:r>
              <a:rPr lang="nl-NL" sz="1800" dirty="0" err="1"/>
              <a:t>inside</a:t>
            </a:r>
            <a:r>
              <a:rPr lang="nl-NL" sz="1800" dirty="0"/>
              <a:t> </a:t>
            </a:r>
            <a:r>
              <a:rPr lang="nl-NL" sz="1800" dirty="0" err="1"/>
              <a:t>and</a:t>
            </a:r>
            <a:r>
              <a:rPr lang="nl-NL" sz="1800" dirty="0"/>
              <a:t> </a:t>
            </a:r>
            <a:r>
              <a:rPr lang="nl-NL" sz="1800" dirty="0" err="1"/>
              <a:t>outside</a:t>
            </a:r>
            <a:r>
              <a:rPr lang="nl-NL" sz="1800" dirty="0"/>
              <a:t> of </a:t>
            </a:r>
            <a:r>
              <a:rPr lang="nl-NL" sz="1800" dirty="0" err="1"/>
              <a:t>work</a:t>
            </a:r>
            <a:r>
              <a:rPr lang="nl-NL" sz="1800" dirty="0"/>
              <a:t>. </a:t>
            </a:r>
            <a:r>
              <a:rPr lang="nl-NL" sz="1800" dirty="0" err="1"/>
              <a:t>And</a:t>
            </a:r>
            <a:r>
              <a:rPr lang="nl-NL" sz="1800" dirty="0"/>
              <a:t> </a:t>
            </a:r>
            <a:r>
              <a:rPr lang="nl-NL" sz="1800" dirty="0" err="1"/>
              <a:t>so</a:t>
            </a:r>
            <a:r>
              <a:rPr lang="nl-NL" sz="1800" dirty="0"/>
              <a:t>, </a:t>
            </a:r>
            <a:r>
              <a:rPr lang="nl-NL" sz="1800" dirty="0" err="1"/>
              <a:t>we’re</a:t>
            </a:r>
            <a:r>
              <a:rPr lang="nl-NL" sz="1800" dirty="0"/>
              <a:t> </a:t>
            </a:r>
            <a:r>
              <a:rPr lang="nl-NL" sz="1800" dirty="0" err="1"/>
              <a:t>committed</a:t>
            </a:r>
            <a:r>
              <a:rPr lang="nl-NL" sz="1800" dirty="0"/>
              <a:t> </a:t>
            </a:r>
            <a:r>
              <a:rPr lang="nl-NL" sz="1800" dirty="0" err="1"/>
              <a:t>to</a:t>
            </a:r>
            <a:r>
              <a:rPr lang="nl-NL" sz="1800" dirty="0"/>
              <a:t> </a:t>
            </a:r>
            <a:r>
              <a:rPr lang="nl-NL" sz="1800" dirty="0" err="1"/>
              <a:t>delivering</a:t>
            </a:r>
            <a:r>
              <a:rPr lang="nl-NL" sz="1800" dirty="0"/>
              <a:t> excellent living </a:t>
            </a:r>
            <a:r>
              <a:rPr lang="nl-NL" sz="1800" dirty="0" err="1"/>
              <a:t>and</a:t>
            </a:r>
            <a:r>
              <a:rPr lang="nl-NL" sz="1800" dirty="0"/>
              <a:t> </a:t>
            </a:r>
            <a:r>
              <a:rPr lang="nl-NL" sz="1800" dirty="0" err="1"/>
              <a:t>working</a:t>
            </a:r>
            <a:r>
              <a:rPr lang="nl-NL" sz="1800" dirty="0"/>
              <a:t> </a:t>
            </a:r>
            <a:r>
              <a:rPr lang="nl-NL" sz="1800" dirty="0" err="1"/>
              <a:t>conditions</a:t>
            </a:r>
            <a:r>
              <a:rPr lang="nl-NL" sz="1800" dirty="0"/>
              <a:t> </a:t>
            </a:r>
            <a:r>
              <a:rPr lang="nl-NL" sz="1800" dirty="0" err="1"/>
              <a:t>for</a:t>
            </a:r>
            <a:r>
              <a:rPr lang="nl-NL" sz="1800" dirty="0"/>
              <a:t> </a:t>
            </a:r>
            <a:r>
              <a:rPr lang="nl-NL" sz="1800" dirty="0" err="1"/>
              <a:t>the</a:t>
            </a:r>
            <a:r>
              <a:rPr lang="nl-NL" sz="1800" dirty="0"/>
              <a:t> 1.5 </a:t>
            </a:r>
            <a:r>
              <a:rPr lang="nl-NL" sz="1800" dirty="0" err="1"/>
              <a:t>million</a:t>
            </a:r>
            <a:r>
              <a:rPr lang="nl-NL" sz="1800" dirty="0"/>
              <a:t> </a:t>
            </a:r>
            <a:r>
              <a:rPr lang="nl-NL" sz="1800" dirty="0" err="1"/>
              <a:t>people</a:t>
            </a:r>
            <a:r>
              <a:rPr lang="nl-NL" sz="1800" dirty="0"/>
              <a:t> </a:t>
            </a:r>
            <a:r>
              <a:rPr lang="nl-NL" sz="1800" dirty="0" err="1"/>
              <a:t>who</a:t>
            </a:r>
            <a:r>
              <a:rPr lang="nl-NL" sz="1800" dirty="0"/>
              <a:t> call Utrecht home.</a:t>
            </a:r>
          </a:p>
        </p:txBody>
      </p:sp>
      <p:sp>
        <p:nvSpPr>
          <p:cNvPr id="17" name="Text Placeholder 20">
            <a:extLst>
              <a:ext uri="{FF2B5EF4-FFF2-40B4-BE49-F238E27FC236}">
                <a16:creationId xmlns:a16="http://schemas.microsoft.com/office/drawing/2014/main" id="{BE8F2FCD-F847-AC2C-E40F-55EE91DB889B}"/>
              </a:ext>
            </a:extLst>
          </p:cNvPr>
          <p:cNvSpPr txBox="1">
            <a:spLocks/>
          </p:cNvSpPr>
          <p:nvPr/>
        </p:nvSpPr>
        <p:spPr>
          <a:xfrm>
            <a:off x="4648628" y="2651723"/>
            <a:ext cx="2731074" cy="3201318"/>
          </a:xfrm>
          <a:prstGeom prst="rect">
            <a:avLst/>
          </a:prstGeom>
          <a:noFill/>
        </p:spPr>
        <p:txBody>
          <a:bodyPr vert="horz" lIns="0" tIns="0" rIns="0" bIns="0" rtlCol="0">
            <a:noAutofit/>
          </a:bodyPr>
          <a:lstStyle>
            <a:lvl1pPr marL="0" indent="0" algn="l" defTabSz="914400" rtl="0" eaLnBrk="1" latinLnBrk="0" hangingPunct="1">
              <a:lnSpc>
                <a:spcPct val="100000"/>
              </a:lnSpc>
              <a:spcBef>
                <a:spcPts val="0"/>
              </a:spcBef>
              <a:spcAft>
                <a:spcPts val="300"/>
              </a:spcAft>
              <a:buFontTx/>
              <a:buNone/>
              <a:defRPr sz="2400" kern="1200">
                <a:solidFill>
                  <a:schemeClr val="bg1"/>
                </a:solidFill>
                <a:latin typeface="+mn-lt"/>
                <a:ea typeface="+mn-ea"/>
                <a:cs typeface="+mn-cs"/>
              </a:defRPr>
            </a:lvl1pPr>
            <a:lvl2pPr marL="266700" indent="-266700" algn="l" defTabSz="914400" rtl="0" eaLnBrk="1" latinLnBrk="0" hangingPunct="1">
              <a:lnSpc>
                <a:spcPct val="100000"/>
              </a:lnSpc>
              <a:spcBef>
                <a:spcPts val="0"/>
              </a:spcBef>
              <a:spcAft>
                <a:spcPts val="300"/>
              </a:spcAft>
              <a:buSzPct val="100000"/>
              <a:buFont typeface="EuclidUtrecht-Regular" panose="020B0504000000000000" pitchFamily="34" charset="0"/>
              <a:buChar char="&gt;"/>
              <a:defRPr sz="2400" kern="1200">
                <a:solidFill>
                  <a:schemeClr val="bg1"/>
                </a:solidFill>
                <a:latin typeface="+mn-lt"/>
                <a:ea typeface="+mn-ea"/>
                <a:cs typeface="+mn-cs"/>
              </a:defRPr>
            </a:lvl2pPr>
            <a:lvl3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bg1"/>
                </a:solidFill>
                <a:latin typeface="+mn-lt"/>
                <a:ea typeface="+mn-ea"/>
                <a:cs typeface="+mn-cs"/>
              </a:defRPr>
            </a:lvl3pPr>
            <a:lvl4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bg1"/>
                </a:solidFill>
                <a:latin typeface="+mn-lt"/>
                <a:ea typeface="+mn-ea"/>
                <a:cs typeface="+mn-cs"/>
              </a:defRPr>
            </a:lvl4pPr>
            <a:lvl5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nl-NL" sz="1800" dirty="0" err="1"/>
              <a:t>We’re</a:t>
            </a:r>
            <a:r>
              <a:rPr lang="nl-NL" sz="1800" dirty="0"/>
              <a:t> </a:t>
            </a:r>
            <a:r>
              <a:rPr lang="nl-NL" sz="1800" dirty="0" err="1"/>
              <a:t>naturally</a:t>
            </a:r>
            <a:r>
              <a:rPr lang="nl-NL" sz="1800" dirty="0"/>
              <a:t> </a:t>
            </a:r>
            <a:r>
              <a:rPr lang="nl-NL" sz="1800" dirty="0" err="1"/>
              <a:t>beautiful</a:t>
            </a:r>
            <a:r>
              <a:rPr lang="nl-NL" sz="1800" dirty="0"/>
              <a:t>. </a:t>
            </a:r>
            <a:r>
              <a:rPr lang="nl-NL" sz="1800" dirty="0" err="1"/>
              <a:t>Which</a:t>
            </a:r>
            <a:r>
              <a:rPr lang="nl-NL" sz="1800" dirty="0"/>
              <a:t> is </a:t>
            </a:r>
            <a:r>
              <a:rPr lang="nl-NL" sz="1800" dirty="0" err="1"/>
              <a:t>why</a:t>
            </a:r>
            <a:r>
              <a:rPr lang="nl-NL" sz="1800" dirty="0"/>
              <a:t> we </a:t>
            </a:r>
            <a:r>
              <a:rPr lang="nl-NL" sz="1800" dirty="0" err="1"/>
              <a:t>give</a:t>
            </a:r>
            <a:r>
              <a:rPr lang="nl-NL" sz="1800" dirty="0"/>
              <a:t> </a:t>
            </a:r>
            <a:r>
              <a:rPr lang="nl-NL" sz="1800" dirty="0" err="1"/>
              <a:t>equal</a:t>
            </a:r>
            <a:r>
              <a:rPr lang="nl-NL" sz="1800" dirty="0"/>
              <a:t> </a:t>
            </a:r>
            <a:r>
              <a:rPr lang="nl-NL" sz="1800" dirty="0" err="1"/>
              <a:t>consideration</a:t>
            </a:r>
            <a:r>
              <a:rPr lang="nl-NL" sz="1800" dirty="0"/>
              <a:t> </a:t>
            </a:r>
            <a:r>
              <a:rPr lang="nl-NL" sz="1800" dirty="0" err="1"/>
              <a:t>to</a:t>
            </a:r>
            <a:r>
              <a:rPr lang="nl-NL" sz="1800" dirty="0"/>
              <a:t> nature </a:t>
            </a:r>
            <a:r>
              <a:rPr lang="nl-NL" sz="1800" dirty="0" err="1"/>
              <a:t>and</a:t>
            </a:r>
            <a:r>
              <a:rPr lang="nl-NL" sz="1800" dirty="0"/>
              <a:t> </a:t>
            </a:r>
            <a:r>
              <a:rPr lang="nl-NL" sz="1800" dirty="0" err="1"/>
              <a:t>the</a:t>
            </a:r>
            <a:r>
              <a:rPr lang="nl-NL" sz="1800" dirty="0"/>
              <a:t> </a:t>
            </a:r>
            <a:r>
              <a:rPr lang="nl-NL" sz="1800" dirty="0" err="1"/>
              <a:t>reality</a:t>
            </a:r>
            <a:r>
              <a:rPr lang="nl-NL" sz="1800" dirty="0"/>
              <a:t> of </a:t>
            </a:r>
            <a:r>
              <a:rPr lang="nl-NL" sz="1800" dirty="0" err="1"/>
              <a:t>being</a:t>
            </a:r>
            <a:r>
              <a:rPr lang="nl-NL" sz="1800" dirty="0"/>
              <a:t> a modern, </a:t>
            </a:r>
            <a:r>
              <a:rPr lang="nl-NL" sz="1800" dirty="0" err="1"/>
              <a:t>urban</a:t>
            </a:r>
            <a:r>
              <a:rPr lang="nl-NL" sz="1800" dirty="0"/>
              <a:t> </a:t>
            </a:r>
            <a:r>
              <a:rPr lang="nl-NL" sz="1800" dirty="0" err="1"/>
              <a:t>region</a:t>
            </a:r>
            <a:r>
              <a:rPr lang="nl-NL" sz="1800" dirty="0"/>
              <a:t>. We </a:t>
            </a:r>
            <a:r>
              <a:rPr lang="nl-NL" sz="1800" dirty="0" err="1"/>
              <a:t>owe</a:t>
            </a:r>
            <a:r>
              <a:rPr lang="nl-NL" sz="1800" dirty="0"/>
              <a:t> </a:t>
            </a:r>
            <a:r>
              <a:rPr lang="nl-NL" sz="1800" dirty="0" err="1"/>
              <a:t>it</a:t>
            </a:r>
            <a:r>
              <a:rPr lang="nl-NL" sz="1800" dirty="0"/>
              <a:t> </a:t>
            </a:r>
            <a:r>
              <a:rPr lang="nl-NL" sz="1800" dirty="0" err="1"/>
              <a:t>to</a:t>
            </a:r>
            <a:r>
              <a:rPr lang="nl-NL" sz="1800" dirty="0"/>
              <a:t> </a:t>
            </a:r>
            <a:r>
              <a:rPr lang="nl-NL" sz="1800" dirty="0" err="1"/>
              <a:t>our</a:t>
            </a:r>
            <a:r>
              <a:rPr lang="nl-NL" sz="1800" dirty="0"/>
              <a:t> </a:t>
            </a:r>
            <a:r>
              <a:rPr lang="nl-NL" sz="1800" dirty="0" err="1"/>
              <a:t>ourselves</a:t>
            </a:r>
            <a:r>
              <a:rPr lang="nl-NL" sz="1800" dirty="0"/>
              <a:t> </a:t>
            </a:r>
            <a:r>
              <a:rPr lang="nl-NL" sz="1800" dirty="0" err="1"/>
              <a:t>to</a:t>
            </a:r>
            <a:r>
              <a:rPr lang="nl-NL" sz="1800" dirty="0"/>
              <a:t> </a:t>
            </a:r>
            <a:r>
              <a:rPr lang="nl-NL" sz="1800" dirty="0" err="1"/>
              <a:t>actively</a:t>
            </a:r>
            <a:r>
              <a:rPr lang="nl-NL" sz="1800" dirty="0"/>
              <a:t> </a:t>
            </a:r>
            <a:r>
              <a:rPr lang="nl-NL" sz="1800" dirty="0" err="1"/>
              <a:t>invest</a:t>
            </a:r>
            <a:r>
              <a:rPr lang="nl-NL" sz="1800" dirty="0"/>
              <a:t> in </a:t>
            </a:r>
            <a:r>
              <a:rPr lang="nl-NL" sz="1800" dirty="0" err="1"/>
              <a:t>climate</a:t>
            </a:r>
            <a:r>
              <a:rPr lang="nl-NL" sz="1800" dirty="0"/>
              <a:t> </a:t>
            </a:r>
            <a:r>
              <a:rPr lang="nl-NL" sz="1800" dirty="0" err="1"/>
              <a:t>proof</a:t>
            </a:r>
            <a:r>
              <a:rPr lang="nl-NL" sz="1800" dirty="0"/>
              <a:t>, energy </a:t>
            </a:r>
            <a:r>
              <a:rPr lang="nl-NL" sz="1800" dirty="0" err="1"/>
              <a:t>conscious</a:t>
            </a:r>
            <a:r>
              <a:rPr lang="nl-NL" sz="1800" dirty="0"/>
              <a:t> </a:t>
            </a:r>
            <a:r>
              <a:rPr lang="nl-NL" sz="1800" dirty="0" err="1"/>
              <a:t>and</a:t>
            </a:r>
            <a:r>
              <a:rPr lang="nl-NL" sz="1800" dirty="0"/>
              <a:t> </a:t>
            </a:r>
            <a:r>
              <a:rPr lang="nl-NL" sz="1800" dirty="0" err="1"/>
              <a:t>biodiverse</a:t>
            </a:r>
            <a:r>
              <a:rPr lang="nl-NL" sz="1800" dirty="0"/>
              <a:t> </a:t>
            </a:r>
            <a:r>
              <a:rPr lang="nl-NL" sz="1800" dirty="0" err="1"/>
              <a:t>urban</a:t>
            </a:r>
            <a:r>
              <a:rPr lang="nl-NL" sz="1800" dirty="0"/>
              <a:t> </a:t>
            </a:r>
            <a:r>
              <a:rPr lang="nl-NL" sz="1800" dirty="0" err="1"/>
              <a:t>centres</a:t>
            </a:r>
            <a:r>
              <a:rPr lang="nl-NL" sz="1800" dirty="0"/>
              <a:t>.</a:t>
            </a:r>
          </a:p>
        </p:txBody>
      </p:sp>
      <p:sp>
        <p:nvSpPr>
          <p:cNvPr id="18" name="Title 42">
            <a:extLst>
              <a:ext uri="{FF2B5EF4-FFF2-40B4-BE49-F238E27FC236}">
                <a16:creationId xmlns:a16="http://schemas.microsoft.com/office/drawing/2014/main" id="{E848B363-BF91-6BCB-A2A6-99205F1C7AC0}"/>
              </a:ext>
            </a:extLst>
          </p:cNvPr>
          <p:cNvSpPr txBox="1">
            <a:spLocks/>
          </p:cNvSpPr>
          <p:nvPr/>
        </p:nvSpPr>
        <p:spPr>
          <a:xfrm>
            <a:off x="8227359" y="2027567"/>
            <a:ext cx="2524080" cy="1000736"/>
          </a:xfrm>
          <a:prstGeom prst="rect">
            <a:avLst/>
          </a:prstGeom>
          <a:noFill/>
        </p:spPr>
        <p:txBody>
          <a:bodyPr vert="horz" lIns="0" tIns="0" rIns="0" bIns="0" rtlCol="0" anchor="t" anchorCtr="0">
            <a:noAutofit/>
          </a:bodyPr>
          <a:lstStyle>
            <a:lvl1pPr algn="l" defTabSz="914400" rtl="0" eaLnBrk="1" latinLnBrk="0" hangingPunct="1">
              <a:lnSpc>
                <a:spcPct val="90000"/>
              </a:lnSpc>
              <a:spcBef>
                <a:spcPct val="0"/>
              </a:spcBef>
              <a:buNone/>
              <a:defRPr sz="4000" kern="1200">
                <a:solidFill>
                  <a:schemeClr val="bg1"/>
                </a:solidFill>
                <a:latin typeface="+mj-lt"/>
                <a:ea typeface="+mj-ea"/>
                <a:cs typeface="+mj-cs"/>
              </a:defRPr>
            </a:lvl1pPr>
          </a:lstStyle>
          <a:p>
            <a:r>
              <a:rPr lang="nl-NL" sz="2400" b="1" dirty="0" err="1"/>
              <a:t>Healthy</a:t>
            </a:r>
            <a:r>
              <a:rPr lang="nl-NL" sz="2400" b="1" dirty="0"/>
              <a:t> </a:t>
            </a:r>
            <a:r>
              <a:rPr lang="nl-NL" sz="2400" b="1" dirty="0" err="1"/>
              <a:t>people</a:t>
            </a:r>
            <a:endParaRPr lang="en-US" sz="2400" b="1" dirty="0"/>
          </a:p>
        </p:txBody>
      </p:sp>
      <p:sp>
        <p:nvSpPr>
          <p:cNvPr id="19" name="Text Placeholder 20">
            <a:extLst>
              <a:ext uri="{FF2B5EF4-FFF2-40B4-BE49-F238E27FC236}">
                <a16:creationId xmlns:a16="http://schemas.microsoft.com/office/drawing/2014/main" id="{F401EE09-8D24-791B-6C09-2262667D8370}"/>
              </a:ext>
            </a:extLst>
          </p:cNvPr>
          <p:cNvSpPr txBox="1">
            <a:spLocks/>
          </p:cNvSpPr>
          <p:nvPr/>
        </p:nvSpPr>
        <p:spPr>
          <a:xfrm>
            <a:off x="8227358" y="2673710"/>
            <a:ext cx="2889015" cy="3201318"/>
          </a:xfrm>
          <a:prstGeom prst="rect">
            <a:avLst/>
          </a:prstGeom>
          <a:noFill/>
        </p:spPr>
        <p:txBody>
          <a:bodyPr vert="horz" lIns="0" tIns="0" rIns="0" bIns="0" rtlCol="0">
            <a:noAutofit/>
          </a:bodyPr>
          <a:lstStyle>
            <a:lvl1pPr marL="0" indent="0" algn="l" defTabSz="914400" rtl="0" eaLnBrk="1" latinLnBrk="0" hangingPunct="1">
              <a:lnSpc>
                <a:spcPct val="100000"/>
              </a:lnSpc>
              <a:spcBef>
                <a:spcPts val="0"/>
              </a:spcBef>
              <a:spcAft>
                <a:spcPts val="300"/>
              </a:spcAft>
              <a:buFontTx/>
              <a:buNone/>
              <a:defRPr sz="2400" kern="1200">
                <a:solidFill>
                  <a:schemeClr val="bg1"/>
                </a:solidFill>
                <a:latin typeface="+mn-lt"/>
                <a:ea typeface="+mn-ea"/>
                <a:cs typeface="+mn-cs"/>
              </a:defRPr>
            </a:lvl1pPr>
            <a:lvl2pPr marL="266700" indent="-266700" algn="l" defTabSz="914400" rtl="0" eaLnBrk="1" latinLnBrk="0" hangingPunct="1">
              <a:lnSpc>
                <a:spcPct val="100000"/>
              </a:lnSpc>
              <a:spcBef>
                <a:spcPts val="0"/>
              </a:spcBef>
              <a:spcAft>
                <a:spcPts val="300"/>
              </a:spcAft>
              <a:buSzPct val="100000"/>
              <a:buFont typeface="EuclidUtrecht-Regular" panose="020B0504000000000000" pitchFamily="34" charset="0"/>
              <a:buChar char="&gt;"/>
              <a:defRPr sz="2400" kern="1200">
                <a:solidFill>
                  <a:schemeClr val="bg1"/>
                </a:solidFill>
                <a:latin typeface="+mn-lt"/>
                <a:ea typeface="+mn-ea"/>
                <a:cs typeface="+mn-cs"/>
              </a:defRPr>
            </a:lvl2pPr>
            <a:lvl3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bg1"/>
                </a:solidFill>
                <a:latin typeface="+mn-lt"/>
                <a:ea typeface="+mn-ea"/>
                <a:cs typeface="+mn-cs"/>
              </a:defRPr>
            </a:lvl3pPr>
            <a:lvl4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bg1"/>
                </a:solidFill>
                <a:latin typeface="+mn-lt"/>
                <a:ea typeface="+mn-ea"/>
                <a:cs typeface="+mn-cs"/>
              </a:defRPr>
            </a:lvl4pPr>
            <a:lvl5pPr marL="914400" indent="-412750" algn="l" defTabSz="914400" rtl="0" eaLnBrk="1" latinLnBrk="0" hangingPunct="1">
              <a:lnSpc>
                <a:spcPct val="100000"/>
              </a:lnSpc>
              <a:spcBef>
                <a:spcPts val="0"/>
              </a:spcBef>
              <a:spcAft>
                <a:spcPts val="300"/>
              </a:spcAft>
              <a:buFont typeface="EuclidUtrecht-Regular" panose="020B0504000000000000"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Font typeface="EuclidUtrecht-Regular" panose="020B0504000000000000" pitchFamily="34" charset="0"/>
              <a:buNone/>
            </a:pPr>
            <a:r>
              <a:rPr lang="nl-NL" sz="1800" dirty="0"/>
              <a:t>We want </a:t>
            </a:r>
            <a:r>
              <a:rPr lang="nl-NL" sz="1800" dirty="0" err="1"/>
              <a:t>people</a:t>
            </a:r>
            <a:r>
              <a:rPr lang="nl-NL" sz="1800" dirty="0"/>
              <a:t> </a:t>
            </a:r>
            <a:r>
              <a:rPr lang="nl-NL" sz="1800" dirty="0" err="1"/>
              <a:t>to</a:t>
            </a:r>
            <a:r>
              <a:rPr lang="nl-NL" sz="1800" dirty="0"/>
              <a:t> live </a:t>
            </a:r>
            <a:r>
              <a:rPr lang="nl-NL" sz="1800" dirty="0" err="1"/>
              <a:t>better</a:t>
            </a:r>
            <a:r>
              <a:rPr lang="nl-NL" sz="1800" dirty="0"/>
              <a:t>, more </a:t>
            </a:r>
            <a:r>
              <a:rPr lang="nl-NL" sz="1800" dirty="0" err="1"/>
              <a:t>fulfilling</a:t>
            </a:r>
            <a:r>
              <a:rPr lang="nl-NL" sz="1800" dirty="0"/>
              <a:t> </a:t>
            </a:r>
            <a:r>
              <a:rPr lang="nl-NL" sz="1800" dirty="0" err="1"/>
              <a:t>lives</a:t>
            </a:r>
            <a:r>
              <a:rPr lang="nl-NL" sz="1800" dirty="0"/>
              <a:t> in a society </a:t>
            </a:r>
            <a:r>
              <a:rPr lang="nl-NL" sz="1800" dirty="0" err="1"/>
              <a:t>that</a:t>
            </a:r>
            <a:r>
              <a:rPr lang="nl-NL" sz="1800" dirty="0"/>
              <a:t> </a:t>
            </a:r>
            <a:r>
              <a:rPr lang="nl-NL" sz="1800" dirty="0" err="1"/>
              <a:t>promotes</a:t>
            </a:r>
            <a:r>
              <a:rPr lang="nl-NL" sz="1800" dirty="0"/>
              <a:t> </a:t>
            </a:r>
            <a:r>
              <a:rPr lang="nl-NL" sz="1800" dirty="0" err="1"/>
              <a:t>their</a:t>
            </a:r>
            <a:r>
              <a:rPr lang="nl-NL" sz="1800" dirty="0"/>
              <a:t> </a:t>
            </a:r>
            <a:r>
              <a:rPr lang="nl-NL" sz="1800" dirty="0" err="1"/>
              <a:t>wellbeing</a:t>
            </a:r>
            <a:r>
              <a:rPr lang="nl-NL" sz="1800" dirty="0"/>
              <a:t> </a:t>
            </a:r>
            <a:r>
              <a:rPr lang="nl-NL" sz="1800" dirty="0" err="1"/>
              <a:t>inside</a:t>
            </a:r>
            <a:r>
              <a:rPr lang="nl-NL" sz="1800" dirty="0"/>
              <a:t> </a:t>
            </a:r>
            <a:r>
              <a:rPr lang="nl-NL" sz="1800" dirty="0" err="1"/>
              <a:t>and</a:t>
            </a:r>
            <a:r>
              <a:rPr lang="nl-NL" sz="1800" dirty="0"/>
              <a:t> </a:t>
            </a:r>
            <a:r>
              <a:rPr lang="nl-NL" sz="1800" dirty="0" err="1"/>
              <a:t>outside</a:t>
            </a:r>
            <a:r>
              <a:rPr lang="nl-NL" sz="1800" dirty="0"/>
              <a:t> of </a:t>
            </a:r>
            <a:r>
              <a:rPr lang="nl-NL" sz="1800" dirty="0" err="1"/>
              <a:t>work</a:t>
            </a:r>
            <a:r>
              <a:rPr lang="nl-NL" sz="1800" dirty="0"/>
              <a:t>. </a:t>
            </a:r>
            <a:r>
              <a:rPr lang="nl-NL" sz="1800" dirty="0" err="1"/>
              <a:t>And</a:t>
            </a:r>
            <a:r>
              <a:rPr lang="nl-NL" sz="1800" dirty="0"/>
              <a:t> </a:t>
            </a:r>
            <a:r>
              <a:rPr lang="nl-NL" sz="1800" dirty="0" err="1"/>
              <a:t>so</a:t>
            </a:r>
            <a:r>
              <a:rPr lang="nl-NL" sz="1800" dirty="0"/>
              <a:t>, </a:t>
            </a:r>
            <a:r>
              <a:rPr lang="nl-NL" sz="1800" dirty="0" err="1"/>
              <a:t>we’re</a:t>
            </a:r>
            <a:r>
              <a:rPr lang="nl-NL" sz="1800" dirty="0"/>
              <a:t> </a:t>
            </a:r>
            <a:r>
              <a:rPr lang="nl-NL" sz="1800" dirty="0" err="1"/>
              <a:t>committed</a:t>
            </a:r>
            <a:r>
              <a:rPr lang="nl-NL" sz="1800" dirty="0"/>
              <a:t> </a:t>
            </a:r>
            <a:r>
              <a:rPr lang="nl-NL" sz="1800" dirty="0" err="1"/>
              <a:t>to</a:t>
            </a:r>
            <a:r>
              <a:rPr lang="nl-NL" sz="1800" dirty="0"/>
              <a:t> </a:t>
            </a:r>
            <a:r>
              <a:rPr lang="nl-NL" sz="1800" dirty="0" err="1"/>
              <a:t>delivering</a:t>
            </a:r>
            <a:r>
              <a:rPr lang="nl-NL" sz="1800" dirty="0"/>
              <a:t> excellent living </a:t>
            </a:r>
            <a:r>
              <a:rPr lang="nl-NL" sz="1800" dirty="0" err="1"/>
              <a:t>and</a:t>
            </a:r>
            <a:r>
              <a:rPr lang="nl-NL" sz="1800" dirty="0"/>
              <a:t> </a:t>
            </a:r>
            <a:r>
              <a:rPr lang="nl-NL" sz="1800" dirty="0" err="1"/>
              <a:t>working</a:t>
            </a:r>
            <a:r>
              <a:rPr lang="nl-NL" sz="1800" dirty="0"/>
              <a:t> </a:t>
            </a:r>
            <a:r>
              <a:rPr lang="nl-NL" sz="1800" dirty="0" err="1"/>
              <a:t>conditions</a:t>
            </a:r>
            <a:r>
              <a:rPr lang="nl-NL" sz="1800" dirty="0"/>
              <a:t> </a:t>
            </a:r>
            <a:r>
              <a:rPr lang="nl-NL" sz="1800" dirty="0" err="1"/>
              <a:t>for</a:t>
            </a:r>
            <a:r>
              <a:rPr lang="nl-NL" sz="1800" dirty="0"/>
              <a:t> </a:t>
            </a:r>
            <a:r>
              <a:rPr lang="nl-NL" sz="1800" dirty="0" err="1"/>
              <a:t>the</a:t>
            </a:r>
            <a:r>
              <a:rPr lang="nl-NL" sz="1800" dirty="0"/>
              <a:t> 1.5 </a:t>
            </a:r>
            <a:r>
              <a:rPr lang="nl-NL" sz="1800" dirty="0" err="1"/>
              <a:t>million</a:t>
            </a:r>
            <a:r>
              <a:rPr lang="nl-NL" sz="1800" dirty="0"/>
              <a:t> </a:t>
            </a:r>
            <a:r>
              <a:rPr lang="nl-NL" sz="1800" dirty="0" err="1"/>
              <a:t>people</a:t>
            </a:r>
            <a:r>
              <a:rPr lang="nl-NL" sz="1800" dirty="0"/>
              <a:t> </a:t>
            </a:r>
            <a:r>
              <a:rPr lang="nl-NL" sz="1800" dirty="0" err="1"/>
              <a:t>who</a:t>
            </a:r>
            <a:r>
              <a:rPr lang="nl-NL" sz="1800" dirty="0"/>
              <a:t> call Utrecht home.</a:t>
            </a:r>
          </a:p>
        </p:txBody>
      </p:sp>
      <p:sp>
        <p:nvSpPr>
          <p:cNvPr id="20" name="Hart 19">
            <a:extLst>
              <a:ext uri="{FF2B5EF4-FFF2-40B4-BE49-F238E27FC236}">
                <a16:creationId xmlns:a16="http://schemas.microsoft.com/office/drawing/2014/main" id="{9F1F4676-A584-FC17-6474-36C5A948E08E}"/>
              </a:ext>
            </a:extLst>
          </p:cNvPr>
          <p:cNvSpPr/>
          <p:nvPr/>
        </p:nvSpPr>
        <p:spPr>
          <a:xfrm>
            <a:off x="1169100" y="798562"/>
            <a:ext cx="914400" cy="914400"/>
          </a:xfrm>
          <a:prstGeom prst="hear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dirty="0"/>
          </a:p>
        </p:txBody>
      </p:sp>
    </p:spTree>
    <p:extLst>
      <p:ext uri="{BB962C8B-B14F-4D97-AF65-F5344CB8AC3E}">
        <p14:creationId xmlns:p14="http://schemas.microsoft.com/office/powerpoint/2010/main" val="40584376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0FFDEC-0046-A4AA-0EA5-0F5BBB6645EE}"/>
              </a:ext>
            </a:extLst>
          </p:cNvPr>
          <p:cNvSpPr>
            <a:spLocks noGrp="1"/>
          </p:cNvSpPr>
          <p:nvPr>
            <p:ph type="ctrTitle"/>
          </p:nvPr>
        </p:nvSpPr>
        <p:spPr/>
        <p:txBody>
          <a:bodyPr/>
          <a:lstStyle/>
          <a:p>
            <a:r>
              <a:rPr lang="en-GB" dirty="0"/>
              <a:t>Sharon </a:t>
            </a:r>
            <a:r>
              <a:rPr lang="en-GB" dirty="0" err="1"/>
              <a:t>Dijksma</a:t>
            </a:r>
            <a:endParaRPr lang="en-GB" dirty="0"/>
          </a:p>
        </p:txBody>
      </p:sp>
      <p:sp>
        <p:nvSpPr>
          <p:cNvPr id="3" name="Ondertitel 2">
            <a:extLst>
              <a:ext uri="{FF2B5EF4-FFF2-40B4-BE49-F238E27FC236}">
                <a16:creationId xmlns:a16="http://schemas.microsoft.com/office/drawing/2014/main" id="{EC8DE4D0-A599-F85D-B323-218D7D57F3C9}"/>
              </a:ext>
            </a:extLst>
          </p:cNvPr>
          <p:cNvSpPr>
            <a:spLocks noGrp="1"/>
          </p:cNvSpPr>
          <p:nvPr>
            <p:ph type="subTitle" idx="1"/>
          </p:nvPr>
        </p:nvSpPr>
        <p:spPr/>
        <p:txBody>
          <a:bodyPr/>
          <a:lstStyle/>
          <a:p>
            <a:r>
              <a:rPr lang="nl-NL" dirty="0"/>
              <a:t>Voorzitter </a:t>
            </a:r>
            <a:br>
              <a:rPr lang="nl-NL" dirty="0"/>
            </a:br>
            <a:r>
              <a:rPr lang="nl-NL" dirty="0" err="1"/>
              <a:t>Economic</a:t>
            </a:r>
            <a:r>
              <a:rPr lang="nl-NL" dirty="0"/>
              <a:t> Board Utrecht</a:t>
            </a:r>
            <a:endParaRPr lang="en-US" dirty="0"/>
          </a:p>
        </p:txBody>
      </p:sp>
      <p:pic>
        <p:nvPicPr>
          <p:cNvPr id="6" name="Tijdelijke aanduiding voor afbeelding 5" descr="Afbeelding met persoon, kleding, Menselijk gezicht, Informele kleding&#10;&#10;Door AI gegenereerde inhoud is mogelijk onjuist.">
            <a:extLst>
              <a:ext uri="{FF2B5EF4-FFF2-40B4-BE49-F238E27FC236}">
                <a16:creationId xmlns:a16="http://schemas.microsoft.com/office/drawing/2014/main" id="{B7F4F0B8-04CB-F0FE-3290-2759AF478748}"/>
              </a:ext>
            </a:extLst>
          </p:cNvPr>
          <p:cNvPicPr>
            <a:picLocks noGrp="1" noChangeAspect="1"/>
          </p:cNvPicPr>
          <p:nvPr>
            <p:ph type="pic" sz="quarter" idx="19"/>
          </p:nvPr>
        </p:nvPicPr>
        <p:blipFill>
          <a:blip r:embed="rId2">
            <a:extLst>
              <a:ext uri="{28A0092B-C50C-407E-A947-70E740481C1C}">
                <a14:useLocalDpi xmlns:a14="http://schemas.microsoft.com/office/drawing/2010/main"/>
              </a:ext>
            </a:extLst>
          </a:blip>
          <a:srcRect t="79" b="79"/>
          <a:stretch/>
        </p:blipFill>
        <p:spPr/>
      </p:pic>
    </p:spTree>
    <p:extLst>
      <p:ext uri="{BB962C8B-B14F-4D97-AF65-F5344CB8AC3E}">
        <p14:creationId xmlns:p14="http://schemas.microsoft.com/office/powerpoint/2010/main" val="32964943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Tijdelijke aanduiding voor afbeelding 10" descr="Afbeelding met persoon, kleding, Menselijk gezicht, Informele kleding&#10;&#10;Door AI gegenereerde inhoud is mogelijk onjuist.">
            <a:extLst>
              <a:ext uri="{FF2B5EF4-FFF2-40B4-BE49-F238E27FC236}">
                <a16:creationId xmlns:a16="http://schemas.microsoft.com/office/drawing/2014/main" id="{27C70AC1-DCF6-5BF7-E662-6D29B7860021}"/>
              </a:ext>
            </a:extLst>
          </p:cNvPr>
          <p:cNvPicPr>
            <a:picLocks noGrp="1" noChangeAspect="1"/>
          </p:cNvPicPr>
          <p:nvPr>
            <p:ph type="pic" sz="quarter" idx="19"/>
          </p:nvPr>
        </p:nvPicPr>
        <p:blipFill>
          <a:blip r:embed="rId2">
            <a:extLst>
              <a:ext uri="{28A0092B-C50C-407E-A947-70E740481C1C}">
                <a14:useLocalDpi xmlns:a14="http://schemas.microsoft.com/office/drawing/2010/main"/>
              </a:ext>
            </a:extLst>
          </a:blip>
          <a:srcRect/>
          <a:stretch/>
        </p:blipFill>
        <p:spPr>
          <a:xfrm>
            <a:off x="6232121" y="1373696"/>
            <a:ext cx="3107158" cy="3093530"/>
          </a:xfrm>
        </p:spPr>
      </p:pic>
      <p:pic>
        <p:nvPicPr>
          <p:cNvPr id="9" name="Tijdelijke aanduiding voor afbeelding 8" descr="Afbeelding met persoon, kleding, Menselijk gezicht, Informele kleding&#10;&#10;Door AI gegenereerde inhoud is mogelijk onjuist.">
            <a:extLst>
              <a:ext uri="{FF2B5EF4-FFF2-40B4-BE49-F238E27FC236}">
                <a16:creationId xmlns:a16="http://schemas.microsoft.com/office/drawing/2014/main" id="{FC06F7B5-370F-DF3A-4186-AA236361E6C8}"/>
              </a:ext>
            </a:extLst>
          </p:cNvPr>
          <p:cNvPicPr>
            <a:picLocks noGrp="1" noChangeAspect="1"/>
          </p:cNvPicPr>
          <p:nvPr>
            <p:ph type="pic" sz="quarter" idx="20"/>
          </p:nvPr>
        </p:nvPicPr>
        <p:blipFill>
          <a:blip r:embed="rId2">
            <a:extLst>
              <a:ext uri="{28A0092B-C50C-407E-A947-70E740481C1C}">
                <a14:useLocalDpi xmlns:a14="http://schemas.microsoft.com/office/drawing/2010/main"/>
              </a:ext>
            </a:extLst>
          </a:blip>
          <a:srcRect/>
          <a:stretch/>
        </p:blipFill>
        <p:spPr>
          <a:xfrm>
            <a:off x="1154394" y="1373696"/>
            <a:ext cx="3107158" cy="3093530"/>
          </a:xfrm>
        </p:spPr>
      </p:pic>
      <p:sp>
        <p:nvSpPr>
          <p:cNvPr id="4" name="Tijdelijke aanduiding voor tekst 3">
            <a:extLst>
              <a:ext uri="{FF2B5EF4-FFF2-40B4-BE49-F238E27FC236}">
                <a16:creationId xmlns:a16="http://schemas.microsoft.com/office/drawing/2014/main" id="{35431607-94F3-77A2-43AF-AD8DEF3496B3}"/>
              </a:ext>
            </a:extLst>
          </p:cNvPr>
          <p:cNvSpPr>
            <a:spLocks noGrp="1"/>
          </p:cNvSpPr>
          <p:nvPr>
            <p:ph type="body" sz="quarter" idx="21"/>
          </p:nvPr>
        </p:nvSpPr>
        <p:spPr>
          <a:xfrm>
            <a:off x="1137600" y="4696936"/>
            <a:ext cx="3107158" cy="369332"/>
          </a:xfrm>
        </p:spPr>
        <p:txBody>
          <a:bodyPr/>
          <a:lstStyle/>
          <a:p>
            <a:r>
              <a:rPr lang="nl-NL" noProof="0" dirty="0"/>
              <a:t>Sharon Dijksma</a:t>
            </a:r>
            <a:endParaRPr lang="en-US" dirty="0"/>
          </a:p>
          <a:p>
            <a:endParaRPr lang="en-GB" dirty="0"/>
          </a:p>
        </p:txBody>
      </p:sp>
      <p:sp>
        <p:nvSpPr>
          <p:cNvPr id="5" name="Tijdelijke aanduiding voor tekst 4">
            <a:extLst>
              <a:ext uri="{FF2B5EF4-FFF2-40B4-BE49-F238E27FC236}">
                <a16:creationId xmlns:a16="http://schemas.microsoft.com/office/drawing/2014/main" id="{B1300511-7D96-566F-A057-ED56560057A6}"/>
              </a:ext>
            </a:extLst>
          </p:cNvPr>
          <p:cNvSpPr>
            <a:spLocks noGrp="1"/>
          </p:cNvSpPr>
          <p:nvPr>
            <p:ph type="body" sz="quarter" idx="22"/>
          </p:nvPr>
        </p:nvSpPr>
        <p:spPr>
          <a:xfrm>
            <a:off x="1137600" y="5136851"/>
            <a:ext cx="3107158" cy="276999"/>
          </a:xfrm>
        </p:spPr>
        <p:txBody>
          <a:bodyPr/>
          <a:lstStyle/>
          <a:p>
            <a:r>
              <a:rPr lang="nl-NL" dirty="0"/>
              <a:t>Voorzitter </a:t>
            </a:r>
            <a:br>
              <a:rPr lang="nl-NL" dirty="0"/>
            </a:br>
            <a:r>
              <a:rPr lang="nl-NL" dirty="0" err="1"/>
              <a:t>Economic</a:t>
            </a:r>
            <a:r>
              <a:rPr lang="nl-NL" dirty="0"/>
              <a:t> Board Utrecht</a:t>
            </a:r>
            <a:endParaRPr lang="en-US" dirty="0"/>
          </a:p>
        </p:txBody>
      </p:sp>
      <p:sp>
        <p:nvSpPr>
          <p:cNvPr id="6" name="Tijdelijke aanduiding voor tekst 5">
            <a:extLst>
              <a:ext uri="{FF2B5EF4-FFF2-40B4-BE49-F238E27FC236}">
                <a16:creationId xmlns:a16="http://schemas.microsoft.com/office/drawing/2014/main" id="{A32DBBFE-9BA1-12CF-BCD9-F79A94ADA7D7}"/>
              </a:ext>
            </a:extLst>
          </p:cNvPr>
          <p:cNvSpPr>
            <a:spLocks noGrp="1"/>
          </p:cNvSpPr>
          <p:nvPr>
            <p:ph type="body" sz="quarter" idx="23"/>
          </p:nvPr>
        </p:nvSpPr>
        <p:spPr>
          <a:xfrm>
            <a:off x="6254836" y="4696936"/>
            <a:ext cx="3107158" cy="369332"/>
          </a:xfrm>
        </p:spPr>
        <p:txBody>
          <a:bodyPr/>
          <a:lstStyle/>
          <a:p>
            <a:r>
              <a:rPr lang="nl-NL" noProof="0" dirty="0"/>
              <a:t>Sharon Dijksma</a:t>
            </a:r>
            <a:endParaRPr lang="en-US" dirty="0"/>
          </a:p>
        </p:txBody>
      </p:sp>
      <p:sp>
        <p:nvSpPr>
          <p:cNvPr id="7" name="Tijdelijke aanduiding voor tekst 6">
            <a:extLst>
              <a:ext uri="{FF2B5EF4-FFF2-40B4-BE49-F238E27FC236}">
                <a16:creationId xmlns:a16="http://schemas.microsoft.com/office/drawing/2014/main" id="{E54E8B01-F8B0-CCF0-DACA-9114F4E9DDDC}"/>
              </a:ext>
            </a:extLst>
          </p:cNvPr>
          <p:cNvSpPr>
            <a:spLocks noGrp="1"/>
          </p:cNvSpPr>
          <p:nvPr>
            <p:ph type="body" sz="quarter" idx="24"/>
          </p:nvPr>
        </p:nvSpPr>
        <p:spPr>
          <a:xfrm>
            <a:off x="6254836" y="5136851"/>
            <a:ext cx="3107158" cy="276999"/>
          </a:xfrm>
        </p:spPr>
        <p:txBody>
          <a:bodyPr/>
          <a:lstStyle/>
          <a:p>
            <a:r>
              <a:rPr lang="nl-NL" dirty="0"/>
              <a:t>Voorzitter </a:t>
            </a:r>
            <a:br>
              <a:rPr lang="nl-NL" dirty="0"/>
            </a:br>
            <a:r>
              <a:rPr lang="nl-NL" dirty="0" err="1"/>
              <a:t>Economic</a:t>
            </a:r>
            <a:r>
              <a:rPr lang="nl-NL" dirty="0"/>
              <a:t> Board Utrecht</a:t>
            </a:r>
            <a:endParaRPr lang="en-US" dirty="0"/>
          </a:p>
        </p:txBody>
      </p:sp>
    </p:spTree>
    <p:extLst>
      <p:ext uri="{BB962C8B-B14F-4D97-AF65-F5344CB8AC3E}">
        <p14:creationId xmlns:p14="http://schemas.microsoft.com/office/powerpoint/2010/main" val="34538627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Tijdelijke aanduiding voor afbeelding 13" descr="Afbeelding met persoon, kleding, Menselijk gezicht, Informele kleding&#10;&#10;Door AI gegenereerde inhoud is mogelijk onjuist.">
            <a:extLst>
              <a:ext uri="{FF2B5EF4-FFF2-40B4-BE49-F238E27FC236}">
                <a16:creationId xmlns:a16="http://schemas.microsoft.com/office/drawing/2014/main" id="{FC6FF564-AEAD-DA07-31E2-AAD38E2E0007}"/>
              </a:ext>
            </a:extLst>
          </p:cNvPr>
          <p:cNvPicPr>
            <a:picLocks noGrp="1" noChangeAspect="1"/>
          </p:cNvPicPr>
          <p:nvPr>
            <p:ph type="pic" sz="quarter" idx="19"/>
          </p:nvPr>
        </p:nvPicPr>
        <p:blipFill>
          <a:blip r:embed="rId2">
            <a:extLst>
              <a:ext uri="{28A0092B-C50C-407E-A947-70E740481C1C}">
                <a14:useLocalDpi xmlns:a14="http://schemas.microsoft.com/office/drawing/2010/main"/>
              </a:ext>
            </a:extLst>
          </a:blip>
          <a:srcRect/>
          <a:stretch/>
        </p:blipFill>
        <p:spPr>
          <a:xfrm>
            <a:off x="4717075" y="1786538"/>
            <a:ext cx="2240965" cy="2231136"/>
          </a:xfrm>
        </p:spPr>
      </p:pic>
      <p:pic>
        <p:nvPicPr>
          <p:cNvPr id="12" name="Tijdelijke aanduiding voor afbeelding 11" descr="Afbeelding met persoon, kleding, Menselijk gezicht, Informele kleding&#10;&#10;Door AI gegenereerde inhoud is mogelijk onjuist.">
            <a:extLst>
              <a:ext uri="{FF2B5EF4-FFF2-40B4-BE49-F238E27FC236}">
                <a16:creationId xmlns:a16="http://schemas.microsoft.com/office/drawing/2014/main" id="{7C0DFD3E-312B-DE7F-2ACD-205418153599}"/>
              </a:ext>
            </a:extLst>
          </p:cNvPr>
          <p:cNvPicPr>
            <a:picLocks noGrp="1" noChangeAspect="1"/>
          </p:cNvPicPr>
          <p:nvPr>
            <p:ph type="pic" sz="quarter" idx="20"/>
          </p:nvPr>
        </p:nvPicPr>
        <p:blipFill>
          <a:blip r:embed="rId2">
            <a:extLst>
              <a:ext uri="{28A0092B-C50C-407E-A947-70E740481C1C}">
                <a14:useLocalDpi xmlns:a14="http://schemas.microsoft.com/office/drawing/2010/main"/>
              </a:ext>
            </a:extLst>
          </a:blip>
          <a:srcRect/>
          <a:stretch/>
        </p:blipFill>
        <p:spPr>
          <a:xfrm>
            <a:off x="1154394" y="1783270"/>
            <a:ext cx="2236563" cy="2226753"/>
          </a:xfrm>
        </p:spPr>
      </p:pic>
      <p:sp>
        <p:nvSpPr>
          <p:cNvPr id="4" name="Tijdelijke aanduiding voor tekst 3">
            <a:extLst>
              <a:ext uri="{FF2B5EF4-FFF2-40B4-BE49-F238E27FC236}">
                <a16:creationId xmlns:a16="http://schemas.microsoft.com/office/drawing/2014/main" id="{9E041CAD-AEBE-14A5-7DAF-C02D1F01F4E6}"/>
              </a:ext>
            </a:extLst>
          </p:cNvPr>
          <p:cNvSpPr>
            <a:spLocks noGrp="1"/>
          </p:cNvSpPr>
          <p:nvPr>
            <p:ph type="body" sz="quarter" idx="21"/>
          </p:nvPr>
        </p:nvSpPr>
        <p:spPr>
          <a:xfrm>
            <a:off x="1137600" y="4257790"/>
            <a:ext cx="2240962" cy="307777"/>
          </a:xfrm>
        </p:spPr>
        <p:txBody>
          <a:bodyPr/>
          <a:lstStyle/>
          <a:p>
            <a:r>
              <a:rPr lang="nl-NL" noProof="0" dirty="0"/>
              <a:t>Sharon Dijksma</a:t>
            </a:r>
            <a:endParaRPr lang="en-US" dirty="0"/>
          </a:p>
        </p:txBody>
      </p:sp>
      <p:sp>
        <p:nvSpPr>
          <p:cNvPr id="5" name="Tijdelijke aanduiding voor tekst 4">
            <a:extLst>
              <a:ext uri="{FF2B5EF4-FFF2-40B4-BE49-F238E27FC236}">
                <a16:creationId xmlns:a16="http://schemas.microsoft.com/office/drawing/2014/main" id="{2BA5D832-D1CE-BE63-FEF3-C90EE67349B3}"/>
              </a:ext>
            </a:extLst>
          </p:cNvPr>
          <p:cNvSpPr>
            <a:spLocks noGrp="1"/>
          </p:cNvSpPr>
          <p:nvPr>
            <p:ph type="body" sz="quarter" idx="22"/>
          </p:nvPr>
        </p:nvSpPr>
        <p:spPr>
          <a:xfrm>
            <a:off x="1137600" y="4588182"/>
            <a:ext cx="2240962" cy="246221"/>
          </a:xfrm>
        </p:spPr>
        <p:txBody>
          <a:bodyPr/>
          <a:lstStyle/>
          <a:p>
            <a:r>
              <a:rPr lang="nl-NL" dirty="0"/>
              <a:t>Voorzitter </a:t>
            </a:r>
            <a:br>
              <a:rPr lang="nl-NL" dirty="0"/>
            </a:br>
            <a:r>
              <a:rPr lang="nl-NL" dirty="0" err="1"/>
              <a:t>Economic</a:t>
            </a:r>
            <a:r>
              <a:rPr lang="nl-NL" dirty="0"/>
              <a:t> Board Utrecht</a:t>
            </a:r>
            <a:endParaRPr lang="en-US" dirty="0"/>
          </a:p>
          <a:p>
            <a:endParaRPr lang="en-GB" dirty="0"/>
          </a:p>
        </p:txBody>
      </p:sp>
      <p:pic>
        <p:nvPicPr>
          <p:cNvPr id="16" name="Tijdelijke aanduiding voor afbeelding 15" descr="Afbeelding met persoon, kleding, Menselijk gezicht, Informele kleding&#10;&#10;Door AI gegenereerde inhoud is mogelijk onjuist.">
            <a:extLst>
              <a:ext uri="{FF2B5EF4-FFF2-40B4-BE49-F238E27FC236}">
                <a16:creationId xmlns:a16="http://schemas.microsoft.com/office/drawing/2014/main" id="{97DE7AB8-8263-C9EC-C6F9-EFB18189DB9F}"/>
              </a:ext>
            </a:extLst>
          </p:cNvPr>
          <p:cNvPicPr>
            <a:picLocks noGrp="1" noChangeAspect="1"/>
          </p:cNvPicPr>
          <p:nvPr>
            <p:ph type="pic" sz="quarter" idx="25"/>
          </p:nvPr>
        </p:nvPicPr>
        <p:blipFill>
          <a:blip r:embed="rId2">
            <a:extLst>
              <a:ext uri="{28A0092B-C50C-407E-A947-70E740481C1C}">
                <a14:useLocalDpi xmlns:a14="http://schemas.microsoft.com/office/drawing/2010/main"/>
              </a:ext>
            </a:extLst>
          </a:blip>
          <a:srcRect/>
          <a:stretch/>
        </p:blipFill>
        <p:spPr>
          <a:xfrm>
            <a:off x="8284159" y="1786537"/>
            <a:ext cx="2240965" cy="2231136"/>
          </a:xfrm>
        </p:spPr>
      </p:pic>
      <p:sp>
        <p:nvSpPr>
          <p:cNvPr id="7" name="Tijdelijke aanduiding voor tekst 6">
            <a:extLst>
              <a:ext uri="{FF2B5EF4-FFF2-40B4-BE49-F238E27FC236}">
                <a16:creationId xmlns:a16="http://schemas.microsoft.com/office/drawing/2014/main" id="{620C55AB-3E3B-F41D-B2AE-385095ED0768}"/>
              </a:ext>
            </a:extLst>
          </p:cNvPr>
          <p:cNvSpPr>
            <a:spLocks noGrp="1"/>
          </p:cNvSpPr>
          <p:nvPr>
            <p:ph type="body" sz="quarter" idx="26"/>
          </p:nvPr>
        </p:nvSpPr>
        <p:spPr>
          <a:xfrm>
            <a:off x="4723485" y="4257790"/>
            <a:ext cx="2240962" cy="307777"/>
          </a:xfrm>
        </p:spPr>
        <p:txBody>
          <a:bodyPr/>
          <a:lstStyle/>
          <a:p>
            <a:r>
              <a:rPr lang="nl-NL" noProof="0" dirty="0"/>
              <a:t>Sharon Dijksma</a:t>
            </a:r>
            <a:endParaRPr lang="en-US" dirty="0"/>
          </a:p>
          <a:p>
            <a:endParaRPr lang="en-GB" dirty="0"/>
          </a:p>
        </p:txBody>
      </p:sp>
      <p:sp>
        <p:nvSpPr>
          <p:cNvPr id="8" name="Tijdelijke aanduiding voor tekst 7">
            <a:extLst>
              <a:ext uri="{FF2B5EF4-FFF2-40B4-BE49-F238E27FC236}">
                <a16:creationId xmlns:a16="http://schemas.microsoft.com/office/drawing/2014/main" id="{E1A08AD7-075A-38B9-DADD-ABD54B296471}"/>
              </a:ext>
            </a:extLst>
          </p:cNvPr>
          <p:cNvSpPr>
            <a:spLocks noGrp="1"/>
          </p:cNvSpPr>
          <p:nvPr>
            <p:ph type="body" sz="quarter" idx="27"/>
          </p:nvPr>
        </p:nvSpPr>
        <p:spPr>
          <a:xfrm>
            <a:off x="4723485" y="4588182"/>
            <a:ext cx="2240962" cy="246221"/>
          </a:xfrm>
        </p:spPr>
        <p:txBody>
          <a:bodyPr/>
          <a:lstStyle/>
          <a:p>
            <a:r>
              <a:rPr lang="nl-NL" dirty="0"/>
              <a:t>Voorzitter </a:t>
            </a:r>
            <a:br>
              <a:rPr lang="nl-NL" dirty="0"/>
            </a:br>
            <a:r>
              <a:rPr lang="nl-NL" dirty="0" err="1"/>
              <a:t>Economic</a:t>
            </a:r>
            <a:r>
              <a:rPr lang="nl-NL" dirty="0"/>
              <a:t> Board Utrecht</a:t>
            </a:r>
            <a:endParaRPr lang="en-US" dirty="0"/>
          </a:p>
          <a:p>
            <a:endParaRPr lang="en-GB" dirty="0"/>
          </a:p>
        </p:txBody>
      </p:sp>
      <p:sp>
        <p:nvSpPr>
          <p:cNvPr id="9" name="Tijdelijke aanduiding voor tekst 8">
            <a:extLst>
              <a:ext uri="{FF2B5EF4-FFF2-40B4-BE49-F238E27FC236}">
                <a16:creationId xmlns:a16="http://schemas.microsoft.com/office/drawing/2014/main" id="{5E0AAF39-9AE7-BC74-0562-6808667ECE5A}"/>
              </a:ext>
            </a:extLst>
          </p:cNvPr>
          <p:cNvSpPr>
            <a:spLocks noGrp="1"/>
          </p:cNvSpPr>
          <p:nvPr>
            <p:ph type="body" sz="quarter" idx="28"/>
          </p:nvPr>
        </p:nvSpPr>
        <p:spPr>
          <a:xfrm>
            <a:off x="8298223" y="4257790"/>
            <a:ext cx="2240962" cy="307777"/>
          </a:xfrm>
        </p:spPr>
        <p:txBody>
          <a:bodyPr/>
          <a:lstStyle/>
          <a:p>
            <a:r>
              <a:rPr lang="nl-NL" noProof="0" dirty="0"/>
              <a:t>Sharon Dijksma</a:t>
            </a:r>
            <a:endParaRPr lang="en-US" dirty="0"/>
          </a:p>
          <a:p>
            <a:endParaRPr lang="en-GB" dirty="0"/>
          </a:p>
        </p:txBody>
      </p:sp>
      <p:sp>
        <p:nvSpPr>
          <p:cNvPr id="10" name="Tijdelijke aanduiding voor tekst 9">
            <a:extLst>
              <a:ext uri="{FF2B5EF4-FFF2-40B4-BE49-F238E27FC236}">
                <a16:creationId xmlns:a16="http://schemas.microsoft.com/office/drawing/2014/main" id="{C588431D-7D21-B0C8-FA4D-8DEA4FE18B6D}"/>
              </a:ext>
            </a:extLst>
          </p:cNvPr>
          <p:cNvSpPr>
            <a:spLocks noGrp="1"/>
          </p:cNvSpPr>
          <p:nvPr>
            <p:ph type="body" sz="quarter" idx="29"/>
          </p:nvPr>
        </p:nvSpPr>
        <p:spPr>
          <a:xfrm>
            <a:off x="8298223" y="4588182"/>
            <a:ext cx="2240962" cy="246221"/>
          </a:xfrm>
        </p:spPr>
        <p:txBody>
          <a:bodyPr/>
          <a:lstStyle/>
          <a:p>
            <a:r>
              <a:rPr lang="nl-NL" dirty="0"/>
              <a:t>Voorzitter </a:t>
            </a:r>
            <a:br>
              <a:rPr lang="nl-NL" dirty="0"/>
            </a:br>
            <a:r>
              <a:rPr lang="nl-NL" dirty="0" err="1"/>
              <a:t>Economic</a:t>
            </a:r>
            <a:r>
              <a:rPr lang="nl-NL" dirty="0"/>
              <a:t> Board Utrecht</a:t>
            </a:r>
            <a:endParaRPr lang="en-US" dirty="0"/>
          </a:p>
          <a:p>
            <a:endParaRPr lang="en-GB" dirty="0"/>
          </a:p>
        </p:txBody>
      </p:sp>
    </p:spTree>
    <p:extLst>
      <p:ext uri="{BB962C8B-B14F-4D97-AF65-F5344CB8AC3E}">
        <p14:creationId xmlns:p14="http://schemas.microsoft.com/office/powerpoint/2010/main" val="18717209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Tijdelijke aanduiding voor afbeelding 16" descr="Afbeelding met persoon, kleding, Menselijk gezicht, Informele kleding&#10;&#10;Door AI gegenereerde inhoud is mogelijk onjuist.">
            <a:extLst>
              <a:ext uri="{FF2B5EF4-FFF2-40B4-BE49-F238E27FC236}">
                <a16:creationId xmlns:a16="http://schemas.microsoft.com/office/drawing/2014/main" id="{DA0DF9C1-F062-C717-8EBA-355924AAC508}"/>
              </a:ext>
            </a:extLst>
          </p:cNvPr>
          <p:cNvPicPr>
            <a:picLocks noGrp="1" noChangeAspect="1"/>
          </p:cNvPicPr>
          <p:nvPr>
            <p:ph type="pic" sz="quarter" idx="19"/>
          </p:nvPr>
        </p:nvPicPr>
        <p:blipFill>
          <a:blip r:embed="rId2">
            <a:extLst>
              <a:ext uri="{28A0092B-C50C-407E-A947-70E740481C1C}">
                <a14:useLocalDpi xmlns:a14="http://schemas.microsoft.com/office/drawing/2010/main"/>
              </a:ext>
            </a:extLst>
          </a:blip>
          <a:srcRect l="57" r="57"/>
          <a:stretch/>
        </p:blipFill>
        <p:spPr>
          <a:xfrm>
            <a:off x="3969070" y="2175548"/>
            <a:ext cx="1773936" cy="1766155"/>
          </a:xfrm>
        </p:spPr>
      </p:pic>
      <p:pic>
        <p:nvPicPr>
          <p:cNvPr id="15" name="Tijdelijke aanduiding voor afbeelding 14" descr="Afbeelding met persoon, kleding, Menselijk gezicht, Informele kleding&#10;&#10;Door AI gegenereerde inhoud is mogelijk onjuist.">
            <a:extLst>
              <a:ext uri="{FF2B5EF4-FFF2-40B4-BE49-F238E27FC236}">
                <a16:creationId xmlns:a16="http://schemas.microsoft.com/office/drawing/2014/main" id="{F15731B3-BF60-266E-7D83-C4A396AC0F8D}"/>
              </a:ext>
            </a:extLst>
          </p:cNvPr>
          <p:cNvPicPr>
            <a:picLocks noGrp="1" noChangeAspect="1"/>
          </p:cNvPicPr>
          <p:nvPr>
            <p:ph type="pic" sz="quarter" idx="20"/>
          </p:nvPr>
        </p:nvPicPr>
        <p:blipFill>
          <a:blip r:embed="rId3">
            <a:extLst>
              <a:ext uri="{28A0092B-C50C-407E-A947-70E740481C1C}">
                <a14:useLocalDpi xmlns:a14="http://schemas.microsoft.com/office/drawing/2010/main"/>
              </a:ext>
            </a:extLst>
          </a:blip>
          <a:srcRect t="7" b="7"/>
          <a:stretch/>
        </p:blipFill>
        <p:spPr>
          <a:xfrm>
            <a:off x="1154395" y="2175548"/>
            <a:ext cx="1769838" cy="1773936"/>
          </a:xfrm>
        </p:spPr>
      </p:pic>
      <p:sp>
        <p:nvSpPr>
          <p:cNvPr id="4" name="Tijdelijke aanduiding voor tekst 3">
            <a:extLst>
              <a:ext uri="{FF2B5EF4-FFF2-40B4-BE49-F238E27FC236}">
                <a16:creationId xmlns:a16="http://schemas.microsoft.com/office/drawing/2014/main" id="{E6FDED90-A572-EE08-562F-E0F35A1ACDBD}"/>
              </a:ext>
            </a:extLst>
          </p:cNvPr>
          <p:cNvSpPr>
            <a:spLocks noGrp="1"/>
          </p:cNvSpPr>
          <p:nvPr>
            <p:ph type="body" sz="quarter" idx="21"/>
          </p:nvPr>
        </p:nvSpPr>
        <p:spPr>
          <a:xfrm>
            <a:off x="1148746" y="4045924"/>
            <a:ext cx="2240962" cy="307777"/>
          </a:xfrm>
        </p:spPr>
        <p:txBody>
          <a:bodyPr/>
          <a:lstStyle/>
          <a:p>
            <a:r>
              <a:rPr lang="nl-NL" noProof="0" dirty="0"/>
              <a:t>Sharon Dijksma</a:t>
            </a:r>
            <a:endParaRPr lang="en-US" dirty="0"/>
          </a:p>
          <a:p>
            <a:endParaRPr lang="en-GB" dirty="0"/>
          </a:p>
        </p:txBody>
      </p:sp>
      <p:sp>
        <p:nvSpPr>
          <p:cNvPr id="5" name="Tijdelijke aanduiding voor tekst 4">
            <a:extLst>
              <a:ext uri="{FF2B5EF4-FFF2-40B4-BE49-F238E27FC236}">
                <a16:creationId xmlns:a16="http://schemas.microsoft.com/office/drawing/2014/main" id="{6E21CC09-CBCC-D4EE-F4E7-A59832778801}"/>
              </a:ext>
            </a:extLst>
          </p:cNvPr>
          <p:cNvSpPr>
            <a:spLocks noGrp="1"/>
          </p:cNvSpPr>
          <p:nvPr>
            <p:ph type="body" sz="quarter" idx="22"/>
          </p:nvPr>
        </p:nvSpPr>
        <p:spPr>
          <a:xfrm>
            <a:off x="1148746" y="4390589"/>
            <a:ext cx="2240962" cy="246221"/>
          </a:xfrm>
        </p:spPr>
        <p:txBody>
          <a:bodyPr/>
          <a:lstStyle/>
          <a:p>
            <a:r>
              <a:rPr lang="nl-NL" dirty="0"/>
              <a:t>Voorzitter </a:t>
            </a:r>
            <a:r>
              <a:rPr lang="nl-NL" dirty="0" err="1"/>
              <a:t>Economic</a:t>
            </a:r>
            <a:r>
              <a:rPr lang="nl-NL" dirty="0"/>
              <a:t> Board Utrecht</a:t>
            </a:r>
            <a:endParaRPr lang="en-US" dirty="0"/>
          </a:p>
          <a:p>
            <a:endParaRPr lang="en-GB" dirty="0"/>
          </a:p>
        </p:txBody>
      </p:sp>
      <p:pic>
        <p:nvPicPr>
          <p:cNvPr id="19" name="Tijdelijke aanduiding voor afbeelding 18" descr="Afbeelding met persoon, kleding, Menselijk gezicht, Informele kleding&#10;&#10;Door AI gegenereerde inhoud is mogelijk onjuist.">
            <a:extLst>
              <a:ext uri="{FF2B5EF4-FFF2-40B4-BE49-F238E27FC236}">
                <a16:creationId xmlns:a16="http://schemas.microsoft.com/office/drawing/2014/main" id="{C7F4914E-A8B6-BFE8-B9AE-2C4727631C37}"/>
              </a:ext>
            </a:extLst>
          </p:cNvPr>
          <p:cNvPicPr>
            <a:picLocks noGrp="1" noChangeAspect="1"/>
          </p:cNvPicPr>
          <p:nvPr>
            <p:ph type="pic" sz="quarter" idx="25"/>
          </p:nvPr>
        </p:nvPicPr>
        <p:blipFill>
          <a:blip r:embed="rId4">
            <a:extLst>
              <a:ext uri="{28A0092B-C50C-407E-A947-70E740481C1C}">
                <a14:useLocalDpi xmlns:a14="http://schemas.microsoft.com/office/drawing/2010/main"/>
              </a:ext>
            </a:extLst>
          </a:blip>
          <a:srcRect t="39" b="39"/>
          <a:stretch/>
        </p:blipFill>
        <p:spPr>
          <a:xfrm>
            <a:off x="6787843" y="2175548"/>
            <a:ext cx="1773936" cy="1766155"/>
          </a:xfrm>
        </p:spPr>
      </p:pic>
      <p:sp>
        <p:nvSpPr>
          <p:cNvPr id="7" name="Tijdelijke aanduiding voor tekst 6">
            <a:extLst>
              <a:ext uri="{FF2B5EF4-FFF2-40B4-BE49-F238E27FC236}">
                <a16:creationId xmlns:a16="http://schemas.microsoft.com/office/drawing/2014/main" id="{532BD4E0-3A89-E6E0-2FCC-F67DCA39E4FC}"/>
              </a:ext>
            </a:extLst>
          </p:cNvPr>
          <p:cNvSpPr>
            <a:spLocks noGrp="1"/>
          </p:cNvSpPr>
          <p:nvPr>
            <p:ph type="body" sz="quarter" idx="26"/>
          </p:nvPr>
        </p:nvSpPr>
        <p:spPr>
          <a:xfrm>
            <a:off x="3961485" y="4045924"/>
            <a:ext cx="2240962" cy="307777"/>
          </a:xfrm>
        </p:spPr>
        <p:txBody>
          <a:bodyPr/>
          <a:lstStyle/>
          <a:p>
            <a:r>
              <a:rPr lang="nl-NL" noProof="0" dirty="0"/>
              <a:t>Sharon Dijksma</a:t>
            </a:r>
            <a:endParaRPr lang="en-US" dirty="0"/>
          </a:p>
          <a:p>
            <a:endParaRPr lang="en-GB" dirty="0"/>
          </a:p>
        </p:txBody>
      </p:sp>
      <p:sp>
        <p:nvSpPr>
          <p:cNvPr id="8" name="Tijdelijke aanduiding voor tekst 7">
            <a:extLst>
              <a:ext uri="{FF2B5EF4-FFF2-40B4-BE49-F238E27FC236}">
                <a16:creationId xmlns:a16="http://schemas.microsoft.com/office/drawing/2014/main" id="{64CBD6A2-BD62-04D4-E224-3428C164428F}"/>
              </a:ext>
            </a:extLst>
          </p:cNvPr>
          <p:cNvSpPr>
            <a:spLocks noGrp="1"/>
          </p:cNvSpPr>
          <p:nvPr>
            <p:ph type="body" sz="quarter" idx="27"/>
          </p:nvPr>
        </p:nvSpPr>
        <p:spPr>
          <a:xfrm>
            <a:off x="3961485" y="4390589"/>
            <a:ext cx="2240962" cy="246221"/>
          </a:xfrm>
        </p:spPr>
        <p:txBody>
          <a:bodyPr/>
          <a:lstStyle/>
          <a:p>
            <a:r>
              <a:rPr lang="nl-NL" dirty="0"/>
              <a:t>Voorzitter </a:t>
            </a:r>
            <a:r>
              <a:rPr lang="nl-NL" dirty="0" err="1"/>
              <a:t>Economic</a:t>
            </a:r>
            <a:r>
              <a:rPr lang="nl-NL" dirty="0"/>
              <a:t> Board Utrecht</a:t>
            </a:r>
            <a:endParaRPr lang="en-US" dirty="0"/>
          </a:p>
          <a:p>
            <a:endParaRPr lang="en-GB" dirty="0"/>
          </a:p>
        </p:txBody>
      </p:sp>
      <p:sp>
        <p:nvSpPr>
          <p:cNvPr id="9" name="Tijdelijke aanduiding voor tekst 8">
            <a:extLst>
              <a:ext uri="{FF2B5EF4-FFF2-40B4-BE49-F238E27FC236}">
                <a16:creationId xmlns:a16="http://schemas.microsoft.com/office/drawing/2014/main" id="{E38348D2-E274-0970-D2E9-EF1489583BF9}"/>
              </a:ext>
            </a:extLst>
          </p:cNvPr>
          <p:cNvSpPr>
            <a:spLocks noGrp="1"/>
          </p:cNvSpPr>
          <p:nvPr>
            <p:ph type="body" sz="quarter" idx="28"/>
          </p:nvPr>
        </p:nvSpPr>
        <p:spPr>
          <a:xfrm>
            <a:off x="6774224" y="4045924"/>
            <a:ext cx="2240962" cy="307777"/>
          </a:xfrm>
        </p:spPr>
        <p:txBody>
          <a:bodyPr/>
          <a:lstStyle/>
          <a:p>
            <a:r>
              <a:rPr lang="nl-NL" noProof="0" dirty="0"/>
              <a:t>Sharon Dijksma</a:t>
            </a:r>
            <a:endParaRPr lang="en-US" dirty="0"/>
          </a:p>
          <a:p>
            <a:endParaRPr lang="en-GB" dirty="0"/>
          </a:p>
        </p:txBody>
      </p:sp>
      <p:sp>
        <p:nvSpPr>
          <p:cNvPr id="10" name="Tijdelijke aanduiding voor tekst 9">
            <a:extLst>
              <a:ext uri="{FF2B5EF4-FFF2-40B4-BE49-F238E27FC236}">
                <a16:creationId xmlns:a16="http://schemas.microsoft.com/office/drawing/2014/main" id="{439C75EA-4E58-1567-68EB-647AF0A79B2A}"/>
              </a:ext>
            </a:extLst>
          </p:cNvPr>
          <p:cNvSpPr>
            <a:spLocks noGrp="1"/>
          </p:cNvSpPr>
          <p:nvPr>
            <p:ph type="body" sz="quarter" idx="29"/>
          </p:nvPr>
        </p:nvSpPr>
        <p:spPr>
          <a:xfrm>
            <a:off x="6774224" y="4390589"/>
            <a:ext cx="2240962" cy="246221"/>
          </a:xfrm>
        </p:spPr>
        <p:txBody>
          <a:bodyPr/>
          <a:lstStyle/>
          <a:p>
            <a:r>
              <a:rPr lang="nl-NL" dirty="0"/>
              <a:t>Voorzitter </a:t>
            </a:r>
            <a:r>
              <a:rPr lang="nl-NL" dirty="0" err="1"/>
              <a:t>Economic</a:t>
            </a:r>
            <a:r>
              <a:rPr lang="nl-NL" dirty="0"/>
              <a:t> Board Utrecht</a:t>
            </a:r>
            <a:endParaRPr lang="en-US" dirty="0"/>
          </a:p>
          <a:p>
            <a:endParaRPr lang="en-GB" dirty="0"/>
          </a:p>
        </p:txBody>
      </p:sp>
      <p:pic>
        <p:nvPicPr>
          <p:cNvPr id="21" name="Tijdelijke aanduiding voor afbeelding 20" descr="Afbeelding met persoon, kleding, Menselijk gezicht, Informele kleding&#10;&#10;Door AI gegenereerde inhoud is mogelijk onjuist.">
            <a:extLst>
              <a:ext uri="{FF2B5EF4-FFF2-40B4-BE49-F238E27FC236}">
                <a16:creationId xmlns:a16="http://schemas.microsoft.com/office/drawing/2014/main" id="{46A95242-5E3B-FD14-6DC4-D6C80873CEA2}"/>
              </a:ext>
            </a:extLst>
          </p:cNvPr>
          <p:cNvPicPr>
            <a:picLocks noGrp="1" noChangeAspect="1"/>
          </p:cNvPicPr>
          <p:nvPr>
            <p:ph type="pic" sz="quarter" idx="30"/>
          </p:nvPr>
        </p:nvPicPr>
        <p:blipFill>
          <a:blip r:embed="rId4">
            <a:extLst>
              <a:ext uri="{28A0092B-C50C-407E-A947-70E740481C1C}">
                <a14:useLocalDpi xmlns:a14="http://schemas.microsoft.com/office/drawing/2010/main"/>
              </a:ext>
            </a:extLst>
          </a:blip>
          <a:srcRect t="39" b="39"/>
          <a:stretch/>
        </p:blipFill>
        <p:spPr>
          <a:xfrm>
            <a:off x="9586963" y="2175548"/>
            <a:ext cx="1773936" cy="1766155"/>
          </a:xfrm>
        </p:spPr>
      </p:pic>
      <p:sp>
        <p:nvSpPr>
          <p:cNvPr id="12" name="Tijdelijke aanduiding voor tekst 11">
            <a:extLst>
              <a:ext uri="{FF2B5EF4-FFF2-40B4-BE49-F238E27FC236}">
                <a16:creationId xmlns:a16="http://schemas.microsoft.com/office/drawing/2014/main" id="{07091DD2-BFAF-D36B-BCC3-143F049D483D}"/>
              </a:ext>
            </a:extLst>
          </p:cNvPr>
          <p:cNvSpPr>
            <a:spLocks noGrp="1"/>
          </p:cNvSpPr>
          <p:nvPr>
            <p:ph type="body" sz="quarter" idx="31"/>
          </p:nvPr>
        </p:nvSpPr>
        <p:spPr>
          <a:xfrm>
            <a:off x="9586963" y="4054329"/>
            <a:ext cx="2240962" cy="307777"/>
          </a:xfrm>
        </p:spPr>
        <p:txBody>
          <a:bodyPr/>
          <a:lstStyle/>
          <a:p>
            <a:r>
              <a:rPr lang="nl-NL" noProof="0" dirty="0"/>
              <a:t>Sharon Dijksma</a:t>
            </a:r>
            <a:endParaRPr lang="en-US" dirty="0"/>
          </a:p>
          <a:p>
            <a:endParaRPr lang="en-GB" dirty="0"/>
          </a:p>
        </p:txBody>
      </p:sp>
      <p:sp>
        <p:nvSpPr>
          <p:cNvPr id="13" name="Tijdelijke aanduiding voor tekst 12">
            <a:extLst>
              <a:ext uri="{FF2B5EF4-FFF2-40B4-BE49-F238E27FC236}">
                <a16:creationId xmlns:a16="http://schemas.microsoft.com/office/drawing/2014/main" id="{D6B58FEC-3FB6-107E-968D-8135AEBDB51F}"/>
              </a:ext>
            </a:extLst>
          </p:cNvPr>
          <p:cNvSpPr>
            <a:spLocks noGrp="1"/>
          </p:cNvSpPr>
          <p:nvPr>
            <p:ph type="body" sz="quarter" idx="32"/>
          </p:nvPr>
        </p:nvSpPr>
        <p:spPr>
          <a:xfrm>
            <a:off x="9586963" y="4398994"/>
            <a:ext cx="2240962" cy="246221"/>
          </a:xfrm>
        </p:spPr>
        <p:txBody>
          <a:bodyPr/>
          <a:lstStyle/>
          <a:p>
            <a:r>
              <a:rPr lang="nl-NL" dirty="0"/>
              <a:t>Voorzitter </a:t>
            </a:r>
            <a:r>
              <a:rPr lang="nl-NL" dirty="0" err="1"/>
              <a:t>Economic</a:t>
            </a:r>
            <a:r>
              <a:rPr lang="nl-NL" dirty="0"/>
              <a:t> Board Utrecht</a:t>
            </a:r>
            <a:endParaRPr lang="en-US" dirty="0"/>
          </a:p>
          <a:p>
            <a:endParaRPr lang="en-GB" dirty="0"/>
          </a:p>
        </p:txBody>
      </p:sp>
    </p:spTree>
    <p:extLst>
      <p:ext uri="{BB962C8B-B14F-4D97-AF65-F5344CB8AC3E}">
        <p14:creationId xmlns:p14="http://schemas.microsoft.com/office/powerpoint/2010/main" val="5877834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AE32D2-EC9F-38DC-608B-14CBADA1A390}"/>
              </a:ext>
            </a:extLst>
          </p:cNvPr>
          <p:cNvSpPr>
            <a:spLocks noGrp="1"/>
          </p:cNvSpPr>
          <p:nvPr>
            <p:ph type="title"/>
          </p:nvPr>
        </p:nvSpPr>
        <p:spPr>
          <a:xfrm>
            <a:off x="1139124" y="595590"/>
            <a:ext cx="9938183" cy="1000736"/>
          </a:xfrm>
        </p:spPr>
        <p:txBody>
          <a:bodyPr/>
          <a:lstStyle/>
          <a:p>
            <a:r>
              <a:rPr lang="nl-NL" dirty="0"/>
              <a:t>Titel </a:t>
            </a:r>
            <a:br>
              <a:rPr lang="nl-NL" dirty="0"/>
            </a:br>
            <a:r>
              <a:rPr lang="nl-NL" dirty="0"/>
              <a:t>(max 2 regels)</a:t>
            </a:r>
            <a:endParaRPr lang="en-GB" dirty="0"/>
          </a:p>
        </p:txBody>
      </p:sp>
      <p:sp>
        <p:nvSpPr>
          <p:cNvPr id="3" name="Tijdelijke aanduiding voor tekst 2">
            <a:extLst>
              <a:ext uri="{FF2B5EF4-FFF2-40B4-BE49-F238E27FC236}">
                <a16:creationId xmlns:a16="http://schemas.microsoft.com/office/drawing/2014/main" id="{C6CCF8B1-ADEA-C7B2-40C1-21BFAC3CAB42}"/>
              </a:ext>
            </a:extLst>
          </p:cNvPr>
          <p:cNvSpPr>
            <a:spLocks noGrp="1"/>
          </p:cNvSpPr>
          <p:nvPr>
            <p:ph type="body" sz="quarter" idx="10"/>
          </p:nvPr>
        </p:nvSpPr>
        <p:spPr>
          <a:xfrm>
            <a:off x="1139124" y="2003728"/>
            <a:ext cx="9925751" cy="3650247"/>
          </a:xfrm>
        </p:spPr>
        <p:txBody>
          <a:bodyPr/>
          <a:lstStyle/>
          <a:p>
            <a:r>
              <a:rPr lang="nl-NL" dirty="0" err="1"/>
              <a:t>Lorem</a:t>
            </a:r>
            <a:r>
              <a:rPr lang="nl-NL" dirty="0"/>
              <a:t> </a:t>
            </a:r>
            <a:r>
              <a:rPr lang="nl-NL" dirty="0" err="1"/>
              <a:t>ipsum</a:t>
            </a:r>
            <a:r>
              <a:rPr lang="nl-NL" dirty="0"/>
              <a:t> </a:t>
            </a:r>
            <a:r>
              <a:rPr lang="nl-NL" dirty="0" err="1"/>
              <a:t>dolor</a:t>
            </a:r>
            <a:r>
              <a:rPr lang="nl-NL" dirty="0"/>
              <a:t> </a:t>
            </a:r>
            <a:r>
              <a:rPr lang="nl-NL" dirty="0" err="1"/>
              <a:t>sit</a:t>
            </a:r>
            <a:r>
              <a:rPr lang="nl-NL" dirty="0"/>
              <a:t> </a:t>
            </a:r>
            <a:r>
              <a:rPr lang="nl-NL" dirty="0" err="1"/>
              <a:t>amet</a:t>
            </a:r>
            <a:r>
              <a:rPr lang="nl-NL" dirty="0"/>
              <a:t>, </a:t>
            </a:r>
            <a:r>
              <a:rPr lang="nl-NL" dirty="0" err="1"/>
              <a:t>consectetuer</a:t>
            </a:r>
            <a:r>
              <a:rPr lang="nl-NL" dirty="0"/>
              <a:t> </a:t>
            </a:r>
            <a:r>
              <a:rPr lang="nl-NL" dirty="0" err="1"/>
              <a:t>adipiscing</a:t>
            </a:r>
            <a:r>
              <a:rPr lang="nl-NL" dirty="0"/>
              <a:t> </a:t>
            </a:r>
            <a:r>
              <a:rPr lang="nl-NL" dirty="0" err="1"/>
              <a:t>elit</a:t>
            </a:r>
            <a:r>
              <a:rPr lang="nl-NL" dirty="0"/>
              <a:t>. </a:t>
            </a:r>
            <a:r>
              <a:rPr lang="nl-NL" dirty="0" err="1"/>
              <a:t>Maecenas</a:t>
            </a:r>
            <a:r>
              <a:rPr lang="nl-NL" dirty="0"/>
              <a:t> </a:t>
            </a:r>
            <a:r>
              <a:rPr lang="nl-NL" dirty="0" err="1"/>
              <a:t>porttitor</a:t>
            </a:r>
            <a:r>
              <a:rPr lang="nl-NL" dirty="0"/>
              <a:t> </a:t>
            </a:r>
            <a:r>
              <a:rPr lang="nl-NL" dirty="0" err="1"/>
              <a:t>congue</a:t>
            </a:r>
            <a:r>
              <a:rPr lang="nl-NL" dirty="0"/>
              <a:t> massa. </a:t>
            </a:r>
          </a:p>
          <a:p>
            <a:pPr lvl="1"/>
            <a:r>
              <a:rPr lang="nl-NL" dirty="0" err="1"/>
              <a:t>Nunc</a:t>
            </a:r>
            <a:r>
              <a:rPr lang="nl-NL" dirty="0"/>
              <a:t> </a:t>
            </a:r>
            <a:r>
              <a:rPr lang="nl-NL" dirty="0" err="1"/>
              <a:t>viverra</a:t>
            </a:r>
            <a:r>
              <a:rPr lang="nl-NL" dirty="0"/>
              <a:t> </a:t>
            </a:r>
            <a:r>
              <a:rPr lang="nl-NL" dirty="0" err="1"/>
              <a:t>imperdiet</a:t>
            </a:r>
            <a:r>
              <a:rPr lang="nl-NL" dirty="0"/>
              <a:t> </a:t>
            </a:r>
            <a:r>
              <a:rPr lang="nl-NL" dirty="0" err="1"/>
              <a:t>enim</a:t>
            </a:r>
            <a:r>
              <a:rPr lang="nl-NL" dirty="0"/>
              <a:t>. </a:t>
            </a:r>
            <a:r>
              <a:rPr lang="nl-NL" dirty="0" err="1"/>
              <a:t>Fusce</a:t>
            </a:r>
            <a:r>
              <a:rPr lang="nl-NL" dirty="0"/>
              <a:t> </a:t>
            </a:r>
            <a:r>
              <a:rPr lang="nl-NL" dirty="0" err="1"/>
              <a:t>est.</a:t>
            </a:r>
            <a:r>
              <a:rPr lang="nl-NL" dirty="0"/>
              <a:t> </a:t>
            </a:r>
            <a:r>
              <a:rPr lang="nl-NL" dirty="0" err="1"/>
              <a:t>Vivamus</a:t>
            </a:r>
            <a:r>
              <a:rPr lang="nl-NL" dirty="0"/>
              <a:t> a </a:t>
            </a:r>
            <a:r>
              <a:rPr lang="nl-NL" dirty="0" err="1"/>
              <a:t>tellus</a:t>
            </a:r>
            <a:r>
              <a:rPr lang="nl-NL" dirty="0"/>
              <a:t>.</a:t>
            </a:r>
          </a:p>
          <a:p>
            <a:pPr lvl="2"/>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a:t>
            </a:r>
            <a:r>
              <a:rPr lang="nl-NL" dirty="0" err="1"/>
              <a:t>Proin</a:t>
            </a:r>
            <a:r>
              <a:rPr lang="nl-NL" dirty="0"/>
              <a:t> </a:t>
            </a:r>
            <a:r>
              <a:rPr lang="nl-NL" dirty="0" err="1"/>
              <a:t>pharetra</a:t>
            </a:r>
            <a:r>
              <a:rPr lang="nl-NL" dirty="0"/>
              <a:t> </a:t>
            </a:r>
            <a:r>
              <a:rPr lang="nl-NL" dirty="0" err="1"/>
              <a:t>nonummy</a:t>
            </a:r>
            <a:r>
              <a:rPr lang="nl-NL" dirty="0"/>
              <a:t> pede. </a:t>
            </a:r>
            <a:r>
              <a:rPr lang="nl-NL" dirty="0" err="1"/>
              <a:t>Mauris</a:t>
            </a:r>
            <a:r>
              <a:rPr lang="nl-NL" dirty="0"/>
              <a:t> et </a:t>
            </a:r>
            <a:r>
              <a:rPr lang="nl-NL" dirty="0" err="1"/>
              <a:t>orci</a:t>
            </a:r>
            <a:r>
              <a:rPr lang="nl-NL" dirty="0"/>
              <a:t>.</a:t>
            </a:r>
          </a:p>
          <a:p>
            <a:endParaRPr lang="en-GB" dirty="0"/>
          </a:p>
        </p:txBody>
      </p:sp>
    </p:spTree>
    <p:extLst>
      <p:ext uri="{BB962C8B-B14F-4D97-AF65-F5344CB8AC3E}">
        <p14:creationId xmlns:p14="http://schemas.microsoft.com/office/powerpoint/2010/main" val="34282019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43B68D10-7A6F-956E-B521-6FF49B5FC9AC}"/>
              </a:ext>
            </a:extLst>
          </p:cNvPr>
          <p:cNvSpPr>
            <a:spLocks noGrp="1"/>
          </p:cNvSpPr>
          <p:nvPr>
            <p:ph type="body" sz="half" idx="14"/>
          </p:nvPr>
        </p:nvSpPr>
        <p:spPr>
          <a:xfrm>
            <a:off x="1139126" y="2005200"/>
            <a:ext cx="4545424" cy="369332"/>
          </a:xfrm>
        </p:spPr>
        <p:txBody>
          <a:bodyPr/>
          <a:lstStyle/>
          <a:p>
            <a:r>
              <a:rPr lang="nl-NL" dirty="0" err="1"/>
              <a:t>Lorem</a:t>
            </a:r>
            <a:r>
              <a:rPr lang="nl-NL" dirty="0"/>
              <a:t> </a:t>
            </a:r>
            <a:r>
              <a:rPr lang="nl-NL" dirty="0" err="1"/>
              <a:t>ipsum</a:t>
            </a:r>
            <a:r>
              <a:rPr lang="nl-NL" dirty="0"/>
              <a:t> </a:t>
            </a:r>
            <a:r>
              <a:rPr lang="nl-NL" dirty="0" err="1"/>
              <a:t>dolor</a:t>
            </a:r>
            <a:r>
              <a:rPr lang="nl-NL" dirty="0"/>
              <a:t> </a:t>
            </a:r>
            <a:r>
              <a:rPr lang="nl-NL" dirty="0" err="1"/>
              <a:t>sit</a:t>
            </a:r>
            <a:endParaRPr lang="nl-NL" dirty="0"/>
          </a:p>
          <a:p>
            <a:endParaRPr lang="en-GB" dirty="0"/>
          </a:p>
        </p:txBody>
      </p:sp>
      <p:sp>
        <p:nvSpPr>
          <p:cNvPr id="3" name="Tijdelijke aanduiding voor tekst 2">
            <a:extLst>
              <a:ext uri="{FF2B5EF4-FFF2-40B4-BE49-F238E27FC236}">
                <a16:creationId xmlns:a16="http://schemas.microsoft.com/office/drawing/2014/main" id="{2B830EB6-CCE2-8B14-E8F9-5935E43C384F}"/>
              </a:ext>
            </a:extLst>
          </p:cNvPr>
          <p:cNvSpPr>
            <a:spLocks noGrp="1"/>
          </p:cNvSpPr>
          <p:nvPr>
            <p:ph type="body" sz="half" idx="15"/>
          </p:nvPr>
        </p:nvSpPr>
        <p:spPr>
          <a:xfrm>
            <a:off x="6503577" y="2005200"/>
            <a:ext cx="4545424" cy="369332"/>
          </a:xfrm>
        </p:spPr>
        <p:txBody>
          <a:bodyPr/>
          <a:lstStyle/>
          <a:p>
            <a:r>
              <a:rPr lang="nl-NL" dirty="0" err="1"/>
              <a:t>Maecenas</a:t>
            </a:r>
            <a:r>
              <a:rPr lang="nl-NL" dirty="0"/>
              <a:t> </a:t>
            </a:r>
            <a:r>
              <a:rPr lang="nl-NL" dirty="0" err="1"/>
              <a:t>porttitor</a:t>
            </a:r>
            <a:endParaRPr lang="nl-NL" dirty="0"/>
          </a:p>
          <a:p>
            <a:endParaRPr lang="en-GB" dirty="0"/>
          </a:p>
        </p:txBody>
      </p:sp>
      <p:sp>
        <p:nvSpPr>
          <p:cNvPr id="4" name="Titel 3">
            <a:extLst>
              <a:ext uri="{FF2B5EF4-FFF2-40B4-BE49-F238E27FC236}">
                <a16:creationId xmlns:a16="http://schemas.microsoft.com/office/drawing/2014/main" id="{BE3B78F2-86E9-DBD1-80C6-DF18C2A332D6}"/>
              </a:ext>
            </a:extLst>
          </p:cNvPr>
          <p:cNvSpPr>
            <a:spLocks noGrp="1"/>
          </p:cNvSpPr>
          <p:nvPr>
            <p:ph type="title"/>
          </p:nvPr>
        </p:nvSpPr>
        <p:spPr>
          <a:xfrm>
            <a:off x="1139124" y="595590"/>
            <a:ext cx="9925751" cy="1000736"/>
          </a:xfrm>
        </p:spPr>
        <p:txBody>
          <a:bodyPr/>
          <a:lstStyle/>
          <a:p>
            <a:r>
              <a:rPr lang="nl-NL" dirty="0"/>
              <a:t>Titel </a:t>
            </a:r>
            <a:br>
              <a:rPr lang="nl-NL" dirty="0"/>
            </a:br>
            <a:r>
              <a:rPr lang="nl-NL" dirty="0"/>
              <a:t>(max 2 regels)</a:t>
            </a:r>
            <a:endParaRPr lang="en-GB" dirty="0"/>
          </a:p>
        </p:txBody>
      </p:sp>
      <p:sp>
        <p:nvSpPr>
          <p:cNvPr id="5" name="Tijdelijke aanduiding voor tekst 4">
            <a:extLst>
              <a:ext uri="{FF2B5EF4-FFF2-40B4-BE49-F238E27FC236}">
                <a16:creationId xmlns:a16="http://schemas.microsoft.com/office/drawing/2014/main" id="{285ECF64-4EED-DC09-233B-62A21024B902}"/>
              </a:ext>
            </a:extLst>
          </p:cNvPr>
          <p:cNvSpPr>
            <a:spLocks noGrp="1"/>
          </p:cNvSpPr>
          <p:nvPr>
            <p:ph type="body" sz="quarter" idx="18"/>
          </p:nvPr>
        </p:nvSpPr>
        <p:spPr>
          <a:xfrm>
            <a:off x="1139124" y="2559063"/>
            <a:ext cx="4545423" cy="3336923"/>
          </a:xfrm>
        </p:spPr>
        <p:txBody>
          <a:bodyPr/>
          <a:lstStyle/>
          <a:p>
            <a:r>
              <a:rPr lang="nl-NL" dirty="0" err="1"/>
              <a:t>consectetuer</a:t>
            </a:r>
            <a:r>
              <a:rPr lang="nl-NL" dirty="0"/>
              <a:t> </a:t>
            </a:r>
            <a:r>
              <a:rPr lang="nl-NL" dirty="0" err="1"/>
              <a:t>adipiscing</a:t>
            </a:r>
            <a:r>
              <a:rPr lang="nl-NL" dirty="0"/>
              <a:t> </a:t>
            </a:r>
            <a:r>
              <a:rPr lang="nl-NL" dirty="0" err="1"/>
              <a:t>elit</a:t>
            </a:r>
            <a:r>
              <a:rPr lang="nl-NL" dirty="0"/>
              <a:t>. </a:t>
            </a:r>
            <a:r>
              <a:rPr lang="nl-NL" dirty="0" err="1"/>
              <a:t>Maecenas</a:t>
            </a:r>
            <a:r>
              <a:rPr lang="nl-NL" dirty="0"/>
              <a:t> </a:t>
            </a:r>
            <a:r>
              <a:rPr lang="nl-NL" dirty="0" err="1"/>
              <a:t>porttitor</a:t>
            </a:r>
            <a:r>
              <a:rPr lang="nl-NL" dirty="0"/>
              <a:t> </a:t>
            </a:r>
            <a:r>
              <a:rPr lang="nl-NL" dirty="0" err="1"/>
              <a:t>congue</a:t>
            </a:r>
            <a:r>
              <a:rPr lang="nl-NL" dirty="0"/>
              <a:t> massa. </a:t>
            </a:r>
          </a:p>
          <a:p>
            <a:endParaRPr lang="en-GB" dirty="0"/>
          </a:p>
        </p:txBody>
      </p:sp>
      <p:sp>
        <p:nvSpPr>
          <p:cNvPr id="6" name="Tijdelijke aanduiding voor tekst 5">
            <a:extLst>
              <a:ext uri="{FF2B5EF4-FFF2-40B4-BE49-F238E27FC236}">
                <a16:creationId xmlns:a16="http://schemas.microsoft.com/office/drawing/2014/main" id="{2A26F44B-D9EA-6B53-6C66-2E329753FBF9}"/>
              </a:ext>
            </a:extLst>
          </p:cNvPr>
          <p:cNvSpPr>
            <a:spLocks noGrp="1"/>
          </p:cNvSpPr>
          <p:nvPr>
            <p:ph type="body" sz="quarter" idx="19"/>
          </p:nvPr>
        </p:nvSpPr>
        <p:spPr>
          <a:xfrm>
            <a:off x="6501384" y="2559063"/>
            <a:ext cx="4545424" cy="3336923"/>
          </a:xfrm>
        </p:spPr>
        <p:txBody>
          <a:bodyPr/>
          <a:lstStyle/>
          <a:p>
            <a:r>
              <a:rPr lang="nl-NL" dirty="0" err="1"/>
              <a:t>Nunc</a:t>
            </a:r>
            <a:r>
              <a:rPr lang="nl-NL" dirty="0"/>
              <a:t> </a:t>
            </a:r>
            <a:r>
              <a:rPr lang="nl-NL" dirty="0" err="1"/>
              <a:t>viverra</a:t>
            </a:r>
            <a:r>
              <a:rPr lang="nl-NL" dirty="0"/>
              <a:t> </a:t>
            </a:r>
            <a:r>
              <a:rPr lang="nl-NL" dirty="0" err="1"/>
              <a:t>imperdiet</a:t>
            </a:r>
            <a:r>
              <a:rPr lang="nl-NL" dirty="0"/>
              <a:t> </a:t>
            </a:r>
            <a:r>
              <a:rPr lang="nl-NL" dirty="0" err="1"/>
              <a:t>enim</a:t>
            </a:r>
            <a:r>
              <a:rPr lang="nl-NL" dirty="0"/>
              <a:t>. </a:t>
            </a:r>
            <a:r>
              <a:rPr lang="nl-NL" dirty="0" err="1"/>
              <a:t>Fusce</a:t>
            </a:r>
            <a:r>
              <a:rPr lang="nl-NL" dirty="0"/>
              <a:t> </a:t>
            </a:r>
            <a:r>
              <a:rPr lang="nl-NL" dirty="0" err="1"/>
              <a:t>est.</a:t>
            </a:r>
            <a:r>
              <a:rPr lang="nl-NL" dirty="0"/>
              <a:t> </a:t>
            </a:r>
            <a:r>
              <a:rPr lang="nl-NL" dirty="0" err="1"/>
              <a:t>Vivamus</a:t>
            </a:r>
            <a:r>
              <a:rPr lang="nl-NL" dirty="0"/>
              <a:t> a </a:t>
            </a:r>
            <a:r>
              <a:rPr lang="nl-NL" dirty="0" err="1"/>
              <a:t>tellus</a:t>
            </a:r>
            <a:r>
              <a:rPr lang="nl-NL" dirty="0"/>
              <a:t>.</a:t>
            </a:r>
          </a:p>
          <a:p>
            <a:pPr lvl="1"/>
            <a:r>
              <a:rPr lang="nl-NL" dirty="0" err="1"/>
              <a:t>Lorem</a:t>
            </a:r>
            <a:r>
              <a:rPr lang="nl-NL" dirty="0"/>
              <a:t> </a:t>
            </a:r>
            <a:r>
              <a:rPr lang="nl-NL" dirty="0" err="1"/>
              <a:t>ipsum</a:t>
            </a:r>
            <a:r>
              <a:rPr lang="nl-NL" dirty="0"/>
              <a:t> </a:t>
            </a:r>
            <a:r>
              <a:rPr lang="nl-NL" dirty="0" err="1"/>
              <a:t>dolor</a:t>
            </a:r>
            <a:r>
              <a:rPr lang="nl-NL" dirty="0"/>
              <a:t> </a:t>
            </a:r>
            <a:r>
              <a:rPr lang="nl-NL" dirty="0" err="1"/>
              <a:t>sit</a:t>
            </a:r>
            <a:r>
              <a:rPr lang="nl-NL" dirty="0"/>
              <a:t> </a:t>
            </a:r>
            <a:r>
              <a:rPr lang="nl-NL" dirty="0" err="1"/>
              <a:t>amet</a:t>
            </a:r>
            <a:r>
              <a:rPr lang="nl-NL" dirty="0"/>
              <a:t>, </a:t>
            </a:r>
            <a:r>
              <a:rPr lang="nl-NL" dirty="0" err="1"/>
              <a:t>consectetuer</a:t>
            </a:r>
            <a:r>
              <a:rPr lang="nl-NL" dirty="0"/>
              <a:t> </a:t>
            </a:r>
            <a:r>
              <a:rPr lang="nl-NL" dirty="0" err="1"/>
              <a:t>adipiscing</a:t>
            </a:r>
            <a:r>
              <a:rPr lang="nl-NL" dirty="0"/>
              <a:t> </a:t>
            </a:r>
            <a:r>
              <a:rPr lang="nl-NL" dirty="0" err="1"/>
              <a:t>elit</a:t>
            </a:r>
            <a:r>
              <a:rPr lang="nl-NL" dirty="0"/>
              <a:t>. </a:t>
            </a:r>
            <a:r>
              <a:rPr lang="nl-NL" dirty="0" err="1"/>
              <a:t>Maecenas</a:t>
            </a:r>
            <a:r>
              <a:rPr lang="nl-NL" dirty="0"/>
              <a:t> </a:t>
            </a:r>
            <a:r>
              <a:rPr lang="nl-NL" dirty="0" err="1"/>
              <a:t>porttitor</a:t>
            </a:r>
            <a:r>
              <a:rPr lang="nl-NL" dirty="0"/>
              <a:t> </a:t>
            </a:r>
            <a:r>
              <a:rPr lang="nl-NL" dirty="0" err="1"/>
              <a:t>congue</a:t>
            </a:r>
            <a:r>
              <a:rPr lang="nl-NL" dirty="0"/>
              <a:t> massa</a:t>
            </a:r>
          </a:p>
          <a:p>
            <a:endParaRPr lang="en-GB" dirty="0"/>
          </a:p>
        </p:txBody>
      </p:sp>
    </p:spTree>
    <p:extLst>
      <p:ext uri="{BB962C8B-B14F-4D97-AF65-F5344CB8AC3E}">
        <p14:creationId xmlns:p14="http://schemas.microsoft.com/office/powerpoint/2010/main" val="1562639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3660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CD4D5-2085-9FE3-6BA7-C38DE678B087}"/>
              </a:ext>
            </a:extLst>
          </p:cNvPr>
          <p:cNvSpPr>
            <a:spLocks noGrp="1"/>
          </p:cNvSpPr>
          <p:nvPr>
            <p:ph type="title"/>
          </p:nvPr>
        </p:nvSpPr>
        <p:spPr>
          <a:xfrm>
            <a:off x="1139124" y="595590"/>
            <a:ext cx="9925751" cy="1000736"/>
          </a:xfrm>
        </p:spPr>
        <p:txBody>
          <a:bodyPr/>
          <a:lstStyle/>
          <a:p>
            <a:r>
              <a:rPr lang="nl-NL" dirty="0"/>
              <a:t>Titel </a:t>
            </a:r>
            <a:br>
              <a:rPr lang="nl-NL" dirty="0"/>
            </a:br>
            <a:r>
              <a:rPr lang="nl-NL" dirty="0"/>
              <a:t>(max 2 regels)</a:t>
            </a:r>
            <a:endParaRPr lang="en-GB" dirty="0"/>
          </a:p>
        </p:txBody>
      </p:sp>
      <p:sp>
        <p:nvSpPr>
          <p:cNvPr id="3" name="Tijdelijke aanduiding voor tekst 2">
            <a:extLst>
              <a:ext uri="{FF2B5EF4-FFF2-40B4-BE49-F238E27FC236}">
                <a16:creationId xmlns:a16="http://schemas.microsoft.com/office/drawing/2014/main" id="{9A4FBC8E-6CB1-960A-B78D-1B5D948C8289}"/>
              </a:ext>
            </a:extLst>
          </p:cNvPr>
          <p:cNvSpPr>
            <a:spLocks noGrp="1"/>
          </p:cNvSpPr>
          <p:nvPr>
            <p:ph type="body" sz="quarter" idx="16"/>
          </p:nvPr>
        </p:nvSpPr>
        <p:spPr>
          <a:xfrm>
            <a:off x="1139125" y="2005200"/>
            <a:ext cx="4545423" cy="3848185"/>
          </a:xfrm>
        </p:spPr>
        <p:txBody>
          <a:bodyPr/>
          <a:lstStyle/>
          <a:p>
            <a:r>
              <a:rPr lang="nl-NL" dirty="0" err="1"/>
              <a:t>Nunc</a:t>
            </a:r>
            <a:r>
              <a:rPr lang="nl-NL" dirty="0"/>
              <a:t> </a:t>
            </a:r>
            <a:r>
              <a:rPr lang="nl-NL" dirty="0" err="1"/>
              <a:t>viverra</a:t>
            </a:r>
            <a:r>
              <a:rPr lang="nl-NL" dirty="0"/>
              <a:t> </a:t>
            </a:r>
            <a:r>
              <a:rPr lang="nl-NL" dirty="0" err="1"/>
              <a:t>imperdiet</a:t>
            </a:r>
            <a:r>
              <a:rPr lang="nl-NL" dirty="0"/>
              <a:t> </a:t>
            </a:r>
            <a:r>
              <a:rPr lang="nl-NL" dirty="0" err="1"/>
              <a:t>enim</a:t>
            </a:r>
            <a:r>
              <a:rPr lang="nl-NL" dirty="0"/>
              <a:t>. </a:t>
            </a:r>
            <a:r>
              <a:rPr lang="nl-NL" dirty="0" err="1"/>
              <a:t>Fusce</a:t>
            </a:r>
            <a:r>
              <a:rPr lang="nl-NL" dirty="0"/>
              <a:t> </a:t>
            </a:r>
            <a:r>
              <a:rPr lang="nl-NL" dirty="0" err="1"/>
              <a:t>est.</a:t>
            </a:r>
            <a:r>
              <a:rPr lang="nl-NL" dirty="0"/>
              <a:t> </a:t>
            </a:r>
            <a:r>
              <a:rPr lang="nl-NL" dirty="0" err="1"/>
              <a:t>Vivamus</a:t>
            </a:r>
            <a:r>
              <a:rPr lang="nl-NL" dirty="0"/>
              <a:t> a </a:t>
            </a:r>
            <a:r>
              <a:rPr lang="nl-NL" dirty="0" err="1"/>
              <a:t>tellus</a:t>
            </a:r>
            <a:r>
              <a:rPr lang="nl-NL" dirty="0"/>
              <a:t>.</a:t>
            </a:r>
          </a:p>
          <a:p>
            <a:pPr lvl="1"/>
            <a:r>
              <a:rPr lang="nl-NL" dirty="0" err="1"/>
              <a:t>Lorem</a:t>
            </a:r>
            <a:r>
              <a:rPr lang="nl-NL" dirty="0"/>
              <a:t> </a:t>
            </a:r>
            <a:r>
              <a:rPr lang="nl-NL" dirty="0" err="1"/>
              <a:t>ipsum</a:t>
            </a:r>
            <a:r>
              <a:rPr lang="nl-NL" dirty="0"/>
              <a:t> </a:t>
            </a:r>
            <a:r>
              <a:rPr lang="nl-NL" dirty="0" err="1"/>
              <a:t>dolor</a:t>
            </a:r>
            <a:r>
              <a:rPr lang="nl-NL" dirty="0"/>
              <a:t> </a:t>
            </a:r>
            <a:r>
              <a:rPr lang="nl-NL" dirty="0" err="1"/>
              <a:t>sit</a:t>
            </a:r>
            <a:r>
              <a:rPr lang="nl-NL" dirty="0"/>
              <a:t> </a:t>
            </a:r>
            <a:r>
              <a:rPr lang="nl-NL" dirty="0" err="1"/>
              <a:t>amet</a:t>
            </a:r>
            <a:r>
              <a:rPr lang="nl-NL" dirty="0"/>
              <a:t>, </a:t>
            </a:r>
            <a:r>
              <a:rPr lang="nl-NL" dirty="0" err="1"/>
              <a:t>consectetuer</a:t>
            </a:r>
            <a:r>
              <a:rPr lang="nl-NL" dirty="0"/>
              <a:t> </a:t>
            </a:r>
            <a:r>
              <a:rPr lang="nl-NL" dirty="0" err="1"/>
              <a:t>adipiscing</a:t>
            </a:r>
            <a:r>
              <a:rPr lang="nl-NL" dirty="0"/>
              <a:t> </a:t>
            </a:r>
            <a:r>
              <a:rPr lang="nl-NL" dirty="0" err="1"/>
              <a:t>elit</a:t>
            </a:r>
            <a:r>
              <a:rPr lang="nl-NL" dirty="0"/>
              <a:t>. </a:t>
            </a:r>
            <a:r>
              <a:rPr lang="nl-NL" dirty="0" err="1"/>
              <a:t>Maecenas</a:t>
            </a:r>
            <a:r>
              <a:rPr lang="nl-NL" dirty="0"/>
              <a:t> </a:t>
            </a:r>
            <a:r>
              <a:rPr lang="nl-NL" dirty="0" err="1"/>
              <a:t>porttitor</a:t>
            </a:r>
            <a:r>
              <a:rPr lang="nl-NL" dirty="0"/>
              <a:t> </a:t>
            </a:r>
            <a:r>
              <a:rPr lang="nl-NL" dirty="0" err="1"/>
              <a:t>congue</a:t>
            </a:r>
            <a:r>
              <a:rPr lang="nl-NL" dirty="0"/>
              <a:t> massa</a:t>
            </a:r>
          </a:p>
          <a:p>
            <a:endParaRPr lang="en-GB" dirty="0"/>
          </a:p>
        </p:txBody>
      </p:sp>
      <p:sp>
        <p:nvSpPr>
          <p:cNvPr id="4" name="Tijdelijke aanduiding voor tekst 3">
            <a:extLst>
              <a:ext uri="{FF2B5EF4-FFF2-40B4-BE49-F238E27FC236}">
                <a16:creationId xmlns:a16="http://schemas.microsoft.com/office/drawing/2014/main" id="{44059B93-C3CD-BE2A-7F70-BB4C6ABD406B}"/>
              </a:ext>
            </a:extLst>
          </p:cNvPr>
          <p:cNvSpPr>
            <a:spLocks noGrp="1"/>
          </p:cNvSpPr>
          <p:nvPr>
            <p:ph type="body" sz="quarter" idx="17"/>
          </p:nvPr>
        </p:nvSpPr>
        <p:spPr>
          <a:xfrm>
            <a:off x="6501384" y="2005200"/>
            <a:ext cx="4545424" cy="3848185"/>
          </a:xfrm>
        </p:spPr>
        <p:txBody>
          <a:bodyPr/>
          <a:lstStyle/>
          <a:p>
            <a:r>
              <a:rPr lang="nl-NL" dirty="0" err="1"/>
              <a:t>Nunc</a:t>
            </a:r>
            <a:r>
              <a:rPr lang="nl-NL" dirty="0"/>
              <a:t> </a:t>
            </a:r>
            <a:r>
              <a:rPr lang="nl-NL" dirty="0" err="1"/>
              <a:t>viverra</a:t>
            </a:r>
            <a:r>
              <a:rPr lang="nl-NL" dirty="0"/>
              <a:t> </a:t>
            </a:r>
            <a:r>
              <a:rPr lang="nl-NL" dirty="0" err="1"/>
              <a:t>imperdiet</a:t>
            </a:r>
            <a:r>
              <a:rPr lang="nl-NL" dirty="0"/>
              <a:t> </a:t>
            </a:r>
            <a:r>
              <a:rPr lang="nl-NL" dirty="0" err="1"/>
              <a:t>enim</a:t>
            </a:r>
            <a:r>
              <a:rPr lang="nl-NL" dirty="0"/>
              <a:t>. </a:t>
            </a:r>
            <a:r>
              <a:rPr lang="nl-NL" dirty="0" err="1"/>
              <a:t>Fusce</a:t>
            </a:r>
            <a:r>
              <a:rPr lang="nl-NL" dirty="0"/>
              <a:t> </a:t>
            </a:r>
            <a:r>
              <a:rPr lang="nl-NL" dirty="0" err="1"/>
              <a:t>est.</a:t>
            </a:r>
            <a:r>
              <a:rPr lang="nl-NL" dirty="0"/>
              <a:t> </a:t>
            </a:r>
            <a:r>
              <a:rPr lang="nl-NL" dirty="0" err="1"/>
              <a:t>Vivamus</a:t>
            </a:r>
            <a:r>
              <a:rPr lang="nl-NL" dirty="0"/>
              <a:t> a </a:t>
            </a:r>
            <a:r>
              <a:rPr lang="nl-NL" dirty="0" err="1"/>
              <a:t>tellus</a:t>
            </a:r>
            <a:r>
              <a:rPr lang="nl-NL" dirty="0"/>
              <a:t>.</a:t>
            </a:r>
          </a:p>
          <a:p>
            <a:pPr lvl="1"/>
            <a:r>
              <a:rPr lang="nl-NL" dirty="0" err="1"/>
              <a:t>Lorem</a:t>
            </a:r>
            <a:r>
              <a:rPr lang="nl-NL" dirty="0"/>
              <a:t> </a:t>
            </a:r>
            <a:r>
              <a:rPr lang="nl-NL" dirty="0" err="1"/>
              <a:t>ipsum</a:t>
            </a:r>
            <a:r>
              <a:rPr lang="nl-NL" dirty="0"/>
              <a:t> </a:t>
            </a:r>
            <a:r>
              <a:rPr lang="nl-NL" dirty="0" err="1"/>
              <a:t>dolor</a:t>
            </a:r>
            <a:r>
              <a:rPr lang="nl-NL" dirty="0"/>
              <a:t> </a:t>
            </a:r>
            <a:r>
              <a:rPr lang="nl-NL" dirty="0" err="1"/>
              <a:t>sit</a:t>
            </a:r>
            <a:r>
              <a:rPr lang="nl-NL" dirty="0"/>
              <a:t> </a:t>
            </a:r>
            <a:r>
              <a:rPr lang="nl-NL" dirty="0" err="1"/>
              <a:t>amet</a:t>
            </a:r>
            <a:r>
              <a:rPr lang="nl-NL" dirty="0"/>
              <a:t>, </a:t>
            </a:r>
            <a:r>
              <a:rPr lang="nl-NL" dirty="0" err="1"/>
              <a:t>consectetuer</a:t>
            </a:r>
            <a:r>
              <a:rPr lang="nl-NL" dirty="0"/>
              <a:t> </a:t>
            </a:r>
            <a:r>
              <a:rPr lang="nl-NL" dirty="0" err="1"/>
              <a:t>adipiscing</a:t>
            </a:r>
            <a:r>
              <a:rPr lang="nl-NL" dirty="0"/>
              <a:t> </a:t>
            </a:r>
            <a:r>
              <a:rPr lang="nl-NL" dirty="0" err="1"/>
              <a:t>elit</a:t>
            </a:r>
            <a:r>
              <a:rPr lang="nl-NL" dirty="0"/>
              <a:t>. </a:t>
            </a:r>
            <a:r>
              <a:rPr lang="nl-NL" dirty="0" err="1"/>
              <a:t>Maecenas</a:t>
            </a:r>
            <a:r>
              <a:rPr lang="nl-NL" dirty="0"/>
              <a:t> </a:t>
            </a:r>
            <a:r>
              <a:rPr lang="nl-NL" dirty="0" err="1"/>
              <a:t>porttitor</a:t>
            </a:r>
            <a:r>
              <a:rPr lang="nl-NL" dirty="0"/>
              <a:t> </a:t>
            </a:r>
            <a:r>
              <a:rPr lang="nl-NL" dirty="0" err="1"/>
              <a:t>congue</a:t>
            </a:r>
            <a:r>
              <a:rPr lang="nl-NL" dirty="0"/>
              <a:t> massa</a:t>
            </a:r>
          </a:p>
          <a:p>
            <a:endParaRPr lang="en-GB" dirty="0"/>
          </a:p>
        </p:txBody>
      </p:sp>
    </p:spTree>
    <p:extLst>
      <p:ext uri="{BB962C8B-B14F-4D97-AF65-F5344CB8AC3E}">
        <p14:creationId xmlns:p14="http://schemas.microsoft.com/office/powerpoint/2010/main" val="21874769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1A8CAA-A8D6-9D53-3260-34F003AA3B6B}"/>
              </a:ext>
            </a:extLst>
          </p:cNvPr>
          <p:cNvSpPr>
            <a:spLocks noGrp="1"/>
          </p:cNvSpPr>
          <p:nvPr>
            <p:ph type="title"/>
          </p:nvPr>
        </p:nvSpPr>
        <p:spPr/>
        <p:txBody>
          <a:bodyPr/>
          <a:lstStyle/>
          <a:p>
            <a:r>
              <a:rPr lang="nl-NL" dirty="0"/>
              <a:t>Titel </a:t>
            </a:r>
            <a:br>
              <a:rPr lang="nl-NL" dirty="0"/>
            </a:br>
            <a:r>
              <a:rPr lang="nl-NL" dirty="0"/>
              <a:t>(max 2 regels)</a:t>
            </a:r>
            <a:endParaRPr lang="en-GB" dirty="0"/>
          </a:p>
        </p:txBody>
      </p:sp>
      <p:pic>
        <p:nvPicPr>
          <p:cNvPr id="6" name="Tijdelijke aanduiding voor afbeelding 5" descr="Afbeelding met gebouw, buitenshuis, hemel, raam&#10;&#10;Door AI gegenereerde inhoud is mogelijk onjuist.">
            <a:extLst>
              <a:ext uri="{FF2B5EF4-FFF2-40B4-BE49-F238E27FC236}">
                <a16:creationId xmlns:a16="http://schemas.microsoft.com/office/drawing/2014/main" id="{8FB615DF-CB76-7156-951D-A48554DB7B09}"/>
              </a:ext>
            </a:extLst>
          </p:cNvPr>
          <p:cNvPicPr>
            <a:picLocks noGrp="1" noChangeAspect="1"/>
          </p:cNvPicPr>
          <p:nvPr>
            <p:ph type="pic" sz="quarter" idx="19"/>
          </p:nvPr>
        </p:nvPicPr>
        <p:blipFill rotWithShape="1">
          <a:blip r:embed="rId2">
            <a:extLst>
              <a:ext uri="{28A0092B-C50C-407E-A947-70E740481C1C}">
                <a14:useLocalDpi xmlns:a14="http://schemas.microsoft.com/office/drawing/2010/main"/>
              </a:ext>
            </a:extLst>
          </a:blip>
          <a:srcRect l="62" r="11862" b="11801"/>
          <a:stretch/>
        </p:blipFill>
        <p:spPr>
          <a:xfrm>
            <a:off x="6244558" y="3"/>
            <a:ext cx="5947441" cy="6857998"/>
          </a:xfrm>
        </p:spPr>
      </p:pic>
      <p:sp>
        <p:nvSpPr>
          <p:cNvPr id="4" name="Tijdelijke aanduiding voor tekst 3">
            <a:extLst>
              <a:ext uri="{FF2B5EF4-FFF2-40B4-BE49-F238E27FC236}">
                <a16:creationId xmlns:a16="http://schemas.microsoft.com/office/drawing/2014/main" id="{962B0B9C-45E1-5A9C-6B1C-FD9E0EDD3FFA}"/>
              </a:ext>
            </a:extLst>
          </p:cNvPr>
          <p:cNvSpPr>
            <a:spLocks noGrp="1"/>
          </p:cNvSpPr>
          <p:nvPr>
            <p:ph type="body" sz="quarter" idx="10"/>
          </p:nvPr>
        </p:nvSpPr>
        <p:spPr/>
        <p:txBody>
          <a:bodyPr/>
          <a:lstStyle/>
          <a:p>
            <a:r>
              <a:rPr lang="nl-NL" dirty="0" err="1"/>
              <a:t>Nunc</a:t>
            </a:r>
            <a:r>
              <a:rPr lang="nl-NL" dirty="0"/>
              <a:t> </a:t>
            </a:r>
            <a:r>
              <a:rPr lang="nl-NL" dirty="0" err="1"/>
              <a:t>viverra</a:t>
            </a:r>
            <a:r>
              <a:rPr lang="nl-NL" dirty="0"/>
              <a:t> </a:t>
            </a:r>
            <a:r>
              <a:rPr lang="nl-NL" dirty="0" err="1"/>
              <a:t>imperdiet</a:t>
            </a:r>
            <a:r>
              <a:rPr lang="nl-NL" dirty="0"/>
              <a:t> </a:t>
            </a:r>
            <a:r>
              <a:rPr lang="nl-NL" dirty="0" err="1"/>
              <a:t>enim</a:t>
            </a:r>
            <a:r>
              <a:rPr lang="nl-NL" dirty="0"/>
              <a:t>. </a:t>
            </a:r>
            <a:r>
              <a:rPr lang="nl-NL" dirty="0" err="1"/>
              <a:t>Fusce</a:t>
            </a:r>
            <a:r>
              <a:rPr lang="nl-NL" dirty="0"/>
              <a:t> </a:t>
            </a:r>
            <a:r>
              <a:rPr lang="nl-NL" dirty="0" err="1"/>
              <a:t>est.</a:t>
            </a:r>
            <a:r>
              <a:rPr lang="nl-NL" dirty="0"/>
              <a:t> </a:t>
            </a:r>
            <a:r>
              <a:rPr lang="nl-NL" dirty="0" err="1"/>
              <a:t>Vivamus</a:t>
            </a:r>
            <a:r>
              <a:rPr lang="nl-NL" dirty="0"/>
              <a:t> a </a:t>
            </a:r>
            <a:r>
              <a:rPr lang="nl-NL" dirty="0" err="1"/>
              <a:t>tellus</a:t>
            </a:r>
            <a:r>
              <a:rPr lang="nl-NL" dirty="0"/>
              <a:t>.</a:t>
            </a:r>
          </a:p>
          <a:p>
            <a:pPr lvl="1"/>
            <a:r>
              <a:rPr lang="nl-NL" dirty="0" err="1"/>
              <a:t>Lorem</a:t>
            </a:r>
            <a:r>
              <a:rPr lang="nl-NL" dirty="0"/>
              <a:t> </a:t>
            </a:r>
            <a:r>
              <a:rPr lang="nl-NL" dirty="0" err="1"/>
              <a:t>ipsum</a:t>
            </a:r>
            <a:r>
              <a:rPr lang="nl-NL" dirty="0"/>
              <a:t> </a:t>
            </a:r>
            <a:r>
              <a:rPr lang="nl-NL" dirty="0" err="1"/>
              <a:t>dolor</a:t>
            </a:r>
            <a:r>
              <a:rPr lang="nl-NL" dirty="0"/>
              <a:t> </a:t>
            </a:r>
            <a:r>
              <a:rPr lang="nl-NL" dirty="0" err="1"/>
              <a:t>sit</a:t>
            </a:r>
            <a:r>
              <a:rPr lang="nl-NL" dirty="0"/>
              <a:t> </a:t>
            </a:r>
            <a:r>
              <a:rPr lang="nl-NL" dirty="0" err="1"/>
              <a:t>amet</a:t>
            </a:r>
            <a:r>
              <a:rPr lang="nl-NL" dirty="0"/>
              <a:t>, </a:t>
            </a:r>
            <a:r>
              <a:rPr lang="nl-NL" dirty="0" err="1"/>
              <a:t>consectetuer</a:t>
            </a:r>
            <a:r>
              <a:rPr lang="nl-NL" dirty="0"/>
              <a:t> </a:t>
            </a:r>
            <a:r>
              <a:rPr lang="nl-NL" dirty="0" err="1"/>
              <a:t>adipiscing</a:t>
            </a:r>
            <a:r>
              <a:rPr lang="nl-NL" dirty="0"/>
              <a:t> </a:t>
            </a:r>
            <a:r>
              <a:rPr lang="nl-NL" dirty="0" err="1"/>
              <a:t>elit</a:t>
            </a:r>
            <a:r>
              <a:rPr lang="nl-NL" dirty="0"/>
              <a:t>. </a:t>
            </a:r>
            <a:r>
              <a:rPr lang="nl-NL" dirty="0" err="1"/>
              <a:t>Maecenas</a:t>
            </a:r>
            <a:r>
              <a:rPr lang="nl-NL" dirty="0"/>
              <a:t> </a:t>
            </a:r>
            <a:r>
              <a:rPr lang="nl-NL" dirty="0" err="1"/>
              <a:t>porttitor</a:t>
            </a:r>
            <a:r>
              <a:rPr lang="nl-NL" dirty="0"/>
              <a:t> </a:t>
            </a:r>
            <a:r>
              <a:rPr lang="nl-NL" dirty="0" err="1"/>
              <a:t>congue</a:t>
            </a:r>
            <a:r>
              <a:rPr lang="nl-NL" dirty="0"/>
              <a:t> massa</a:t>
            </a:r>
            <a:endParaRPr lang="en-US" dirty="0"/>
          </a:p>
          <a:p>
            <a:endParaRPr lang="en-GB" dirty="0"/>
          </a:p>
        </p:txBody>
      </p:sp>
    </p:spTree>
    <p:extLst>
      <p:ext uri="{BB962C8B-B14F-4D97-AF65-F5344CB8AC3E}">
        <p14:creationId xmlns:p14="http://schemas.microsoft.com/office/powerpoint/2010/main" val="26679616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7F0B87-607A-DF1D-268E-445F60E56E59}"/>
              </a:ext>
            </a:extLst>
          </p:cNvPr>
          <p:cNvSpPr>
            <a:spLocks noGrp="1"/>
          </p:cNvSpPr>
          <p:nvPr>
            <p:ph type="title"/>
          </p:nvPr>
        </p:nvSpPr>
        <p:spPr/>
        <p:txBody>
          <a:bodyPr/>
          <a:lstStyle/>
          <a:p>
            <a:r>
              <a:rPr lang="nl-NL" dirty="0"/>
              <a:t>Titel </a:t>
            </a:r>
            <a:br>
              <a:rPr lang="nl-NL" dirty="0"/>
            </a:br>
            <a:r>
              <a:rPr lang="nl-NL" dirty="0"/>
              <a:t>(max 2 regels)</a:t>
            </a:r>
            <a:endParaRPr lang="en-GB" dirty="0"/>
          </a:p>
        </p:txBody>
      </p:sp>
      <p:sp>
        <p:nvSpPr>
          <p:cNvPr id="3" name="Tijdelijke aanduiding voor tekst 2">
            <a:extLst>
              <a:ext uri="{FF2B5EF4-FFF2-40B4-BE49-F238E27FC236}">
                <a16:creationId xmlns:a16="http://schemas.microsoft.com/office/drawing/2014/main" id="{ADF23292-804F-6146-77D8-A6E569A108F1}"/>
              </a:ext>
            </a:extLst>
          </p:cNvPr>
          <p:cNvSpPr>
            <a:spLocks noGrp="1"/>
          </p:cNvSpPr>
          <p:nvPr>
            <p:ph type="body" sz="quarter" idx="16"/>
          </p:nvPr>
        </p:nvSpPr>
        <p:spPr/>
        <p:txBody>
          <a:bodyPr/>
          <a:lstStyle/>
          <a:p>
            <a:r>
              <a:rPr lang="nl-NL" dirty="0" err="1"/>
              <a:t>Nunc</a:t>
            </a:r>
            <a:r>
              <a:rPr lang="nl-NL" dirty="0"/>
              <a:t> </a:t>
            </a:r>
            <a:r>
              <a:rPr lang="nl-NL" dirty="0" err="1"/>
              <a:t>viverra</a:t>
            </a:r>
            <a:r>
              <a:rPr lang="nl-NL" dirty="0"/>
              <a:t> </a:t>
            </a:r>
            <a:r>
              <a:rPr lang="nl-NL" dirty="0" err="1"/>
              <a:t>imperdiet</a:t>
            </a:r>
            <a:r>
              <a:rPr lang="nl-NL" dirty="0"/>
              <a:t> </a:t>
            </a:r>
            <a:r>
              <a:rPr lang="nl-NL" dirty="0" err="1"/>
              <a:t>enim</a:t>
            </a:r>
            <a:r>
              <a:rPr lang="nl-NL" dirty="0"/>
              <a:t>. </a:t>
            </a:r>
            <a:r>
              <a:rPr lang="nl-NL" dirty="0" err="1"/>
              <a:t>Fusce</a:t>
            </a:r>
            <a:r>
              <a:rPr lang="nl-NL" dirty="0"/>
              <a:t> </a:t>
            </a:r>
            <a:r>
              <a:rPr lang="nl-NL" dirty="0" err="1"/>
              <a:t>est.</a:t>
            </a:r>
            <a:r>
              <a:rPr lang="nl-NL" dirty="0"/>
              <a:t> </a:t>
            </a:r>
            <a:r>
              <a:rPr lang="nl-NL" dirty="0" err="1"/>
              <a:t>Vivamus</a:t>
            </a:r>
            <a:r>
              <a:rPr lang="nl-NL" dirty="0"/>
              <a:t> a </a:t>
            </a:r>
            <a:r>
              <a:rPr lang="nl-NL" dirty="0" err="1"/>
              <a:t>tellus</a:t>
            </a:r>
            <a:r>
              <a:rPr lang="nl-NL" dirty="0"/>
              <a:t>.</a:t>
            </a:r>
          </a:p>
          <a:p>
            <a:pPr lvl="1"/>
            <a:r>
              <a:rPr lang="nl-NL" dirty="0" err="1"/>
              <a:t>Lorem</a:t>
            </a:r>
            <a:r>
              <a:rPr lang="nl-NL" dirty="0"/>
              <a:t> </a:t>
            </a:r>
            <a:r>
              <a:rPr lang="nl-NL" dirty="0" err="1"/>
              <a:t>ipsum</a:t>
            </a:r>
            <a:r>
              <a:rPr lang="nl-NL" dirty="0"/>
              <a:t> </a:t>
            </a:r>
            <a:r>
              <a:rPr lang="nl-NL" dirty="0" err="1"/>
              <a:t>dolor</a:t>
            </a:r>
            <a:r>
              <a:rPr lang="nl-NL" dirty="0"/>
              <a:t> </a:t>
            </a:r>
            <a:r>
              <a:rPr lang="nl-NL" dirty="0" err="1"/>
              <a:t>sit</a:t>
            </a:r>
            <a:r>
              <a:rPr lang="nl-NL" dirty="0"/>
              <a:t> </a:t>
            </a:r>
            <a:r>
              <a:rPr lang="nl-NL" dirty="0" err="1"/>
              <a:t>amet</a:t>
            </a:r>
            <a:r>
              <a:rPr lang="nl-NL" dirty="0"/>
              <a:t>, </a:t>
            </a:r>
            <a:r>
              <a:rPr lang="nl-NL" dirty="0" err="1"/>
              <a:t>consectetuer</a:t>
            </a:r>
            <a:r>
              <a:rPr lang="nl-NL" dirty="0"/>
              <a:t> </a:t>
            </a:r>
            <a:r>
              <a:rPr lang="nl-NL" dirty="0" err="1"/>
              <a:t>adipiscing</a:t>
            </a:r>
            <a:r>
              <a:rPr lang="nl-NL" dirty="0"/>
              <a:t> </a:t>
            </a:r>
            <a:r>
              <a:rPr lang="nl-NL" dirty="0" err="1"/>
              <a:t>elit</a:t>
            </a:r>
            <a:r>
              <a:rPr lang="nl-NL" dirty="0"/>
              <a:t>. </a:t>
            </a:r>
            <a:r>
              <a:rPr lang="nl-NL" dirty="0" err="1"/>
              <a:t>Maecenas</a:t>
            </a:r>
            <a:r>
              <a:rPr lang="nl-NL" dirty="0"/>
              <a:t> </a:t>
            </a:r>
            <a:r>
              <a:rPr lang="nl-NL" dirty="0" err="1"/>
              <a:t>porttitor</a:t>
            </a:r>
            <a:r>
              <a:rPr lang="nl-NL" dirty="0"/>
              <a:t> </a:t>
            </a:r>
            <a:r>
              <a:rPr lang="nl-NL" dirty="0" err="1"/>
              <a:t>congue</a:t>
            </a:r>
            <a:r>
              <a:rPr lang="nl-NL" dirty="0"/>
              <a:t> massa</a:t>
            </a:r>
            <a:endParaRPr lang="en-US" dirty="0"/>
          </a:p>
          <a:p>
            <a:endParaRPr lang="en-GB" dirty="0"/>
          </a:p>
        </p:txBody>
      </p:sp>
      <p:pic>
        <p:nvPicPr>
          <p:cNvPr id="6" name="Tijdelijke aanduiding voor afbeelding 5" descr="Afbeelding met wolk, gras, buitenshuis, hemel&#10;&#10;Door AI gegenereerde inhoud is mogelijk onjuist.">
            <a:extLst>
              <a:ext uri="{FF2B5EF4-FFF2-40B4-BE49-F238E27FC236}">
                <a16:creationId xmlns:a16="http://schemas.microsoft.com/office/drawing/2014/main" id="{B4692B0F-E257-2D4F-3E6E-F1F8041484E5}"/>
              </a:ext>
            </a:extLst>
          </p:cNvPr>
          <p:cNvPicPr>
            <a:picLocks noGrp="1" noChangeAspect="1"/>
          </p:cNvPicPr>
          <p:nvPr>
            <p:ph type="pic" sz="quarter" idx="17"/>
          </p:nvPr>
        </p:nvPicPr>
        <p:blipFill>
          <a:blip r:embed="rId2">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6345040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E191A8-2131-8BC0-486F-860EEC81C5FE}"/>
              </a:ext>
            </a:extLst>
          </p:cNvPr>
          <p:cNvSpPr>
            <a:spLocks noGrp="1"/>
          </p:cNvSpPr>
          <p:nvPr>
            <p:ph type="title"/>
          </p:nvPr>
        </p:nvSpPr>
        <p:spPr>
          <a:xfrm>
            <a:off x="1139124" y="595590"/>
            <a:ext cx="9925751" cy="1000736"/>
          </a:xfrm>
        </p:spPr>
        <p:txBody>
          <a:bodyPr/>
          <a:lstStyle/>
          <a:p>
            <a:r>
              <a:rPr lang="nl-NL" dirty="0"/>
              <a:t>Titel </a:t>
            </a:r>
            <a:br>
              <a:rPr lang="nl-NL" dirty="0"/>
            </a:br>
            <a:r>
              <a:rPr lang="nl-NL" dirty="0"/>
              <a:t>(max 2 regels)</a:t>
            </a:r>
            <a:endParaRPr lang="en-GB" dirty="0"/>
          </a:p>
        </p:txBody>
      </p:sp>
      <p:graphicFrame>
        <p:nvGraphicFramePr>
          <p:cNvPr id="7" name="Chart Placeholder 7">
            <a:extLst>
              <a:ext uri="{FF2B5EF4-FFF2-40B4-BE49-F238E27FC236}">
                <a16:creationId xmlns:a16="http://schemas.microsoft.com/office/drawing/2014/main" id="{01AD465A-9923-D6FA-BBF4-6097A494F013}"/>
              </a:ext>
            </a:extLst>
          </p:cNvPr>
          <p:cNvGraphicFramePr>
            <a:graphicFrameLocks noGrp="1"/>
          </p:cNvGraphicFramePr>
          <p:nvPr>
            <p:ph type="chart" sz="quarter" idx="18"/>
            <p:extLst>
              <p:ext uri="{D42A27DB-BD31-4B8C-83A1-F6EECF244321}">
                <p14:modId xmlns:p14="http://schemas.microsoft.com/office/powerpoint/2010/main" val="1614714358"/>
              </p:ext>
            </p:extLst>
          </p:nvPr>
        </p:nvGraphicFramePr>
        <p:xfrm>
          <a:off x="1138238" y="2559050"/>
          <a:ext cx="4545012" cy="32400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Placeholder 14">
            <a:extLst>
              <a:ext uri="{FF2B5EF4-FFF2-40B4-BE49-F238E27FC236}">
                <a16:creationId xmlns:a16="http://schemas.microsoft.com/office/drawing/2014/main" id="{CEAB3B79-BE14-8294-884D-6E57DB812EC7}"/>
              </a:ext>
            </a:extLst>
          </p:cNvPr>
          <p:cNvGraphicFramePr>
            <a:graphicFrameLocks noGrp="1"/>
          </p:cNvGraphicFramePr>
          <p:nvPr>
            <p:ph type="chart" sz="quarter" idx="19"/>
            <p:extLst>
              <p:ext uri="{D42A27DB-BD31-4B8C-83A1-F6EECF244321}">
                <p14:modId xmlns:p14="http://schemas.microsoft.com/office/powerpoint/2010/main" val="2906073559"/>
              </p:ext>
            </p:extLst>
          </p:nvPr>
        </p:nvGraphicFramePr>
        <p:xfrm>
          <a:off x="6516688" y="2559050"/>
          <a:ext cx="4545012"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5" name="Tijdelijke aanduiding voor tekst 4">
            <a:extLst>
              <a:ext uri="{FF2B5EF4-FFF2-40B4-BE49-F238E27FC236}">
                <a16:creationId xmlns:a16="http://schemas.microsoft.com/office/drawing/2014/main" id="{541152AB-9FB1-B0DF-41FB-7578433F9789}"/>
              </a:ext>
            </a:extLst>
          </p:cNvPr>
          <p:cNvSpPr>
            <a:spLocks noGrp="1"/>
          </p:cNvSpPr>
          <p:nvPr>
            <p:ph type="body" sz="half" idx="14"/>
          </p:nvPr>
        </p:nvSpPr>
        <p:spPr>
          <a:xfrm>
            <a:off x="1139126" y="2005200"/>
            <a:ext cx="4545424" cy="369332"/>
          </a:xfrm>
        </p:spPr>
        <p:txBody>
          <a:bodyPr/>
          <a:lstStyle/>
          <a:p>
            <a:r>
              <a:rPr lang="nl-NL" dirty="0" err="1"/>
              <a:t>Lorem</a:t>
            </a:r>
            <a:r>
              <a:rPr lang="nl-NL" dirty="0"/>
              <a:t> </a:t>
            </a:r>
            <a:r>
              <a:rPr lang="nl-NL" dirty="0" err="1"/>
              <a:t>ipsum</a:t>
            </a:r>
            <a:r>
              <a:rPr lang="nl-NL" dirty="0"/>
              <a:t> </a:t>
            </a:r>
            <a:r>
              <a:rPr lang="nl-NL" dirty="0" err="1"/>
              <a:t>dolor</a:t>
            </a:r>
            <a:r>
              <a:rPr lang="nl-NL" dirty="0"/>
              <a:t> </a:t>
            </a:r>
            <a:r>
              <a:rPr lang="nl-NL" dirty="0" err="1"/>
              <a:t>sit</a:t>
            </a:r>
            <a:r>
              <a:rPr lang="nl-NL" dirty="0"/>
              <a:t> </a:t>
            </a:r>
            <a:r>
              <a:rPr lang="nl-NL" dirty="0" err="1"/>
              <a:t>amet</a:t>
            </a:r>
            <a:r>
              <a:rPr lang="nl-NL" dirty="0"/>
              <a:t>, </a:t>
            </a:r>
          </a:p>
          <a:p>
            <a:endParaRPr lang="en-GB" dirty="0"/>
          </a:p>
        </p:txBody>
      </p:sp>
      <p:sp>
        <p:nvSpPr>
          <p:cNvPr id="6" name="Tijdelijke aanduiding voor tekst 5">
            <a:extLst>
              <a:ext uri="{FF2B5EF4-FFF2-40B4-BE49-F238E27FC236}">
                <a16:creationId xmlns:a16="http://schemas.microsoft.com/office/drawing/2014/main" id="{E7A2E1A1-F7C9-94A2-3819-F73715285F2D}"/>
              </a:ext>
            </a:extLst>
          </p:cNvPr>
          <p:cNvSpPr>
            <a:spLocks noGrp="1"/>
          </p:cNvSpPr>
          <p:nvPr>
            <p:ph type="body" sz="half" idx="15"/>
          </p:nvPr>
        </p:nvSpPr>
        <p:spPr>
          <a:xfrm>
            <a:off x="6503577" y="2005200"/>
            <a:ext cx="4545424" cy="369332"/>
          </a:xfrm>
        </p:spPr>
        <p:txBody>
          <a:bodyPr/>
          <a:lstStyle/>
          <a:p>
            <a:r>
              <a:rPr lang="nl-NL" dirty="0" err="1"/>
              <a:t>Maecenas</a:t>
            </a:r>
            <a:r>
              <a:rPr lang="nl-NL" dirty="0"/>
              <a:t> </a:t>
            </a:r>
            <a:r>
              <a:rPr lang="nl-NL" dirty="0" err="1"/>
              <a:t>porttitor</a:t>
            </a:r>
            <a:endParaRPr lang="nl-NL" dirty="0"/>
          </a:p>
          <a:p>
            <a:endParaRPr lang="en-GB" dirty="0"/>
          </a:p>
        </p:txBody>
      </p:sp>
    </p:spTree>
    <p:extLst>
      <p:ext uri="{BB962C8B-B14F-4D97-AF65-F5344CB8AC3E}">
        <p14:creationId xmlns:p14="http://schemas.microsoft.com/office/powerpoint/2010/main" val="23905845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54FDF1-DB6B-27C8-AB7B-F16C6FC12B95}"/>
              </a:ext>
            </a:extLst>
          </p:cNvPr>
          <p:cNvSpPr>
            <a:spLocks noGrp="1"/>
          </p:cNvSpPr>
          <p:nvPr>
            <p:ph type="title"/>
          </p:nvPr>
        </p:nvSpPr>
        <p:spPr>
          <a:xfrm>
            <a:off x="1139124" y="595590"/>
            <a:ext cx="9925751" cy="1000736"/>
          </a:xfrm>
        </p:spPr>
        <p:txBody>
          <a:bodyPr/>
          <a:lstStyle/>
          <a:p>
            <a:r>
              <a:rPr lang="nl-NL" dirty="0"/>
              <a:t>Titel </a:t>
            </a:r>
            <a:br>
              <a:rPr lang="nl-NL" dirty="0"/>
            </a:br>
            <a:r>
              <a:rPr lang="nl-NL" dirty="0"/>
              <a:t>(max 2 regels)</a:t>
            </a:r>
            <a:endParaRPr lang="en-GB" dirty="0"/>
          </a:p>
        </p:txBody>
      </p:sp>
      <p:sp>
        <p:nvSpPr>
          <p:cNvPr id="3" name="Tijdelijke aanduiding voor tekst 2">
            <a:extLst>
              <a:ext uri="{FF2B5EF4-FFF2-40B4-BE49-F238E27FC236}">
                <a16:creationId xmlns:a16="http://schemas.microsoft.com/office/drawing/2014/main" id="{FAACED8B-912C-F864-CA69-FE8F6B7E668D}"/>
              </a:ext>
            </a:extLst>
          </p:cNvPr>
          <p:cNvSpPr>
            <a:spLocks noGrp="1"/>
          </p:cNvSpPr>
          <p:nvPr>
            <p:ph type="body" sz="quarter" idx="16"/>
          </p:nvPr>
        </p:nvSpPr>
        <p:spPr>
          <a:xfrm>
            <a:off x="1139125" y="2005200"/>
            <a:ext cx="4545423" cy="3848185"/>
          </a:xfrm>
        </p:spPr>
        <p:txBody>
          <a:bodyPr/>
          <a:lstStyle/>
          <a:p>
            <a:r>
              <a:rPr lang="nl-NL" dirty="0" err="1"/>
              <a:t>Nunc</a:t>
            </a:r>
            <a:r>
              <a:rPr lang="nl-NL" dirty="0"/>
              <a:t> </a:t>
            </a:r>
            <a:r>
              <a:rPr lang="nl-NL" dirty="0" err="1"/>
              <a:t>viverra</a:t>
            </a:r>
            <a:r>
              <a:rPr lang="nl-NL" dirty="0"/>
              <a:t> </a:t>
            </a:r>
            <a:r>
              <a:rPr lang="nl-NL" dirty="0" err="1"/>
              <a:t>imperdiet</a:t>
            </a:r>
            <a:r>
              <a:rPr lang="nl-NL" dirty="0"/>
              <a:t> </a:t>
            </a:r>
            <a:r>
              <a:rPr lang="nl-NL" dirty="0" err="1"/>
              <a:t>enim</a:t>
            </a:r>
            <a:r>
              <a:rPr lang="nl-NL" dirty="0"/>
              <a:t>. </a:t>
            </a:r>
            <a:r>
              <a:rPr lang="nl-NL" dirty="0" err="1"/>
              <a:t>Fusce</a:t>
            </a:r>
            <a:r>
              <a:rPr lang="nl-NL" dirty="0"/>
              <a:t> </a:t>
            </a:r>
            <a:r>
              <a:rPr lang="nl-NL" dirty="0" err="1"/>
              <a:t>est.</a:t>
            </a:r>
            <a:r>
              <a:rPr lang="nl-NL" dirty="0"/>
              <a:t> </a:t>
            </a:r>
            <a:r>
              <a:rPr lang="nl-NL" dirty="0" err="1"/>
              <a:t>Vivamus</a:t>
            </a:r>
            <a:r>
              <a:rPr lang="nl-NL" dirty="0"/>
              <a:t> a </a:t>
            </a:r>
            <a:r>
              <a:rPr lang="nl-NL" dirty="0" err="1"/>
              <a:t>tellus</a:t>
            </a:r>
            <a:r>
              <a:rPr lang="nl-NL" dirty="0"/>
              <a:t>.</a:t>
            </a:r>
          </a:p>
          <a:p>
            <a:pPr lvl="1"/>
            <a:r>
              <a:rPr lang="nl-NL" dirty="0" err="1"/>
              <a:t>Lorem</a:t>
            </a:r>
            <a:r>
              <a:rPr lang="nl-NL" dirty="0"/>
              <a:t> </a:t>
            </a:r>
            <a:r>
              <a:rPr lang="nl-NL" dirty="0" err="1"/>
              <a:t>ipsum</a:t>
            </a:r>
            <a:r>
              <a:rPr lang="nl-NL" dirty="0"/>
              <a:t> </a:t>
            </a:r>
            <a:r>
              <a:rPr lang="nl-NL" dirty="0" err="1"/>
              <a:t>dolor</a:t>
            </a:r>
            <a:r>
              <a:rPr lang="nl-NL" dirty="0"/>
              <a:t> </a:t>
            </a:r>
            <a:r>
              <a:rPr lang="nl-NL" dirty="0" err="1"/>
              <a:t>sit</a:t>
            </a:r>
            <a:r>
              <a:rPr lang="nl-NL" dirty="0"/>
              <a:t> </a:t>
            </a:r>
            <a:r>
              <a:rPr lang="nl-NL" dirty="0" err="1"/>
              <a:t>amet</a:t>
            </a:r>
            <a:r>
              <a:rPr lang="nl-NL" dirty="0"/>
              <a:t>, </a:t>
            </a:r>
            <a:r>
              <a:rPr lang="nl-NL" dirty="0" err="1"/>
              <a:t>consectetuer</a:t>
            </a:r>
            <a:r>
              <a:rPr lang="nl-NL" dirty="0"/>
              <a:t> </a:t>
            </a:r>
            <a:r>
              <a:rPr lang="nl-NL" dirty="0" err="1"/>
              <a:t>adipiscing</a:t>
            </a:r>
            <a:r>
              <a:rPr lang="nl-NL" dirty="0"/>
              <a:t> </a:t>
            </a:r>
            <a:r>
              <a:rPr lang="nl-NL" dirty="0" err="1"/>
              <a:t>elit</a:t>
            </a:r>
            <a:r>
              <a:rPr lang="nl-NL" dirty="0"/>
              <a:t>. </a:t>
            </a:r>
            <a:r>
              <a:rPr lang="nl-NL" dirty="0" err="1"/>
              <a:t>Maecenas</a:t>
            </a:r>
            <a:r>
              <a:rPr lang="nl-NL" dirty="0"/>
              <a:t> </a:t>
            </a:r>
            <a:r>
              <a:rPr lang="nl-NL" dirty="0" err="1"/>
              <a:t>porttitor</a:t>
            </a:r>
            <a:r>
              <a:rPr lang="nl-NL" dirty="0"/>
              <a:t> </a:t>
            </a:r>
            <a:r>
              <a:rPr lang="nl-NL" dirty="0" err="1"/>
              <a:t>congue</a:t>
            </a:r>
            <a:r>
              <a:rPr lang="nl-NL" dirty="0"/>
              <a:t> massa. </a:t>
            </a:r>
            <a:endParaRPr lang="en-US" dirty="0"/>
          </a:p>
          <a:p>
            <a:endParaRPr lang="en-GB" dirty="0"/>
          </a:p>
        </p:txBody>
      </p:sp>
      <p:graphicFrame>
        <p:nvGraphicFramePr>
          <p:cNvPr id="6" name="Chart Placeholder 11">
            <a:extLst>
              <a:ext uri="{FF2B5EF4-FFF2-40B4-BE49-F238E27FC236}">
                <a16:creationId xmlns:a16="http://schemas.microsoft.com/office/drawing/2014/main" id="{1E46DB36-970C-44BB-58AB-2E3C592E4F00}"/>
              </a:ext>
            </a:extLst>
          </p:cNvPr>
          <p:cNvGraphicFramePr>
            <a:graphicFrameLocks noGrp="1"/>
          </p:cNvGraphicFramePr>
          <p:nvPr>
            <p:ph type="chart" sz="quarter" idx="19"/>
            <p:extLst>
              <p:ext uri="{D42A27DB-BD31-4B8C-83A1-F6EECF244321}">
                <p14:modId xmlns:p14="http://schemas.microsoft.com/office/powerpoint/2010/main" val="3293384371"/>
              </p:ext>
            </p:extLst>
          </p:nvPr>
        </p:nvGraphicFramePr>
        <p:xfrm>
          <a:off x="6516688" y="2557463"/>
          <a:ext cx="4545012" cy="3240087"/>
        </p:xfrm>
        <a:graphic>
          <a:graphicData uri="http://schemas.openxmlformats.org/drawingml/2006/chart">
            <c:chart xmlns:c="http://schemas.openxmlformats.org/drawingml/2006/chart" xmlns:r="http://schemas.openxmlformats.org/officeDocument/2006/relationships" r:id="rId2"/>
          </a:graphicData>
        </a:graphic>
      </p:graphicFrame>
      <p:sp>
        <p:nvSpPr>
          <p:cNvPr id="5" name="Tijdelijke aanduiding voor tekst 4">
            <a:extLst>
              <a:ext uri="{FF2B5EF4-FFF2-40B4-BE49-F238E27FC236}">
                <a16:creationId xmlns:a16="http://schemas.microsoft.com/office/drawing/2014/main" id="{67DC0D7B-B6A7-2A72-45CC-71C5D5270574}"/>
              </a:ext>
            </a:extLst>
          </p:cNvPr>
          <p:cNvSpPr>
            <a:spLocks noGrp="1"/>
          </p:cNvSpPr>
          <p:nvPr>
            <p:ph type="body" sz="half" idx="15"/>
          </p:nvPr>
        </p:nvSpPr>
        <p:spPr>
          <a:xfrm>
            <a:off x="6503577" y="2005200"/>
            <a:ext cx="4545424" cy="369332"/>
          </a:xfrm>
        </p:spPr>
        <p:txBody>
          <a:bodyPr/>
          <a:lstStyle/>
          <a:p>
            <a:r>
              <a:rPr lang="nl-NL" dirty="0" err="1"/>
              <a:t>Nunc</a:t>
            </a:r>
            <a:r>
              <a:rPr lang="nl-NL" dirty="0"/>
              <a:t> </a:t>
            </a:r>
            <a:r>
              <a:rPr lang="nl-NL" dirty="0" err="1"/>
              <a:t>viverra</a:t>
            </a:r>
            <a:r>
              <a:rPr lang="nl-NL" dirty="0"/>
              <a:t> </a:t>
            </a:r>
            <a:r>
              <a:rPr lang="nl-NL" dirty="0" err="1"/>
              <a:t>imperdiet</a:t>
            </a:r>
            <a:r>
              <a:rPr lang="nl-NL" dirty="0"/>
              <a:t> </a:t>
            </a:r>
            <a:r>
              <a:rPr lang="nl-NL" dirty="0" err="1"/>
              <a:t>enim</a:t>
            </a:r>
            <a:r>
              <a:rPr lang="nl-NL" dirty="0"/>
              <a:t>. </a:t>
            </a:r>
          </a:p>
        </p:txBody>
      </p:sp>
    </p:spTree>
    <p:extLst>
      <p:ext uri="{BB962C8B-B14F-4D97-AF65-F5344CB8AC3E}">
        <p14:creationId xmlns:p14="http://schemas.microsoft.com/office/powerpoint/2010/main" val="17601140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jdelijke aanduiding voor afbeelding 4" descr="Afbeelding met buitenshuis, hemel, plant, boom&#10;&#10;Door AI gegenereerde inhoud is mogelijk onjuist.">
            <a:extLst>
              <a:ext uri="{FF2B5EF4-FFF2-40B4-BE49-F238E27FC236}">
                <a16:creationId xmlns:a16="http://schemas.microsoft.com/office/drawing/2014/main" id="{CA3AADA0-7834-4C92-D679-0F3EE6A43E14}"/>
              </a:ext>
            </a:extLst>
          </p:cNvPr>
          <p:cNvPicPr>
            <a:picLocks noGrp="1" noChangeAspect="1"/>
          </p:cNvPicPr>
          <p:nvPr>
            <p:ph type="pic" sz="quarter" idx="19"/>
          </p:nvPr>
        </p:nvPicPr>
        <p:blipFill>
          <a:blip r:embed="rId2">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7160844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jdelijke aanduiding voor afbeelding 4">
            <a:extLst>
              <a:ext uri="{FF2B5EF4-FFF2-40B4-BE49-F238E27FC236}">
                <a16:creationId xmlns:a16="http://schemas.microsoft.com/office/drawing/2014/main" id="{34A4CDAE-5860-4155-B2D6-875B984B64C9}"/>
              </a:ext>
            </a:extLst>
          </p:cNvPr>
          <p:cNvPicPr>
            <a:picLocks noGrp="1" noChangeAspect="1"/>
          </p:cNvPicPr>
          <p:nvPr>
            <p:ph type="pic" sz="quarter" idx="19"/>
          </p:nvPr>
        </p:nvPicPr>
        <p:blipFill>
          <a:blip r:embed="rId2">
            <a:extLst>
              <a:ext uri="{28A0092B-C50C-407E-A947-70E740481C1C}">
                <a14:useLocalDpi xmlns:a14="http://schemas.microsoft.com/office/drawing/2010/main"/>
              </a:ext>
            </a:extLst>
          </a:blip>
          <a:srcRect/>
          <a:stretch/>
        </p:blipFill>
        <p:spPr>
          <a:xfrm>
            <a:off x="0" y="-6350"/>
            <a:ext cx="12192000" cy="6864350"/>
          </a:xfrm>
        </p:spPr>
      </p:pic>
      <p:sp>
        <p:nvSpPr>
          <p:cNvPr id="3" name="Titel 2">
            <a:extLst>
              <a:ext uri="{FF2B5EF4-FFF2-40B4-BE49-F238E27FC236}">
                <a16:creationId xmlns:a16="http://schemas.microsoft.com/office/drawing/2014/main" id="{E2A7C22C-B433-2C47-402B-20249015F28B}"/>
              </a:ext>
            </a:extLst>
          </p:cNvPr>
          <p:cNvSpPr>
            <a:spLocks noGrp="1"/>
          </p:cNvSpPr>
          <p:nvPr>
            <p:ph type="title"/>
          </p:nvPr>
        </p:nvSpPr>
        <p:spPr>
          <a:xfrm>
            <a:off x="1127125" y="1850571"/>
            <a:ext cx="8582705" cy="2942999"/>
          </a:xfrm>
        </p:spPr>
        <p:txBody>
          <a:bodyPr/>
          <a:lstStyle/>
          <a:p>
            <a:r>
              <a:rPr lang="nl-NL" dirty="0"/>
              <a:t>Ruimte </a:t>
            </a:r>
            <a:br>
              <a:rPr lang="nl-NL" dirty="0"/>
            </a:br>
            <a:r>
              <a:rPr lang="nl-NL" dirty="0"/>
              <a:t>voor toelichting </a:t>
            </a:r>
            <a:br>
              <a:rPr lang="nl-NL" dirty="0"/>
            </a:br>
            <a:r>
              <a:rPr lang="nl-NL" dirty="0"/>
              <a:t>op full screen foto</a:t>
            </a:r>
            <a:endParaRPr lang="en-GB" dirty="0"/>
          </a:p>
        </p:txBody>
      </p:sp>
    </p:spTree>
    <p:extLst>
      <p:ext uri="{BB962C8B-B14F-4D97-AF65-F5344CB8AC3E}">
        <p14:creationId xmlns:p14="http://schemas.microsoft.com/office/powerpoint/2010/main" val="5269608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jdelijke aanduiding voor afbeelding 4" descr="Afbeelding met wolk, buitenshuis, hemel, gras&#10;&#10;Door AI gegenereerde inhoud is mogelijk onjuist.">
            <a:extLst>
              <a:ext uri="{FF2B5EF4-FFF2-40B4-BE49-F238E27FC236}">
                <a16:creationId xmlns:a16="http://schemas.microsoft.com/office/drawing/2014/main" id="{2CD86BBA-A137-61A1-9A04-F69BAFB8464D}"/>
              </a:ext>
            </a:extLst>
          </p:cNvPr>
          <p:cNvPicPr>
            <a:picLocks noGrp="1" noChangeAspect="1"/>
          </p:cNvPicPr>
          <p:nvPr>
            <p:ph type="pic" sz="quarter" idx="11"/>
          </p:nvPr>
        </p:nvPicPr>
        <p:blipFill>
          <a:blip r:embed="rId2">
            <a:extLst>
              <a:ext uri="{28A0092B-C50C-407E-A947-70E740481C1C}">
                <a14:useLocalDpi xmlns:a14="http://schemas.microsoft.com/office/drawing/2010/main"/>
              </a:ext>
            </a:extLst>
          </a:blip>
          <a:srcRect/>
          <a:stretch/>
        </p:blipFill>
        <p:spPr>
          <a:xfrm>
            <a:off x="6096000" y="0"/>
            <a:ext cx="6096000" cy="5705659"/>
          </a:xfrm>
        </p:spPr>
      </p:pic>
      <p:sp>
        <p:nvSpPr>
          <p:cNvPr id="3" name="Titel 2">
            <a:extLst>
              <a:ext uri="{FF2B5EF4-FFF2-40B4-BE49-F238E27FC236}">
                <a16:creationId xmlns:a16="http://schemas.microsoft.com/office/drawing/2014/main" id="{2DF5EEAD-5BE7-A363-3F13-6B8F366C4D0D}"/>
              </a:ext>
            </a:extLst>
          </p:cNvPr>
          <p:cNvSpPr>
            <a:spLocks noGrp="1"/>
          </p:cNvSpPr>
          <p:nvPr>
            <p:ph type="ctrTitle"/>
          </p:nvPr>
        </p:nvSpPr>
        <p:spPr>
          <a:xfrm>
            <a:off x="1137600" y="4726041"/>
            <a:ext cx="6894373" cy="874022"/>
          </a:xfrm>
        </p:spPr>
        <p:txBody>
          <a:bodyPr/>
          <a:lstStyle/>
          <a:p>
            <a:r>
              <a:rPr lang="en-GB" dirty="0"/>
              <a:t>Lorem ipsum </a:t>
            </a:r>
            <a:r>
              <a:rPr lang="en-GB" dirty="0" err="1"/>
              <a:t>dolor</a:t>
            </a:r>
            <a:r>
              <a:rPr lang="en-GB" dirty="0"/>
              <a:t> sit </a:t>
            </a:r>
            <a:r>
              <a:rPr lang="en-GB" dirty="0" err="1"/>
              <a:t>amet</a:t>
            </a:r>
            <a:endParaRPr lang="en-GB" dirty="0"/>
          </a:p>
        </p:txBody>
      </p:sp>
    </p:spTree>
    <p:extLst>
      <p:ext uri="{BB962C8B-B14F-4D97-AF65-F5344CB8AC3E}">
        <p14:creationId xmlns:p14="http://schemas.microsoft.com/office/powerpoint/2010/main" val="1207817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jdelijke aanduiding voor afbeelding 4" descr="Afbeelding met overdekt, persoon, computer, Personal computer&#10;&#10;Door AI gegenereerde inhoud is mogelijk onjuist.">
            <a:extLst>
              <a:ext uri="{FF2B5EF4-FFF2-40B4-BE49-F238E27FC236}">
                <a16:creationId xmlns:a16="http://schemas.microsoft.com/office/drawing/2014/main" id="{C340D0F5-C41B-813C-2D3A-798B69FC66D7}"/>
              </a:ext>
            </a:extLst>
          </p:cNvPr>
          <p:cNvPicPr>
            <a:picLocks noGrp="1" noChangeAspect="1"/>
          </p:cNvPicPr>
          <p:nvPr>
            <p:ph type="pic" sz="quarter" idx="11"/>
          </p:nvPr>
        </p:nvPicPr>
        <p:blipFill>
          <a:blip r:embed="rId2">
            <a:extLst>
              <a:ext uri="{28A0092B-C50C-407E-A947-70E740481C1C}">
                <a14:useLocalDpi xmlns:a14="http://schemas.microsoft.com/office/drawing/2010/main"/>
              </a:ext>
            </a:extLst>
          </a:blip>
          <a:srcRect l="84" r="84"/>
          <a:stretch/>
        </p:blipFill>
        <p:spPr>
          <a:xfrm>
            <a:off x="7440812" y="-10274"/>
            <a:ext cx="4752000" cy="6858000"/>
          </a:xfrm>
        </p:spPr>
      </p:pic>
      <p:sp>
        <p:nvSpPr>
          <p:cNvPr id="3" name="Titel 2">
            <a:extLst>
              <a:ext uri="{FF2B5EF4-FFF2-40B4-BE49-F238E27FC236}">
                <a16:creationId xmlns:a16="http://schemas.microsoft.com/office/drawing/2014/main" id="{D3B0AB9E-F12F-E060-846C-731F61E916A0}"/>
              </a:ext>
            </a:extLst>
          </p:cNvPr>
          <p:cNvSpPr>
            <a:spLocks noGrp="1"/>
          </p:cNvSpPr>
          <p:nvPr>
            <p:ph type="ctrTitle"/>
          </p:nvPr>
        </p:nvSpPr>
        <p:spPr>
          <a:xfrm>
            <a:off x="1137600" y="2991989"/>
            <a:ext cx="5113198" cy="874022"/>
          </a:xfrm>
        </p:spPr>
        <p:txBody>
          <a:bodyPr/>
          <a:lstStyle/>
          <a:p>
            <a:r>
              <a:rPr lang="en-GB" dirty="0"/>
              <a:t>Lorem ipsum </a:t>
            </a:r>
            <a:r>
              <a:rPr lang="en-GB" dirty="0" err="1"/>
              <a:t>dolor</a:t>
            </a:r>
            <a:r>
              <a:rPr lang="en-GB" dirty="0"/>
              <a:t> sit </a:t>
            </a:r>
            <a:r>
              <a:rPr lang="en-GB" dirty="0" err="1"/>
              <a:t>amet</a:t>
            </a:r>
            <a:endParaRPr lang="en-GB" dirty="0"/>
          </a:p>
        </p:txBody>
      </p:sp>
      <p:grpSp>
        <p:nvGrpSpPr>
          <p:cNvPr id="16" name="Groep 15">
            <a:extLst>
              <a:ext uri="{FF2B5EF4-FFF2-40B4-BE49-F238E27FC236}">
                <a16:creationId xmlns:a16="http://schemas.microsoft.com/office/drawing/2014/main" id="{71CFD519-392F-5519-A0CD-EE672BF9F98A}"/>
              </a:ext>
            </a:extLst>
          </p:cNvPr>
          <p:cNvGrpSpPr/>
          <p:nvPr/>
        </p:nvGrpSpPr>
        <p:grpSpPr>
          <a:xfrm>
            <a:off x="10014482" y="5839298"/>
            <a:ext cx="1599388" cy="433809"/>
            <a:chOff x="3101010" y="1249096"/>
            <a:chExt cx="3978412" cy="1079079"/>
          </a:xfrm>
          <a:solidFill>
            <a:schemeClr val="bg1"/>
          </a:solidFill>
        </p:grpSpPr>
        <p:sp>
          <p:nvSpPr>
            <p:cNvPr id="17" name="Vrije vorm 16">
              <a:extLst>
                <a:ext uri="{FF2B5EF4-FFF2-40B4-BE49-F238E27FC236}">
                  <a16:creationId xmlns:a16="http://schemas.microsoft.com/office/drawing/2014/main" id="{44D8794D-4053-F907-1D0F-41507FBF3D14}"/>
                </a:ext>
              </a:extLst>
            </p:cNvPr>
            <p:cNvSpPr/>
            <p:nvPr userDrawn="1"/>
          </p:nvSpPr>
          <p:spPr>
            <a:xfrm>
              <a:off x="4021445" y="1998313"/>
              <a:ext cx="3057977" cy="329862"/>
            </a:xfrm>
            <a:custGeom>
              <a:avLst/>
              <a:gdLst>
                <a:gd name="connsiteX0" fmla="*/ 2756305 w 3057977"/>
                <a:gd name="connsiteY0" fmla="*/ 41715 h 329862"/>
                <a:gd name="connsiteX1" fmla="*/ 2691317 w 3057977"/>
                <a:gd name="connsiteY1" fmla="*/ 110098 h 329862"/>
                <a:gd name="connsiteX2" fmla="*/ 2691317 w 3057977"/>
                <a:gd name="connsiteY2" fmla="*/ 325134 h 329862"/>
                <a:gd name="connsiteX3" fmla="*/ 2756305 w 3057977"/>
                <a:gd name="connsiteY3" fmla="*/ 325134 h 329862"/>
                <a:gd name="connsiteX4" fmla="*/ 2756305 w 3057977"/>
                <a:gd name="connsiteY4" fmla="*/ 166437 h 329862"/>
                <a:gd name="connsiteX5" fmla="*/ 2816553 w 3057977"/>
                <a:gd name="connsiteY5" fmla="*/ 166437 h 329862"/>
                <a:gd name="connsiteX6" fmla="*/ 2816553 w 3057977"/>
                <a:gd name="connsiteY6" fmla="*/ 110098 h 329862"/>
                <a:gd name="connsiteX7" fmla="*/ 2756305 w 3057977"/>
                <a:gd name="connsiteY7" fmla="*/ 110098 h 329862"/>
                <a:gd name="connsiteX8" fmla="*/ 2756305 w 3057977"/>
                <a:gd name="connsiteY8" fmla="*/ 41715 h 329862"/>
                <a:gd name="connsiteX9" fmla="*/ 410985 w 3057977"/>
                <a:gd name="connsiteY9" fmla="*/ 105365 h 329862"/>
                <a:gd name="connsiteX10" fmla="*/ 297798 w 3057977"/>
                <a:gd name="connsiteY10" fmla="*/ 217614 h 329862"/>
                <a:gd name="connsiteX11" fmla="*/ 412276 w 3057977"/>
                <a:gd name="connsiteY11" fmla="*/ 329862 h 329862"/>
                <a:gd name="connsiteX12" fmla="*/ 513410 w 3057977"/>
                <a:gd name="connsiteY12" fmla="*/ 282557 h 329862"/>
                <a:gd name="connsiteX13" fmla="*/ 465211 w 3057977"/>
                <a:gd name="connsiteY13" fmla="*/ 246432 h 329862"/>
                <a:gd name="connsiteX14" fmla="*/ 413137 w 3057977"/>
                <a:gd name="connsiteY14" fmla="*/ 270946 h 329862"/>
                <a:gd name="connsiteX15" fmla="*/ 360631 w 3057977"/>
                <a:gd name="connsiteY15" fmla="*/ 233098 h 329862"/>
                <a:gd name="connsiteX16" fmla="*/ 516856 w 3057977"/>
                <a:gd name="connsiteY16" fmla="*/ 233098 h 329862"/>
                <a:gd name="connsiteX17" fmla="*/ 518147 w 3057977"/>
                <a:gd name="connsiteY17" fmla="*/ 210307 h 329862"/>
                <a:gd name="connsiteX18" fmla="*/ 410985 w 3057977"/>
                <a:gd name="connsiteY18" fmla="*/ 105365 h 329862"/>
                <a:gd name="connsiteX19" fmla="*/ 362353 w 3057977"/>
                <a:gd name="connsiteY19" fmla="*/ 190522 h 329862"/>
                <a:gd name="connsiteX20" fmla="*/ 409263 w 3057977"/>
                <a:gd name="connsiteY20" fmla="*/ 158264 h 329862"/>
                <a:gd name="connsiteX21" fmla="*/ 453591 w 3057977"/>
                <a:gd name="connsiteY21" fmla="*/ 190522 h 329862"/>
                <a:gd name="connsiteX22" fmla="*/ 362353 w 3057977"/>
                <a:gd name="connsiteY22" fmla="*/ 190522 h 329862"/>
                <a:gd name="connsiteX23" fmla="*/ 704043 w 3057977"/>
                <a:gd name="connsiteY23" fmla="*/ 131601 h 329862"/>
                <a:gd name="connsiteX24" fmla="*/ 645514 w 3057977"/>
                <a:gd name="connsiteY24" fmla="*/ 105365 h 329862"/>
                <a:gd name="connsiteX25" fmla="*/ 545670 w 3057977"/>
                <a:gd name="connsiteY25" fmla="*/ 217614 h 329862"/>
                <a:gd name="connsiteX26" fmla="*/ 645514 w 3057977"/>
                <a:gd name="connsiteY26" fmla="*/ 329862 h 329862"/>
                <a:gd name="connsiteX27" fmla="*/ 704043 w 3057977"/>
                <a:gd name="connsiteY27" fmla="*/ 303631 h 329862"/>
                <a:gd name="connsiteX28" fmla="*/ 704043 w 3057977"/>
                <a:gd name="connsiteY28" fmla="*/ 325134 h 329862"/>
                <a:gd name="connsiteX29" fmla="*/ 769032 w 3057977"/>
                <a:gd name="connsiteY29" fmla="*/ 325134 h 329862"/>
                <a:gd name="connsiteX30" fmla="*/ 769032 w 3057977"/>
                <a:gd name="connsiteY30" fmla="*/ 110098 h 329862"/>
                <a:gd name="connsiteX31" fmla="*/ 704043 w 3057977"/>
                <a:gd name="connsiteY31" fmla="*/ 110098 h 329862"/>
                <a:gd name="connsiteX32" fmla="*/ 704043 w 3057977"/>
                <a:gd name="connsiteY32" fmla="*/ 131601 h 329862"/>
                <a:gd name="connsiteX33" fmla="*/ 660148 w 3057977"/>
                <a:gd name="connsiteY33" fmla="*/ 270946 h 329862"/>
                <a:gd name="connsiteX34" fmla="*/ 611087 w 3057977"/>
                <a:gd name="connsiteY34" fmla="*/ 217614 h 329862"/>
                <a:gd name="connsiteX35" fmla="*/ 660148 w 3057977"/>
                <a:gd name="connsiteY35" fmla="*/ 164287 h 329862"/>
                <a:gd name="connsiteX36" fmla="*/ 709208 w 3057977"/>
                <a:gd name="connsiteY36" fmla="*/ 217614 h 329862"/>
                <a:gd name="connsiteX37" fmla="*/ 660148 w 3057977"/>
                <a:gd name="connsiteY37" fmla="*/ 270946 h 329862"/>
                <a:gd name="connsiteX38" fmla="*/ 191515 w 3057977"/>
                <a:gd name="connsiteY38" fmla="*/ 139341 h 329862"/>
                <a:gd name="connsiteX39" fmla="*/ 68426 w 3057977"/>
                <a:gd name="connsiteY39" fmla="*/ 139341 h 329862"/>
                <a:gd name="connsiteX40" fmla="*/ 68426 w 3057977"/>
                <a:gd name="connsiteY40" fmla="*/ 19785 h 329862"/>
                <a:gd name="connsiteX41" fmla="*/ 0 w 3057977"/>
                <a:gd name="connsiteY41" fmla="*/ 19785 h 329862"/>
                <a:gd name="connsiteX42" fmla="*/ 0 w 3057977"/>
                <a:gd name="connsiteY42" fmla="*/ 229762 h 329862"/>
                <a:gd name="connsiteX43" fmla="*/ 68426 w 3057977"/>
                <a:gd name="connsiteY43" fmla="*/ 298141 h 329862"/>
                <a:gd name="connsiteX44" fmla="*/ 68426 w 3057977"/>
                <a:gd name="connsiteY44" fmla="*/ 204284 h 329862"/>
                <a:gd name="connsiteX45" fmla="*/ 191515 w 3057977"/>
                <a:gd name="connsiteY45" fmla="*/ 204284 h 329862"/>
                <a:gd name="connsiteX46" fmla="*/ 191515 w 3057977"/>
                <a:gd name="connsiteY46" fmla="*/ 325134 h 329862"/>
                <a:gd name="connsiteX47" fmla="*/ 259941 w 3057977"/>
                <a:gd name="connsiteY47" fmla="*/ 325134 h 329862"/>
                <a:gd name="connsiteX48" fmla="*/ 259941 w 3057977"/>
                <a:gd name="connsiteY48" fmla="*/ 19785 h 329862"/>
                <a:gd name="connsiteX49" fmla="*/ 191515 w 3057977"/>
                <a:gd name="connsiteY49" fmla="*/ 19785 h 329862"/>
                <a:gd name="connsiteX50" fmla="*/ 191515 w 3057977"/>
                <a:gd name="connsiteY50" fmla="*/ 139341 h 329862"/>
                <a:gd name="connsiteX51" fmla="*/ 2974485 w 3057977"/>
                <a:gd name="connsiteY51" fmla="*/ 105365 h 329862"/>
                <a:gd name="connsiteX52" fmla="*/ 2914666 w 3057977"/>
                <a:gd name="connsiteY52" fmla="*/ 132033 h 329862"/>
                <a:gd name="connsiteX53" fmla="*/ 2914666 w 3057977"/>
                <a:gd name="connsiteY53" fmla="*/ 2579 h 329862"/>
                <a:gd name="connsiteX54" fmla="*/ 2849678 w 3057977"/>
                <a:gd name="connsiteY54" fmla="*/ 2579 h 329862"/>
                <a:gd name="connsiteX55" fmla="*/ 2849678 w 3057977"/>
                <a:gd name="connsiteY55" fmla="*/ 325134 h 329862"/>
                <a:gd name="connsiteX56" fmla="*/ 2914666 w 3057977"/>
                <a:gd name="connsiteY56" fmla="*/ 325134 h 329862"/>
                <a:gd name="connsiteX57" fmla="*/ 2914666 w 3057977"/>
                <a:gd name="connsiteY57" fmla="*/ 220625 h 329862"/>
                <a:gd name="connsiteX58" fmla="*/ 2958133 w 3057977"/>
                <a:gd name="connsiteY58" fmla="*/ 164287 h 329862"/>
                <a:gd name="connsiteX59" fmla="*/ 2992989 w 3057977"/>
                <a:gd name="connsiteY59" fmla="*/ 212024 h 329862"/>
                <a:gd name="connsiteX60" fmla="*/ 2992989 w 3057977"/>
                <a:gd name="connsiteY60" fmla="*/ 325134 h 329862"/>
                <a:gd name="connsiteX61" fmla="*/ 3057978 w 3057977"/>
                <a:gd name="connsiteY61" fmla="*/ 325134 h 329862"/>
                <a:gd name="connsiteX62" fmla="*/ 3057978 w 3057977"/>
                <a:gd name="connsiteY62" fmla="*/ 200845 h 329862"/>
                <a:gd name="connsiteX63" fmla="*/ 2974485 w 3057977"/>
                <a:gd name="connsiteY63" fmla="*/ 105365 h 329862"/>
                <a:gd name="connsiteX64" fmla="*/ 2161587 w 3057977"/>
                <a:gd name="connsiteY64" fmla="*/ 105365 h 329862"/>
                <a:gd name="connsiteX65" fmla="*/ 2048399 w 3057977"/>
                <a:gd name="connsiteY65" fmla="*/ 217614 h 329862"/>
                <a:gd name="connsiteX66" fmla="*/ 2162877 w 3057977"/>
                <a:gd name="connsiteY66" fmla="*/ 329862 h 329862"/>
                <a:gd name="connsiteX67" fmla="*/ 2264015 w 3057977"/>
                <a:gd name="connsiteY67" fmla="*/ 282557 h 329862"/>
                <a:gd name="connsiteX68" fmla="*/ 2215812 w 3057977"/>
                <a:gd name="connsiteY68" fmla="*/ 246432 h 329862"/>
                <a:gd name="connsiteX69" fmla="*/ 2163738 w 3057977"/>
                <a:gd name="connsiteY69" fmla="*/ 270946 h 329862"/>
                <a:gd name="connsiteX70" fmla="*/ 2111232 w 3057977"/>
                <a:gd name="connsiteY70" fmla="*/ 233098 h 329862"/>
                <a:gd name="connsiteX71" fmla="*/ 2267458 w 3057977"/>
                <a:gd name="connsiteY71" fmla="*/ 233098 h 329862"/>
                <a:gd name="connsiteX72" fmla="*/ 2268748 w 3057977"/>
                <a:gd name="connsiteY72" fmla="*/ 210307 h 329862"/>
                <a:gd name="connsiteX73" fmla="*/ 2161587 w 3057977"/>
                <a:gd name="connsiteY73" fmla="*/ 105365 h 329862"/>
                <a:gd name="connsiteX74" fmla="*/ 2112955 w 3057977"/>
                <a:gd name="connsiteY74" fmla="*/ 190522 h 329862"/>
                <a:gd name="connsiteX75" fmla="*/ 2159864 w 3057977"/>
                <a:gd name="connsiteY75" fmla="*/ 158264 h 329862"/>
                <a:gd name="connsiteX76" fmla="*/ 2204192 w 3057977"/>
                <a:gd name="connsiteY76" fmla="*/ 190522 h 329862"/>
                <a:gd name="connsiteX77" fmla="*/ 2112955 w 3057977"/>
                <a:gd name="connsiteY77" fmla="*/ 190522 h 329862"/>
                <a:gd name="connsiteX78" fmla="*/ 822371 w 3057977"/>
                <a:gd name="connsiteY78" fmla="*/ 325134 h 329862"/>
                <a:gd name="connsiteX79" fmla="*/ 887360 w 3057977"/>
                <a:gd name="connsiteY79" fmla="*/ 325134 h 329862"/>
                <a:gd name="connsiteX80" fmla="*/ 887360 w 3057977"/>
                <a:gd name="connsiteY80" fmla="*/ 166437 h 329862"/>
                <a:gd name="connsiteX81" fmla="*/ 959661 w 3057977"/>
                <a:gd name="connsiteY81" fmla="*/ 166437 h 329862"/>
                <a:gd name="connsiteX82" fmla="*/ 959661 w 3057977"/>
                <a:gd name="connsiteY82" fmla="*/ 110098 h 329862"/>
                <a:gd name="connsiteX83" fmla="*/ 822371 w 3057977"/>
                <a:gd name="connsiteY83" fmla="*/ 110098 h 329862"/>
                <a:gd name="connsiteX84" fmla="*/ 822371 w 3057977"/>
                <a:gd name="connsiteY84" fmla="*/ 325134 h 329862"/>
                <a:gd name="connsiteX85" fmla="*/ 1942116 w 3057977"/>
                <a:gd name="connsiteY85" fmla="*/ 139341 h 329862"/>
                <a:gd name="connsiteX86" fmla="*/ 1819031 w 3057977"/>
                <a:gd name="connsiteY86" fmla="*/ 139341 h 329862"/>
                <a:gd name="connsiteX87" fmla="*/ 1819031 w 3057977"/>
                <a:gd name="connsiteY87" fmla="*/ 19785 h 329862"/>
                <a:gd name="connsiteX88" fmla="*/ 1750601 w 3057977"/>
                <a:gd name="connsiteY88" fmla="*/ 19785 h 329862"/>
                <a:gd name="connsiteX89" fmla="*/ 1750601 w 3057977"/>
                <a:gd name="connsiteY89" fmla="*/ 325134 h 329862"/>
                <a:gd name="connsiteX90" fmla="*/ 1819031 w 3057977"/>
                <a:gd name="connsiteY90" fmla="*/ 325134 h 329862"/>
                <a:gd name="connsiteX91" fmla="*/ 1819031 w 3057977"/>
                <a:gd name="connsiteY91" fmla="*/ 204284 h 329862"/>
                <a:gd name="connsiteX92" fmla="*/ 1942116 w 3057977"/>
                <a:gd name="connsiteY92" fmla="*/ 204284 h 329862"/>
                <a:gd name="connsiteX93" fmla="*/ 1942116 w 3057977"/>
                <a:gd name="connsiteY93" fmla="*/ 325134 h 329862"/>
                <a:gd name="connsiteX94" fmla="*/ 2010542 w 3057977"/>
                <a:gd name="connsiteY94" fmla="*/ 325134 h 329862"/>
                <a:gd name="connsiteX95" fmla="*/ 2010542 w 3057977"/>
                <a:gd name="connsiteY95" fmla="*/ 19785 h 329862"/>
                <a:gd name="connsiteX96" fmla="*/ 1942116 w 3057977"/>
                <a:gd name="connsiteY96" fmla="*/ 19785 h 329862"/>
                <a:gd name="connsiteX97" fmla="*/ 1942116 w 3057977"/>
                <a:gd name="connsiteY97" fmla="*/ 139341 h 329862"/>
                <a:gd name="connsiteX98" fmla="*/ 1060354 w 3057977"/>
                <a:gd name="connsiteY98" fmla="*/ 41715 h 329862"/>
                <a:gd name="connsiteX99" fmla="*/ 995366 w 3057977"/>
                <a:gd name="connsiteY99" fmla="*/ 110098 h 329862"/>
                <a:gd name="connsiteX100" fmla="*/ 995366 w 3057977"/>
                <a:gd name="connsiteY100" fmla="*/ 325134 h 329862"/>
                <a:gd name="connsiteX101" fmla="*/ 1060354 w 3057977"/>
                <a:gd name="connsiteY101" fmla="*/ 325134 h 329862"/>
                <a:gd name="connsiteX102" fmla="*/ 1060354 w 3057977"/>
                <a:gd name="connsiteY102" fmla="*/ 166437 h 329862"/>
                <a:gd name="connsiteX103" fmla="*/ 1120602 w 3057977"/>
                <a:gd name="connsiteY103" fmla="*/ 166437 h 329862"/>
                <a:gd name="connsiteX104" fmla="*/ 1120602 w 3057977"/>
                <a:gd name="connsiteY104" fmla="*/ 110098 h 329862"/>
                <a:gd name="connsiteX105" fmla="*/ 1060354 w 3057977"/>
                <a:gd name="connsiteY105" fmla="*/ 110098 h 329862"/>
                <a:gd name="connsiteX106" fmla="*/ 1060354 w 3057977"/>
                <a:gd name="connsiteY106" fmla="*/ 41715 h 329862"/>
                <a:gd name="connsiteX107" fmla="*/ 1507037 w 3057977"/>
                <a:gd name="connsiteY107" fmla="*/ 86446 h 329862"/>
                <a:gd name="connsiteX108" fmla="*/ 1507037 w 3057977"/>
                <a:gd name="connsiteY108" fmla="*/ 110098 h 329862"/>
                <a:gd name="connsiteX109" fmla="*/ 1464003 w 3057977"/>
                <a:gd name="connsiteY109" fmla="*/ 110098 h 329862"/>
                <a:gd name="connsiteX110" fmla="*/ 1464003 w 3057977"/>
                <a:gd name="connsiteY110" fmla="*/ 166437 h 329862"/>
                <a:gd name="connsiteX111" fmla="*/ 1507037 w 3057977"/>
                <a:gd name="connsiteY111" fmla="*/ 166437 h 329862"/>
                <a:gd name="connsiteX112" fmla="*/ 1507037 w 3057977"/>
                <a:gd name="connsiteY112" fmla="*/ 325134 h 329862"/>
                <a:gd name="connsiteX113" fmla="*/ 1572025 w 3057977"/>
                <a:gd name="connsiteY113" fmla="*/ 325134 h 329862"/>
                <a:gd name="connsiteX114" fmla="*/ 1572025 w 3057977"/>
                <a:gd name="connsiteY114" fmla="*/ 166437 h 329862"/>
                <a:gd name="connsiteX115" fmla="*/ 1632277 w 3057977"/>
                <a:gd name="connsiteY115" fmla="*/ 166437 h 329862"/>
                <a:gd name="connsiteX116" fmla="*/ 1632277 w 3057977"/>
                <a:gd name="connsiteY116" fmla="*/ 110098 h 329862"/>
                <a:gd name="connsiteX117" fmla="*/ 1572025 w 3057977"/>
                <a:gd name="connsiteY117" fmla="*/ 110098 h 329862"/>
                <a:gd name="connsiteX118" fmla="*/ 1572025 w 3057977"/>
                <a:gd name="connsiteY118" fmla="*/ 94614 h 329862"/>
                <a:gd name="connsiteX119" fmla="*/ 1609037 w 3057977"/>
                <a:gd name="connsiteY119" fmla="*/ 58060 h 329862"/>
                <a:gd name="connsiteX120" fmla="*/ 1632277 w 3057977"/>
                <a:gd name="connsiteY120" fmla="*/ 61928 h 329862"/>
                <a:gd name="connsiteX121" fmla="*/ 1632277 w 3057977"/>
                <a:gd name="connsiteY121" fmla="*/ 4729 h 329862"/>
                <a:gd name="connsiteX122" fmla="*/ 1593542 w 3057977"/>
                <a:gd name="connsiteY122" fmla="*/ 0 h 329862"/>
                <a:gd name="connsiteX123" fmla="*/ 1507037 w 3057977"/>
                <a:gd name="connsiteY123" fmla="*/ 86446 h 329862"/>
                <a:gd name="connsiteX124" fmla="*/ 2454649 w 3057977"/>
                <a:gd name="connsiteY124" fmla="*/ 131601 h 329862"/>
                <a:gd name="connsiteX125" fmla="*/ 2396115 w 3057977"/>
                <a:gd name="connsiteY125" fmla="*/ 105365 h 329862"/>
                <a:gd name="connsiteX126" fmla="*/ 2296271 w 3057977"/>
                <a:gd name="connsiteY126" fmla="*/ 217614 h 329862"/>
                <a:gd name="connsiteX127" fmla="*/ 2396115 w 3057977"/>
                <a:gd name="connsiteY127" fmla="*/ 329862 h 329862"/>
                <a:gd name="connsiteX128" fmla="*/ 2454649 w 3057977"/>
                <a:gd name="connsiteY128" fmla="*/ 303631 h 329862"/>
                <a:gd name="connsiteX129" fmla="*/ 2454649 w 3057977"/>
                <a:gd name="connsiteY129" fmla="*/ 325134 h 329862"/>
                <a:gd name="connsiteX130" fmla="*/ 2519633 w 3057977"/>
                <a:gd name="connsiteY130" fmla="*/ 325134 h 329862"/>
                <a:gd name="connsiteX131" fmla="*/ 2519633 w 3057977"/>
                <a:gd name="connsiteY131" fmla="*/ 110098 h 329862"/>
                <a:gd name="connsiteX132" fmla="*/ 2454649 w 3057977"/>
                <a:gd name="connsiteY132" fmla="*/ 110098 h 329862"/>
                <a:gd name="connsiteX133" fmla="*/ 2454649 w 3057977"/>
                <a:gd name="connsiteY133" fmla="*/ 131601 h 329862"/>
                <a:gd name="connsiteX134" fmla="*/ 2410749 w 3057977"/>
                <a:gd name="connsiteY134" fmla="*/ 270946 h 329862"/>
                <a:gd name="connsiteX135" fmla="*/ 2361688 w 3057977"/>
                <a:gd name="connsiteY135" fmla="*/ 217614 h 329862"/>
                <a:gd name="connsiteX136" fmla="*/ 2410749 w 3057977"/>
                <a:gd name="connsiteY136" fmla="*/ 164287 h 329862"/>
                <a:gd name="connsiteX137" fmla="*/ 2459809 w 3057977"/>
                <a:gd name="connsiteY137" fmla="*/ 217614 h 329862"/>
                <a:gd name="connsiteX138" fmla="*/ 2410749 w 3057977"/>
                <a:gd name="connsiteY138" fmla="*/ 270946 h 329862"/>
                <a:gd name="connsiteX139" fmla="*/ 1333613 w 3057977"/>
                <a:gd name="connsiteY139" fmla="*/ 105365 h 329862"/>
                <a:gd name="connsiteX140" fmla="*/ 1220430 w 3057977"/>
                <a:gd name="connsiteY140" fmla="*/ 217614 h 329862"/>
                <a:gd name="connsiteX141" fmla="*/ 1333613 w 3057977"/>
                <a:gd name="connsiteY141" fmla="*/ 329862 h 329862"/>
                <a:gd name="connsiteX142" fmla="*/ 1446801 w 3057977"/>
                <a:gd name="connsiteY142" fmla="*/ 217614 h 329862"/>
                <a:gd name="connsiteX143" fmla="*/ 1333613 w 3057977"/>
                <a:gd name="connsiteY143" fmla="*/ 105365 h 329862"/>
                <a:gd name="connsiteX144" fmla="*/ 1333613 w 3057977"/>
                <a:gd name="connsiteY144" fmla="*/ 269223 h 329862"/>
                <a:gd name="connsiteX145" fmla="*/ 1285843 w 3057977"/>
                <a:gd name="connsiteY145" fmla="*/ 217614 h 329862"/>
                <a:gd name="connsiteX146" fmla="*/ 1333613 w 3057977"/>
                <a:gd name="connsiteY146" fmla="*/ 166008 h 329862"/>
                <a:gd name="connsiteX147" fmla="*/ 1381388 w 3057977"/>
                <a:gd name="connsiteY147" fmla="*/ 217614 h 329862"/>
                <a:gd name="connsiteX148" fmla="*/ 1333613 w 3057977"/>
                <a:gd name="connsiteY148" fmla="*/ 269223 h 329862"/>
                <a:gd name="connsiteX149" fmla="*/ 2572976 w 3057977"/>
                <a:gd name="connsiteY149" fmla="*/ 325134 h 329862"/>
                <a:gd name="connsiteX150" fmla="*/ 2637965 w 3057977"/>
                <a:gd name="connsiteY150" fmla="*/ 325134 h 329862"/>
                <a:gd name="connsiteX151" fmla="*/ 2637965 w 3057977"/>
                <a:gd name="connsiteY151" fmla="*/ 2579 h 329862"/>
                <a:gd name="connsiteX152" fmla="*/ 2572976 w 3057977"/>
                <a:gd name="connsiteY152" fmla="*/ 2579 h 329862"/>
                <a:gd name="connsiteX153" fmla="*/ 2572976 w 3057977"/>
                <a:gd name="connsiteY153" fmla="*/ 325134 h 32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3057977" h="329862">
                  <a:moveTo>
                    <a:pt x="2756305" y="41715"/>
                  </a:moveTo>
                  <a:lnTo>
                    <a:pt x="2691317" y="110098"/>
                  </a:lnTo>
                  <a:lnTo>
                    <a:pt x="2691317" y="325134"/>
                  </a:lnTo>
                  <a:lnTo>
                    <a:pt x="2756305" y="325134"/>
                  </a:lnTo>
                  <a:lnTo>
                    <a:pt x="2756305" y="166437"/>
                  </a:lnTo>
                  <a:lnTo>
                    <a:pt x="2816553" y="166437"/>
                  </a:lnTo>
                  <a:lnTo>
                    <a:pt x="2816553" y="110098"/>
                  </a:lnTo>
                  <a:lnTo>
                    <a:pt x="2756305" y="110098"/>
                  </a:lnTo>
                  <a:lnTo>
                    <a:pt x="2756305" y="41715"/>
                  </a:lnTo>
                  <a:close/>
                  <a:moveTo>
                    <a:pt x="410985" y="105365"/>
                  </a:moveTo>
                  <a:cubicBezTo>
                    <a:pt x="345569" y="105365"/>
                    <a:pt x="297798" y="153536"/>
                    <a:pt x="297798" y="217614"/>
                  </a:cubicBezTo>
                  <a:cubicBezTo>
                    <a:pt x="297798" y="286858"/>
                    <a:pt x="349010" y="329862"/>
                    <a:pt x="412276" y="329862"/>
                  </a:cubicBezTo>
                  <a:cubicBezTo>
                    <a:pt x="457462" y="329862"/>
                    <a:pt x="493183" y="310943"/>
                    <a:pt x="513410" y="282557"/>
                  </a:cubicBezTo>
                  <a:lnTo>
                    <a:pt x="465211" y="246432"/>
                  </a:lnTo>
                  <a:cubicBezTo>
                    <a:pt x="457033" y="258901"/>
                    <a:pt x="438096" y="270946"/>
                    <a:pt x="413137" y="270946"/>
                  </a:cubicBezTo>
                  <a:cubicBezTo>
                    <a:pt x="388603" y="270946"/>
                    <a:pt x="364505" y="258901"/>
                    <a:pt x="360631" y="233098"/>
                  </a:cubicBezTo>
                  <a:lnTo>
                    <a:pt x="516856" y="233098"/>
                  </a:lnTo>
                  <a:cubicBezTo>
                    <a:pt x="518147" y="222775"/>
                    <a:pt x="518147" y="215896"/>
                    <a:pt x="518147" y="210307"/>
                  </a:cubicBezTo>
                  <a:cubicBezTo>
                    <a:pt x="518147" y="140634"/>
                    <a:pt x="467791" y="105365"/>
                    <a:pt x="410985" y="105365"/>
                  </a:cubicBezTo>
                  <a:close/>
                  <a:moveTo>
                    <a:pt x="362353" y="190522"/>
                  </a:moveTo>
                  <a:cubicBezTo>
                    <a:pt x="367947" y="166865"/>
                    <a:pt x="390326" y="158264"/>
                    <a:pt x="409263" y="158264"/>
                  </a:cubicBezTo>
                  <a:cubicBezTo>
                    <a:pt x="428199" y="158264"/>
                    <a:pt x="447998" y="167726"/>
                    <a:pt x="453591" y="190522"/>
                  </a:cubicBezTo>
                  <a:lnTo>
                    <a:pt x="362353" y="190522"/>
                  </a:lnTo>
                  <a:close/>
                  <a:moveTo>
                    <a:pt x="704043" y="131601"/>
                  </a:moveTo>
                  <a:cubicBezTo>
                    <a:pt x="695436" y="119989"/>
                    <a:pt x="674348" y="105365"/>
                    <a:pt x="645514" y="105365"/>
                  </a:cubicBezTo>
                  <a:cubicBezTo>
                    <a:pt x="589137" y="105365"/>
                    <a:pt x="545670" y="156547"/>
                    <a:pt x="545670" y="217614"/>
                  </a:cubicBezTo>
                  <a:cubicBezTo>
                    <a:pt x="545670" y="278686"/>
                    <a:pt x="589137" y="329862"/>
                    <a:pt x="645514" y="329862"/>
                  </a:cubicBezTo>
                  <a:cubicBezTo>
                    <a:pt x="674348" y="329862"/>
                    <a:pt x="695436" y="315244"/>
                    <a:pt x="704043" y="303631"/>
                  </a:cubicBezTo>
                  <a:lnTo>
                    <a:pt x="704043" y="325134"/>
                  </a:lnTo>
                  <a:lnTo>
                    <a:pt x="769032" y="325134"/>
                  </a:lnTo>
                  <a:lnTo>
                    <a:pt x="769032" y="110098"/>
                  </a:lnTo>
                  <a:lnTo>
                    <a:pt x="704043" y="110098"/>
                  </a:lnTo>
                  <a:lnTo>
                    <a:pt x="704043" y="131601"/>
                  </a:lnTo>
                  <a:close/>
                  <a:moveTo>
                    <a:pt x="660148" y="270946"/>
                  </a:moveTo>
                  <a:cubicBezTo>
                    <a:pt x="630881" y="270946"/>
                    <a:pt x="611087" y="248582"/>
                    <a:pt x="611087" y="217614"/>
                  </a:cubicBezTo>
                  <a:cubicBezTo>
                    <a:pt x="611087" y="186650"/>
                    <a:pt x="630881" y="164287"/>
                    <a:pt x="660148" y="164287"/>
                  </a:cubicBezTo>
                  <a:cubicBezTo>
                    <a:pt x="689414" y="164287"/>
                    <a:pt x="709208" y="186650"/>
                    <a:pt x="709208" y="217614"/>
                  </a:cubicBezTo>
                  <a:cubicBezTo>
                    <a:pt x="709208" y="248582"/>
                    <a:pt x="689414" y="270946"/>
                    <a:pt x="660148" y="270946"/>
                  </a:cubicBezTo>
                  <a:close/>
                  <a:moveTo>
                    <a:pt x="191515" y="139341"/>
                  </a:moveTo>
                  <a:lnTo>
                    <a:pt x="68426" y="139341"/>
                  </a:lnTo>
                  <a:lnTo>
                    <a:pt x="68426" y="19785"/>
                  </a:lnTo>
                  <a:lnTo>
                    <a:pt x="0" y="19785"/>
                  </a:lnTo>
                  <a:lnTo>
                    <a:pt x="0" y="229762"/>
                  </a:lnTo>
                  <a:lnTo>
                    <a:pt x="68426" y="298141"/>
                  </a:lnTo>
                  <a:lnTo>
                    <a:pt x="68426" y="204284"/>
                  </a:lnTo>
                  <a:lnTo>
                    <a:pt x="191515" y="204284"/>
                  </a:lnTo>
                  <a:lnTo>
                    <a:pt x="191515" y="325134"/>
                  </a:lnTo>
                  <a:lnTo>
                    <a:pt x="259941" y="325134"/>
                  </a:lnTo>
                  <a:lnTo>
                    <a:pt x="259941" y="19785"/>
                  </a:lnTo>
                  <a:lnTo>
                    <a:pt x="191515" y="19785"/>
                  </a:lnTo>
                  <a:lnTo>
                    <a:pt x="191515" y="139341"/>
                  </a:lnTo>
                  <a:close/>
                  <a:moveTo>
                    <a:pt x="2974485" y="105365"/>
                  </a:moveTo>
                  <a:cubicBezTo>
                    <a:pt x="2946513" y="105365"/>
                    <a:pt x="2924992" y="117410"/>
                    <a:pt x="2914666" y="132033"/>
                  </a:cubicBezTo>
                  <a:lnTo>
                    <a:pt x="2914666" y="2579"/>
                  </a:lnTo>
                  <a:lnTo>
                    <a:pt x="2849678" y="2579"/>
                  </a:lnTo>
                  <a:lnTo>
                    <a:pt x="2849678" y="325134"/>
                  </a:lnTo>
                  <a:lnTo>
                    <a:pt x="2914666" y="325134"/>
                  </a:lnTo>
                  <a:lnTo>
                    <a:pt x="2914666" y="220625"/>
                  </a:lnTo>
                  <a:cubicBezTo>
                    <a:pt x="2914666" y="181921"/>
                    <a:pt x="2933599" y="164287"/>
                    <a:pt x="2958133" y="164287"/>
                  </a:cubicBezTo>
                  <a:cubicBezTo>
                    <a:pt x="2981374" y="164287"/>
                    <a:pt x="2992989" y="182349"/>
                    <a:pt x="2992989" y="212024"/>
                  </a:cubicBezTo>
                  <a:lnTo>
                    <a:pt x="2992989" y="325134"/>
                  </a:lnTo>
                  <a:lnTo>
                    <a:pt x="3057978" y="325134"/>
                  </a:lnTo>
                  <a:lnTo>
                    <a:pt x="3057978" y="200845"/>
                  </a:lnTo>
                  <a:cubicBezTo>
                    <a:pt x="3057978" y="144502"/>
                    <a:pt x="3027421" y="105365"/>
                    <a:pt x="2974485" y="105365"/>
                  </a:cubicBezTo>
                  <a:close/>
                  <a:moveTo>
                    <a:pt x="2161587" y="105365"/>
                  </a:moveTo>
                  <a:cubicBezTo>
                    <a:pt x="2096170" y="105365"/>
                    <a:pt x="2048399" y="153536"/>
                    <a:pt x="2048399" y="217614"/>
                  </a:cubicBezTo>
                  <a:cubicBezTo>
                    <a:pt x="2048399" y="286858"/>
                    <a:pt x="2099612" y="329862"/>
                    <a:pt x="2162877" y="329862"/>
                  </a:cubicBezTo>
                  <a:cubicBezTo>
                    <a:pt x="2208067" y="329862"/>
                    <a:pt x="2243784" y="310943"/>
                    <a:pt x="2264015" y="282557"/>
                  </a:cubicBezTo>
                  <a:lnTo>
                    <a:pt x="2215812" y="246432"/>
                  </a:lnTo>
                  <a:cubicBezTo>
                    <a:pt x="2207634" y="258901"/>
                    <a:pt x="2188698" y="270946"/>
                    <a:pt x="2163738" y="270946"/>
                  </a:cubicBezTo>
                  <a:cubicBezTo>
                    <a:pt x="2139208" y="270946"/>
                    <a:pt x="2115106" y="258901"/>
                    <a:pt x="2111232" y="233098"/>
                  </a:cubicBezTo>
                  <a:lnTo>
                    <a:pt x="2267458" y="233098"/>
                  </a:lnTo>
                  <a:cubicBezTo>
                    <a:pt x="2268748" y="222775"/>
                    <a:pt x="2268748" y="215896"/>
                    <a:pt x="2268748" y="210307"/>
                  </a:cubicBezTo>
                  <a:cubicBezTo>
                    <a:pt x="2268748" y="140634"/>
                    <a:pt x="2218393" y="105365"/>
                    <a:pt x="2161587" y="105365"/>
                  </a:cubicBezTo>
                  <a:close/>
                  <a:moveTo>
                    <a:pt x="2112955" y="190522"/>
                  </a:moveTo>
                  <a:cubicBezTo>
                    <a:pt x="2118548" y="166865"/>
                    <a:pt x="2140927" y="158264"/>
                    <a:pt x="2159864" y="158264"/>
                  </a:cubicBezTo>
                  <a:cubicBezTo>
                    <a:pt x="2178800" y="158264"/>
                    <a:pt x="2198599" y="167726"/>
                    <a:pt x="2204192" y="190522"/>
                  </a:cubicBezTo>
                  <a:lnTo>
                    <a:pt x="2112955" y="190522"/>
                  </a:lnTo>
                  <a:close/>
                  <a:moveTo>
                    <a:pt x="822371" y="325134"/>
                  </a:moveTo>
                  <a:lnTo>
                    <a:pt x="887360" y="325134"/>
                  </a:lnTo>
                  <a:lnTo>
                    <a:pt x="887360" y="166437"/>
                  </a:lnTo>
                  <a:lnTo>
                    <a:pt x="959661" y="166437"/>
                  </a:lnTo>
                  <a:lnTo>
                    <a:pt x="959661" y="110098"/>
                  </a:lnTo>
                  <a:lnTo>
                    <a:pt x="822371" y="110098"/>
                  </a:lnTo>
                  <a:lnTo>
                    <a:pt x="822371" y="325134"/>
                  </a:lnTo>
                  <a:close/>
                  <a:moveTo>
                    <a:pt x="1942116" y="139341"/>
                  </a:moveTo>
                  <a:lnTo>
                    <a:pt x="1819031" y="139341"/>
                  </a:lnTo>
                  <a:lnTo>
                    <a:pt x="1819031" y="19785"/>
                  </a:lnTo>
                  <a:lnTo>
                    <a:pt x="1750601" y="19785"/>
                  </a:lnTo>
                  <a:lnTo>
                    <a:pt x="1750601" y="325134"/>
                  </a:lnTo>
                  <a:lnTo>
                    <a:pt x="1819031" y="325134"/>
                  </a:lnTo>
                  <a:lnTo>
                    <a:pt x="1819031" y="204284"/>
                  </a:lnTo>
                  <a:lnTo>
                    <a:pt x="1942116" y="204284"/>
                  </a:lnTo>
                  <a:lnTo>
                    <a:pt x="1942116" y="325134"/>
                  </a:lnTo>
                  <a:lnTo>
                    <a:pt x="2010542" y="325134"/>
                  </a:lnTo>
                  <a:lnTo>
                    <a:pt x="2010542" y="19785"/>
                  </a:lnTo>
                  <a:lnTo>
                    <a:pt x="1942116" y="19785"/>
                  </a:lnTo>
                  <a:lnTo>
                    <a:pt x="1942116" y="139341"/>
                  </a:lnTo>
                  <a:close/>
                  <a:moveTo>
                    <a:pt x="1060354" y="41715"/>
                  </a:moveTo>
                  <a:lnTo>
                    <a:pt x="995366" y="110098"/>
                  </a:lnTo>
                  <a:lnTo>
                    <a:pt x="995366" y="325134"/>
                  </a:lnTo>
                  <a:lnTo>
                    <a:pt x="1060354" y="325134"/>
                  </a:lnTo>
                  <a:lnTo>
                    <a:pt x="1060354" y="166437"/>
                  </a:lnTo>
                  <a:lnTo>
                    <a:pt x="1120602" y="166437"/>
                  </a:lnTo>
                  <a:lnTo>
                    <a:pt x="1120602" y="110098"/>
                  </a:lnTo>
                  <a:lnTo>
                    <a:pt x="1060354" y="110098"/>
                  </a:lnTo>
                  <a:lnTo>
                    <a:pt x="1060354" y="41715"/>
                  </a:lnTo>
                  <a:close/>
                  <a:moveTo>
                    <a:pt x="1507037" y="86446"/>
                  </a:moveTo>
                  <a:lnTo>
                    <a:pt x="1507037" y="110098"/>
                  </a:lnTo>
                  <a:lnTo>
                    <a:pt x="1464003" y="110098"/>
                  </a:lnTo>
                  <a:lnTo>
                    <a:pt x="1464003" y="166437"/>
                  </a:lnTo>
                  <a:lnTo>
                    <a:pt x="1507037" y="166437"/>
                  </a:lnTo>
                  <a:lnTo>
                    <a:pt x="1507037" y="325134"/>
                  </a:lnTo>
                  <a:lnTo>
                    <a:pt x="1572025" y="325134"/>
                  </a:lnTo>
                  <a:lnTo>
                    <a:pt x="1572025" y="166437"/>
                  </a:lnTo>
                  <a:lnTo>
                    <a:pt x="1632277" y="166437"/>
                  </a:lnTo>
                  <a:lnTo>
                    <a:pt x="1632277" y="110098"/>
                  </a:lnTo>
                  <a:lnTo>
                    <a:pt x="1572025" y="110098"/>
                  </a:lnTo>
                  <a:lnTo>
                    <a:pt x="1572025" y="94614"/>
                  </a:lnTo>
                  <a:cubicBezTo>
                    <a:pt x="1572025" y="68811"/>
                    <a:pt x="1582784" y="58060"/>
                    <a:pt x="1609037" y="58060"/>
                  </a:cubicBezTo>
                  <a:cubicBezTo>
                    <a:pt x="1618505" y="58060"/>
                    <a:pt x="1625389" y="59350"/>
                    <a:pt x="1632277" y="61928"/>
                  </a:cubicBezTo>
                  <a:lnTo>
                    <a:pt x="1632277" y="4729"/>
                  </a:lnTo>
                  <a:cubicBezTo>
                    <a:pt x="1622809" y="1718"/>
                    <a:pt x="1610756" y="0"/>
                    <a:pt x="1593542" y="0"/>
                  </a:cubicBezTo>
                  <a:cubicBezTo>
                    <a:pt x="1545772" y="0"/>
                    <a:pt x="1507037" y="31825"/>
                    <a:pt x="1507037" y="86446"/>
                  </a:cubicBezTo>
                  <a:close/>
                  <a:moveTo>
                    <a:pt x="2454649" y="131601"/>
                  </a:moveTo>
                  <a:cubicBezTo>
                    <a:pt x="2446037" y="119989"/>
                    <a:pt x="2424949" y="105365"/>
                    <a:pt x="2396115" y="105365"/>
                  </a:cubicBezTo>
                  <a:cubicBezTo>
                    <a:pt x="2339738" y="105365"/>
                    <a:pt x="2296271" y="156547"/>
                    <a:pt x="2296271" y="217614"/>
                  </a:cubicBezTo>
                  <a:cubicBezTo>
                    <a:pt x="2296271" y="278686"/>
                    <a:pt x="2339738" y="329862"/>
                    <a:pt x="2396115" y="329862"/>
                  </a:cubicBezTo>
                  <a:cubicBezTo>
                    <a:pt x="2424949" y="329862"/>
                    <a:pt x="2446037" y="315244"/>
                    <a:pt x="2454649" y="303631"/>
                  </a:cubicBezTo>
                  <a:lnTo>
                    <a:pt x="2454649" y="325134"/>
                  </a:lnTo>
                  <a:lnTo>
                    <a:pt x="2519633" y="325134"/>
                  </a:lnTo>
                  <a:lnTo>
                    <a:pt x="2519633" y="110098"/>
                  </a:lnTo>
                  <a:lnTo>
                    <a:pt x="2454649" y="110098"/>
                  </a:lnTo>
                  <a:lnTo>
                    <a:pt x="2454649" y="131601"/>
                  </a:lnTo>
                  <a:close/>
                  <a:moveTo>
                    <a:pt x="2410749" y="270946"/>
                  </a:moveTo>
                  <a:cubicBezTo>
                    <a:pt x="2381482" y="270946"/>
                    <a:pt x="2361688" y="248582"/>
                    <a:pt x="2361688" y="217614"/>
                  </a:cubicBezTo>
                  <a:cubicBezTo>
                    <a:pt x="2361688" y="186650"/>
                    <a:pt x="2381482" y="164287"/>
                    <a:pt x="2410749" y="164287"/>
                  </a:cubicBezTo>
                  <a:cubicBezTo>
                    <a:pt x="2440015" y="164287"/>
                    <a:pt x="2459809" y="186650"/>
                    <a:pt x="2459809" y="217614"/>
                  </a:cubicBezTo>
                  <a:cubicBezTo>
                    <a:pt x="2459809" y="248582"/>
                    <a:pt x="2440015" y="270946"/>
                    <a:pt x="2410749" y="270946"/>
                  </a:cubicBezTo>
                  <a:close/>
                  <a:moveTo>
                    <a:pt x="1333613" y="105365"/>
                  </a:moveTo>
                  <a:cubicBezTo>
                    <a:pt x="1271643" y="105365"/>
                    <a:pt x="1220430" y="154396"/>
                    <a:pt x="1220430" y="217614"/>
                  </a:cubicBezTo>
                  <a:cubicBezTo>
                    <a:pt x="1220430" y="280836"/>
                    <a:pt x="1271643" y="329862"/>
                    <a:pt x="1333613" y="329862"/>
                  </a:cubicBezTo>
                  <a:cubicBezTo>
                    <a:pt x="1395589" y="329862"/>
                    <a:pt x="1446801" y="280836"/>
                    <a:pt x="1446801" y="217614"/>
                  </a:cubicBezTo>
                  <a:cubicBezTo>
                    <a:pt x="1446801" y="154396"/>
                    <a:pt x="1395589" y="105365"/>
                    <a:pt x="1333613" y="105365"/>
                  </a:cubicBezTo>
                  <a:close/>
                  <a:moveTo>
                    <a:pt x="1333613" y="269223"/>
                  </a:moveTo>
                  <a:cubicBezTo>
                    <a:pt x="1306503" y="269223"/>
                    <a:pt x="1285843" y="248150"/>
                    <a:pt x="1285843" y="217614"/>
                  </a:cubicBezTo>
                  <a:cubicBezTo>
                    <a:pt x="1285843" y="187082"/>
                    <a:pt x="1306503" y="166008"/>
                    <a:pt x="1333613" y="166008"/>
                  </a:cubicBezTo>
                  <a:cubicBezTo>
                    <a:pt x="1360729" y="166008"/>
                    <a:pt x="1381388" y="187082"/>
                    <a:pt x="1381388" y="217614"/>
                  </a:cubicBezTo>
                  <a:cubicBezTo>
                    <a:pt x="1381388" y="248150"/>
                    <a:pt x="1360729" y="269223"/>
                    <a:pt x="1333613" y="269223"/>
                  </a:cubicBezTo>
                  <a:close/>
                  <a:moveTo>
                    <a:pt x="2572976" y="325134"/>
                  </a:moveTo>
                  <a:lnTo>
                    <a:pt x="2637965" y="325134"/>
                  </a:lnTo>
                  <a:lnTo>
                    <a:pt x="2637965" y="2579"/>
                  </a:lnTo>
                  <a:lnTo>
                    <a:pt x="2572976" y="2579"/>
                  </a:lnTo>
                  <a:lnTo>
                    <a:pt x="2572976" y="325134"/>
                  </a:lnTo>
                  <a:close/>
                </a:path>
              </a:pathLst>
            </a:custGeom>
            <a:grpFill/>
            <a:ln w="5137"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84FE729A-1E4A-563C-59CD-91DAFB6CA3B1}"/>
                </a:ext>
              </a:extLst>
            </p:cNvPr>
            <p:cNvSpPr/>
            <p:nvPr userDrawn="1"/>
          </p:nvSpPr>
          <p:spPr>
            <a:xfrm>
              <a:off x="3949314" y="1390164"/>
              <a:ext cx="253359" cy="499705"/>
            </a:xfrm>
            <a:custGeom>
              <a:avLst/>
              <a:gdLst>
                <a:gd name="connsiteX0" fmla="*/ 0 w 253359"/>
                <a:gd name="connsiteY0" fmla="*/ 499706 h 499705"/>
                <a:gd name="connsiteX1" fmla="*/ 140450 w 253359"/>
                <a:gd name="connsiteY1" fmla="*/ 499706 h 499705"/>
                <a:gd name="connsiteX2" fmla="*/ 140450 w 253359"/>
                <a:gd name="connsiteY2" fmla="*/ 128232 h 499705"/>
                <a:gd name="connsiteX3" fmla="*/ 253360 w 253359"/>
                <a:gd name="connsiteY3" fmla="*/ 128232 h 499705"/>
                <a:gd name="connsiteX4" fmla="*/ 253360 w 253359"/>
                <a:gd name="connsiteY4" fmla="*/ 0 h 499705"/>
                <a:gd name="connsiteX5" fmla="*/ 0 w 253359"/>
                <a:gd name="connsiteY5" fmla="*/ 0 h 499705"/>
                <a:gd name="connsiteX6" fmla="*/ 0 w 253359"/>
                <a:gd name="connsiteY6" fmla="*/ 499706 h 49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59" h="499705">
                  <a:moveTo>
                    <a:pt x="0" y="499706"/>
                  </a:moveTo>
                  <a:lnTo>
                    <a:pt x="140450" y="499706"/>
                  </a:lnTo>
                  <a:lnTo>
                    <a:pt x="140450" y="128232"/>
                  </a:lnTo>
                  <a:lnTo>
                    <a:pt x="253360" y="128232"/>
                  </a:lnTo>
                  <a:lnTo>
                    <a:pt x="253360" y="0"/>
                  </a:lnTo>
                  <a:lnTo>
                    <a:pt x="0" y="0"/>
                  </a:lnTo>
                  <a:lnTo>
                    <a:pt x="0" y="499706"/>
                  </a:lnTo>
                  <a:close/>
                </a:path>
              </a:pathLst>
            </a:custGeom>
            <a:grpFill/>
            <a:ln w="5137"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888927F5-B8D7-64A4-37E6-2B9CBA8218CB}"/>
                </a:ext>
              </a:extLst>
            </p:cNvPr>
            <p:cNvSpPr/>
            <p:nvPr userDrawn="1"/>
          </p:nvSpPr>
          <p:spPr>
            <a:xfrm>
              <a:off x="3101010" y="1308130"/>
              <a:ext cx="505511" cy="585726"/>
            </a:xfrm>
            <a:custGeom>
              <a:avLst/>
              <a:gdLst>
                <a:gd name="connsiteX0" fmla="*/ 355476 w 505511"/>
                <a:gd name="connsiteY0" fmla="*/ 315989 h 585726"/>
                <a:gd name="connsiteX1" fmla="*/ 353056 w 505511"/>
                <a:gd name="connsiteY1" fmla="*/ 352954 h 585726"/>
                <a:gd name="connsiteX2" fmla="*/ 353056 w 505511"/>
                <a:gd name="connsiteY2" fmla="*/ 352955 h 585726"/>
                <a:gd name="connsiteX3" fmla="*/ 353056 w 505511"/>
                <a:gd name="connsiteY3" fmla="*/ 352955 h 585726"/>
                <a:gd name="connsiteX4" fmla="*/ 353055 w 505511"/>
                <a:gd name="connsiteY4" fmla="*/ 352956 h 585726"/>
                <a:gd name="connsiteX5" fmla="*/ 0 w 505511"/>
                <a:gd name="connsiteY5" fmla="*/ 145 h 585726"/>
                <a:gd name="connsiteX6" fmla="*/ 0 w 505511"/>
                <a:gd name="connsiteY6" fmla="*/ 315985 h 585726"/>
                <a:gd name="connsiteX7" fmla="*/ 43692 w 505511"/>
                <a:gd name="connsiteY7" fmla="*/ 485017 h 585726"/>
                <a:gd name="connsiteX8" fmla="*/ 252755 w 505511"/>
                <a:gd name="connsiteY8" fmla="*/ 585727 h 585726"/>
                <a:gd name="connsiteX9" fmla="*/ 461818 w 505511"/>
                <a:gd name="connsiteY9" fmla="*/ 485017 h 585726"/>
                <a:gd name="connsiteX10" fmla="*/ 471151 w 505511"/>
                <a:gd name="connsiteY10" fmla="*/ 470971 h 585726"/>
                <a:gd name="connsiteX11" fmla="*/ 471149 w 505511"/>
                <a:gd name="connsiteY11" fmla="*/ 470966 h 585726"/>
                <a:gd name="connsiteX12" fmla="*/ 471154 w 505511"/>
                <a:gd name="connsiteY12" fmla="*/ 470971 h 585726"/>
                <a:gd name="connsiteX13" fmla="*/ 505512 w 505511"/>
                <a:gd name="connsiteY13" fmla="*/ 315985 h 585726"/>
                <a:gd name="connsiteX14" fmla="*/ 505512 w 505511"/>
                <a:gd name="connsiteY14" fmla="*/ 0 h 585726"/>
                <a:gd name="connsiteX15" fmla="*/ 355476 w 505511"/>
                <a:gd name="connsiteY15" fmla="*/ 0 h 585726"/>
                <a:gd name="connsiteX16" fmla="*/ 355476 w 505511"/>
                <a:gd name="connsiteY16" fmla="*/ 315989 h 5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511" h="585726">
                  <a:moveTo>
                    <a:pt x="355476" y="315989"/>
                  </a:moveTo>
                  <a:cubicBezTo>
                    <a:pt x="355476" y="327764"/>
                    <a:pt x="354716" y="340388"/>
                    <a:pt x="353056" y="352954"/>
                  </a:cubicBezTo>
                  <a:lnTo>
                    <a:pt x="353056" y="352955"/>
                  </a:lnTo>
                  <a:lnTo>
                    <a:pt x="353056" y="352955"/>
                  </a:lnTo>
                  <a:lnTo>
                    <a:pt x="353055" y="352956"/>
                  </a:lnTo>
                  <a:lnTo>
                    <a:pt x="0" y="145"/>
                  </a:lnTo>
                  <a:lnTo>
                    <a:pt x="0" y="315985"/>
                  </a:lnTo>
                  <a:cubicBezTo>
                    <a:pt x="0" y="407207"/>
                    <a:pt x="23587" y="458287"/>
                    <a:pt x="43692" y="485017"/>
                  </a:cubicBezTo>
                  <a:cubicBezTo>
                    <a:pt x="80015" y="533705"/>
                    <a:pt x="154006" y="585727"/>
                    <a:pt x="252755" y="585727"/>
                  </a:cubicBezTo>
                  <a:cubicBezTo>
                    <a:pt x="351504" y="585727"/>
                    <a:pt x="425495" y="533705"/>
                    <a:pt x="461818" y="485017"/>
                  </a:cubicBezTo>
                  <a:cubicBezTo>
                    <a:pt x="464881" y="480945"/>
                    <a:pt x="468023" y="476229"/>
                    <a:pt x="471151" y="470971"/>
                  </a:cubicBezTo>
                  <a:lnTo>
                    <a:pt x="471149" y="470966"/>
                  </a:lnTo>
                  <a:lnTo>
                    <a:pt x="471154" y="470971"/>
                  </a:lnTo>
                  <a:cubicBezTo>
                    <a:pt x="488562" y="441713"/>
                    <a:pt x="505512" y="393309"/>
                    <a:pt x="505512" y="315985"/>
                  </a:cubicBezTo>
                  <a:lnTo>
                    <a:pt x="505512" y="0"/>
                  </a:lnTo>
                  <a:lnTo>
                    <a:pt x="355476" y="0"/>
                  </a:lnTo>
                  <a:lnTo>
                    <a:pt x="355476" y="315989"/>
                  </a:lnTo>
                  <a:close/>
                </a:path>
              </a:pathLst>
            </a:custGeom>
            <a:grpFill/>
            <a:ln w="5137"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AE928469-A0DA-264C-63D2-590C12653298}"/>
                </a:ext>
              </a:extLst>
            </p:cNvPr>
            <p:cNvSpPr/>
            <p:nvPr userDrawn="1"/>
          </p:nvSpPr>
          <p:spPr>
            <a:xfrm>
              <a:off x="3673483" y="1249299"/>
              <a:ext cx="231681" cy="640570"/>
            </a:xfrm>
            <a:custGeom>
              <a:avLst/>
              <a:gdLst>
                <a:gd name="connsiteX0" fmla="*/ 140478 w 231681"/>
                <a:gd name="connsiteY0" fmla="*/ 0 h 640570"/>
                <a:gd name="connsiteX1" fmla="*/ 0 w 231681"/>
                <a:gd name="connsiteY1" fmla="*/ 140892 h 640570"/>
                <a:gd name="connsiteX2" fmla="*/ 0 w 231681"/>
                <a:gd name="connsiteY2" fmla="*/ 640571 h 640570"/>
                <a:gd name="connsiteX3" fmla="*/ 140478 w 231681"/>
                <a:gd name="connsiteY3" fmla="*/ 640571 h 640570"/>
                <a:gd name="connsiteX4" fmla="*/ 140478 w 231681"/>
                <a:gd name="connsiteY4" fmla="*/ 269097 h 640570"/>
                <a:gd name="connsiteX5" fmla="*/ 231682 w 231681"/>
                <a:gd name="connsiteY5" fmla="*/ 269097 h 640570"/>
                <a:gd name="connsiteX6" fmla="*/ 231682 w 231681"/>
                <a:gd name="connsiteY6" fmla="*/ 140865 h 640570"/>
                <a:gd name="connsiteX7" fmla="*/ 140478 w 231681"/>
                <a:gd name="connsiteY7" fmla="*/ 140865 h 640570"/>
                <a:gd name="connsiteX8" fmla="*/ 140478 w 231681"/>
                <a:gd name="connsiteY8" fmla="*/ 0 h 6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1" h="640570">
                  <a:moveTo>
                    <a:pt x="140478" y="0"/>
                  </a:moveTo>
                  <a:lnTo>
                    <a:pt x="0" y="140892"/>
                  </a:lnTo>
                  <a:lnTo>
                    <a:pt x="0" y="640571"/>
                  </a:lnTo>
                  <a:lnTo>
                    <a:pt x="140478" y="640571"/>
                  </a:lnTo>
                  <a:lnTo>
                    <a:pt x="140478" y="269097"/>
                  </a:lnTo>
                  <a:lnTo>
                    <a:pt x="231682" y="269097"/>
                  </a:lnTo>
                  <a:lnTo>
                    <a:pt x="231682" y="140865"/>
                  </a:lnTo>
                  <a:lnTo>
                    <a:pt x="140478" y="140865"/>
                  </a:lnTo>
                  <a:lnTo>
                    <a:pt x="140478" y="0"/>
                  </a:lnTo>
                  <a:close/>
                </a:path>
              </a:pathLst>
            </a:custGeom>
            <a:grpFill/>
            <a:ln w="5137"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82F7930D-B941-8493-FEF7-7D800A415B0D}"/>
                </a:ext>
              </a:extLst>
            </p:cNvPr>
            <p:cNvSpPr/>
            <p:nvPr userDrawn="1"/>
          </p:nvSpPr>
          <p:spPr>
            <a:xfrm>
              <a:off x="4205135" y="1390191"/>
              <a:ext cx="494644" cy="503830"/>
            </a:xfrm>
            <a:custGeom>
              <a:avLst/>
              <a:gdLst>
                <a:gd name="connsiteX0" fmla="*/ 249286 w 494644"/>
                <a:gd name="connsiteY0" fmla="*/ 0 h 503830"/>
                <a:gd name="connsiteX1" fmla="*/ 0 w 494644"/>
                <a:gd name="connsiteY1" fmla="*/ 253494 h 503830"/>
                <a:gd name="connsiteX2" fmla="*/ 250093 w 494644"/>
                <a:gd name="connsiteY2" fmla="*/ 503831 h 503830"/>
                <a:gd name="connsiteX3" fmla="*/ 440167 w 494644"/>
                <a:gd name="connsiteY3" fmla="*/ 430832 h 503830"/>
                <a:gd name="connsiteX4" fmla="*/ 348316 w 494644"/>
                <a:gd name="connsiteY4" fmla="*/ 339221 h 503830"/>
                <a:gd name="connsiteX5" fmla="*/ 255661 w 494644"/>
                <a:gd name="connsiteY5" fmla="*/ 372252 h 503830"/>
                <a:gd name="connsiteX6" fmla="*/ 169176 w 494644"/>
                <a:gd name="connsiteY6" fmla="*/ 335645 h 503830"/>
                <a:gd name="connsiteX7" fmla="*/ 156844 w 494644"/>
                <a:gd name="connsiteY7" fmla="*/ 320823 h 503830"/>
                <a:gd name="connsiteX8" fmla="*/ 154195 w 494644"/>
                <a:gd name="connsiteY8" fmla="*/ 316859 h 503830"/>
                <a:gd name="connsiteX9" fmla="*/ 154142 w 494644"/>
                <a:gd name="connsiteY9" fmla="*/ 316859 h 503830"/>
                <a:gd name="connsiteX10" fmla="*/ 143840 w 494644"/>
                <a:gd name="connsiteY10" fmla="*/ 297923 h 503830"/>
                <a:gd name="connsiteX11" fmla="*/ 488956 w 494644"/>
                <a:gd name="connsiteY11" fmla="*/ 297923 h 503830"/>
                <a:gd name="connsiteX12" fmla="*/ 494645 w 494644"/>
                <a:gd name="connsiteY12" fmla="*/ 246358 h 503830"/>
                <a:gd name="connsiteX13" fmla="*/ 249286 w 494644"/>
                <a:gd name="connsiteY13" fmla="*/ 0 h 503830"/>
                <a:gd name="connsiteX14" fmla="*/ 149206 w 494644"/>
                <a:gd name="connsiteY14" fmla="*/ 197293 h 503830"/>
                <a:gd name="connsiteX15" fmla="*/ 250093 w 494644"/>
                <a:gd name="connsiteY15" fmla="*/ 131403 h 503830"/>
                <a:gd name="connsiteX16" fmla="*/ 347052 w 494644"/>
                <a:gd name="connsiteY16" fmla="*/ 197293 h 503830"/>
                <a:gd name="connsiteX17" fmla="*/ 149206 w 494644"/>
                <a:gd name="connsiteY17" fmla="*/ 197293 h 5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644" h="503830">
                  <a:moveTo>
                    <a:pt x="249286" y="0"/>
                  </a:moveTo>
                  <a:cubicBezTo>
                    <a:pt x="93248" y="0"/>
                    <a:pt x="0" y="128904"/>
                    <a:pt x="0" y="253494"/>
                  </a:cubicBezTo>
                  <a:cubicBezTo>
                    <a:pt x="0" y="393875"/>
                    <a:pt x="109856" y="503831"/>
                    <a:pt x="250093" y="503831"/>
                  </a:cubicBezTo>
                  <a:cubicBezTo>
                    <a:pt x="322859" y="503831"/>
                    <a:pt x="390678" y="477505"/>
                    <a:pt x="440167" y="430832"/>
                  </a:cubicBezTo>
                  <a:lnTo>
                    <a:pt x="348316" y="339221"/>
                  </a:lnTo>
                  <a:cubicBezTo>
                    <a:pt x="319968" y="362926"/>
                    <a:pt x="294726" y="371527"/>
                    <a:pt x="255661" y="372252"/>
                  </a:cubicBezTo>
                  <a:cubicBezTo>
                    <a:pt x="221731" y="371930"/>
                    <a:pt x="191177" y="357967"/>
                    <a:pt x="169176" y="335645"/>
                  </a:cubicBezTo>
                  <a:cubicBezTo>
                    <a:pt x="164657" y="331036"/>
                    <a:pt x="160583" y="326077"/>
                    <a:pt x="156844" y="320823"/>
                  </a:cubicBezTo>
                  <a:cubicBezTo>
                    <a:pt x="155983" y="319492"/>
                    <a:pt x="154975" y="318162"/>
                    <a:pt x="154195" y="316859"/>
                  </a:cubicBezTo>
                  <a:lnTo>
                    <a:pt x="154142" y="316859"/>
                  </a:lnTo>
                  <a:cubicBezTo>
                    <a:pt x="150201" y="310851"/>
                    <a:pt x="146651" y="304575"/>
                    <a:pt x="143840" y="297923"/>
                  </a:cubicBezTo>
                  <a:lnTo>
                    <a:pt x="488956" y="297923"/>
                  </a:lnTo>
                  <a:cubicBezTo>
                    <a:pt x="491659" y="284968"/>
                    <a:pt x="494645" y="267202"/>
                    <a:pt x="494645" y="246358"/>
                  </a:cubicBezTo>
                  <a:cubicBezTo>
                    <a:pt x="494645" y="125262"/>
                    <a:pt x="402889" y="0"/>
                    <a:pt x="249286" y="0"/>
                  </a:cubicBezTo>
                  <a:close/>
                  <a:moveTo>
                    <a:pt x="149206" y="197293"/>
                  </a:moveTo>
                  <a:cubicBezTo>
                    <a:pt x="172376" y="140408"/>
                    <a:pt x="221462" y="131403"/>
                    <a:pt x="250093" y="131403"/>
                  </a:cubicBezTo>
                  <a:cubicBezTo>
                    <a:pt x="298963" y="131403"/>
                    <a:pt x="332892" y="154666"/>
                    <a:pt x="347052" y="197293"/>
                  </a:cubicBezTo>
                  <a:lnTo>
                    <a:pt x="149206" y="197293"/>
                  </a:lnTo>
                  <a:close/>
                </a:path>
              </a:pathLst>
            </a:custGeom>
            <a:grpFill/>
            <a:ln w="5137"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73944585-3255-445B-77D0-BED0C3373BAB}"/>
                </a:ext>
              </a:extLst>
            </p:cNvPr>
            <p:cNvSpPr/>
            <p:nvPr userDrawn="1"/>
          </p:nvSpPr>
          <p:spPr>
            <a:xfrm>
              <a:off x="5744743" y="1249097"/>
              <a:ext cx="231682" cy="640772"/>
            </a:xfrm>
            <a:custGeom>
              <a:avLst/>
              <a:gdLst>
                <a:gd name="connsiteX0" fmla="*/ 140451 w 231682"/>
                <a:gd name="connsiteY0" fmla="*/ 140879 h 640772"/>
                <a:gd name="connsiteX1" fmla="*/ 140451 w 231682"/>
                <a:gd name="connsiteY1" fmla="*/ 0 h 640772"/>
                <a:gd name="connsiteX2" fmla="*/ 0 w 231682"/>
                <a:gd name="connsiteY2" fmla="*/ 141094 h 640772"/>
                <a:gd name="connsiteX3" fmla="*/ 0 w 231682"/>
                <a:gd name="connsiteY3" fmla="*/ 640772 h 640772"/>
                <a:gd name="connsiteX4" fmla="*/ 140451 w 231682"/>
                <a:gd name="connsiteY4" fmla="*/ 640772 h 640772"/>
                <a:gd name="connsiteX5" fmla="*/ 140451 w 231682"/>
                <a:gd name="connsiteY5" fmla="*/ 269111 h 640772"/>
                <a:gd name="connsiteX6" fmla="*/ 231682 w 231682"/>
                <a:gd name="connsiteY6" fmla="*/ 269111 h 640772"/>
                <a:gd name="connsiteX7" fmla="*/ 231682 w 231682"/>
                <a:gd name="connsiteY7" fmla="*/ 140879 h 640772"/>
                <a:gd name="connsiteX8" fmla="*/ 140451 w 231682"/>
                <a:gd name="connsiteY8" fmla="*/ 140879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82" h="640772">
                  <a:moveTo>
                    <a:pt x="140451" y="140879"/>
                  </a:moveTo>
                  <a:lnTo>
                    <a:pt x="140451" y="0"/>
                  </a:lnTo>
                  <a:lnTo>
                    <a:pt x="0" y="141094"/>
                  </a:lnTo>
                  <a:lnTo>
                    <a:pt x="0" y="640772"/>
                  </a:lnTo>
                  <a:lnTo>
                    <a:pt x="140451" y="640772"/>
                  </a:lnTo>
                  <a:lnTo>
                    <a:pt x="140451" y="269111"/>
                  </a:lnTo>
                  <a:lnTo>
                    <a:pt x="231682" y="269111"/>
                  </a:lnTo>
                  <a:lnTo>
                    <a:pt x="231682" y="140879"/>
                  </a:lnTo>
                  <a:lnTo>
                    <a:pt x="140451" y="140879"/>
                  </a:lnTo>
                  <a:close/>
                </a:path>
              </a:pathLst>
            </a:custGeom>
            <a:grpFill/>
            <a:ln w="5137"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42CDB8F1-3639-AA01-363E-42815B8D7358}"/>
                </a:ext>
              </a:extLst>
            </p:cNvPr>
            <p:cNvSpPr/>
            <p:nvPr userDrawn="1"/>
          </p:nvSpPr>
          <p:spPr>
            <a:xfrm>
              <a:off x="5249774" y="1249098"/>
              <a:ext cx="426087" cy="640772"/>
            </a:xfrm>
            <a:custGeom>
              <a:avLst/>
              <a:gdLst>
                <a:gd name="connsiteX0" fmla="*/ 237910 w 426087"/>
                <a:gd name="connsiteY0" fmla="*/ 141456 h 640772"/>
                <a:gd name="connsiteX1" fmla="*/ 140977 w 426087"/>
                <a:gd name="connsiteY1" fmla="*/ 168763 h 640772"/>
                <a:gd name="connsiteX2" fmla="*/ 140977 w 426087"/>
                <a:gd name="connsiteY2" fmla="*/ 0 h 640772"/>
                <a:gd name="connsiteX3" fmla="*/ 526 w 426087"/>
                <a:gd name="connsiteY3" fmla="*/ 141094 h 640772"/>
                <a:gd name="connsiteX4" fmla="*/ 526 w 426087"/>
                <a:gd name="connsiteY4" fmla="*/ 640772 h 640772"/>
                <a:gd name="connsiteX5" fmla="*/ 140977 w 426087"/>
                <a:gd name="connsiteY5" fmla="*/ 640772 h 640772"/>
                <a:gd name="connsiteX6" fmla="*/ 140977 w 426087"/>
                <a:gd name="connsiteY6" fmla="*/ 390207 h 640772"/>
                <a:gd name="connsiteX7" fmla="*/ 212506 w 426087"/>
                <a:gd name="connsiteY7" fmla="*/ 272873 h 640772"/>
                <a:gd name="connsiteX8" fmla="*/ 285637 w 426087"/>
                <a:gd name="connsiteY8" fmla="*/ 388622 h 640772"/>
                <a:gd name="connsiteX9" fmla="*/ 285637 w 426087"/>
                <a:gd name="connsiteY9" fmla="*/ 640772 h 640772"/>
                <a:gd name="connsiteX10" fmla="*/ 426088 w 426087"/>
                <a:gd name="connsiteY10" fmla="*/ 640772 h 640772"/>
                <a:gd name="connsiteX11" fmla="*/ 426088 w 426087"/>
                <a:gd name="connsiteY11" fmla="*/ 365654 h 640772"/>
                <a:gd name="connsiteX12" fmla="*/ 387425 w 426087"/>
                <a:gd name="connsiteY12" fmla="*/ 215464 h 640772"/>
                <a:gd name="connsiteX13" fmla="*/ 237910 w 426087"/>
                <a:gd name="connsiteY13" fmla="*/ 141456 h 6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087" h="640772">
                  <a:moveTo>
                    <a:pt x="237910" y="141456"/>
                  </a:moveTo>
                  <a:cubicBezTo>
                    <a:pt x="201802" y="141456"/>
                    <a:pt x="169299" y="150622"/>
                    <a:pt x="140977" y="168763"/>
                  </a:cubicBezTo>
                  <a:lnTo>
                    <a:pt x="140977" y="0"/>
                  </a:lnTo>
                  <a:lnTo>
                    <a:pt x="526" y="141094"/>
                  </a:lnTo>
                  <a:cubicBezTo>
                    <a:pt x="526" y="141094"/>
                    <a:pt x="-657" y="624928"/>
                    <a:pt x="526" y="640772"/>
                  </a:cubicBezTo>
                  <a:lnTo>
                    <a:pt x="140977" y="640772"/>
                  </a:lnTo>
                  <a:lnTo>
                    <a:pt x="140977" y="390207"/>
                  </a:lnTo>
                  <a:cubicBezTo>
                    <a:pt x="140977" y="307962"/>
                    <a:pt x="162346" y="272873"/>
                    <a:pt x="212506" y="272873"/>
                  </a:cubicBezTo>
                  <a:cubicBezTo>
                    <a:pt x="265129" y="272873"/>
                    <a:pt x="285637" y="305315"/>
                    <a:pt x="285637" y="388622"/>
                  </a:cubicBezTo>
                  <a:lnTo>
                    <a:pt x="285637" y="640772"/>
                  </a:lnTo>
                  <a:lnTo>
                    <a:pt x="426088" y="640772"/>
                  </a:lnTo>
                  <a:lnTo>
                    <a:pt x="426088" y="365654"/>
                  </a:lnTo>
                  <a:cubicBezTo>
                    <a:pt x="426088" y="330324"/>
                    <a:pt x="426088" y="264541"/>
                    <a:pt x="387425" y="215464"/>
                  </a:cubicBezTo>
                  <a:cubicBezTo>
                    <a:pt x="352621" y="171196"/>
                    <a:pt x="292549" y="141456"/>
                    <a:pt x="237910" y="141456"/>
                  </a:cubicBezTo>
                  <a:close/>
                </a:path>
              </a:pathLst>
            </a:custGeom>
            <a:grpFill/>
            <a:ln w="5137"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9B8A3F50-9704-6E1D-1327-6961174BEC3A}"/>
                </a:ext>
              </a:extLst>
            </p:cNvPr>
            <p:cNvSpPr/>
            <p:nvPr userDrawn="1"/>
          </p:nvSpPr>
          <p:spPr>
            <a:xfrm>
              <a:off x="4738873" y="1390105"/>
              <a:ext cx="461077" cy="503997"/>
            </a:xfrm>
            <a:custGeom>
              <a:avLst/>
              <a:gdLst>
                <a:gd name="connsiteX0" fmla="*/ 251827 w 461077"/>
                <a:gd name="connsiteY0" fmla="*/ 131516 h 503997"/>
                <a:gd name="connsiteX1" fmla="*/ 254221 w 461077"/>
                <a:gd name="connsiteY1" fmla="*/ 131355 h 503997"/>
                <a:gd name="connsiteX2" fmla="*/ 358765 w 461077"/>
                <a:gd name="connsiteY2" fmla="*/ 181495 h 503997"/>
                <a:gd name="connsiteX3" fmla="*/ 371447 w 461077"/>
                <a:gd name="connsiteY3" fmla="*/ 194222 h 503997"/>
                <a:gd name="connsiteX4" fmla="*/ 461078 w 461077"/>
                <a:gd name="connsiteY4" fmla="*/ 104666 h 503997"/>
                <a:gd name="connsiteX5" fmla="*/ 450642 w 461077"/>
                <a:gd name="connsiteY5" fmla="*/ 92437 h 503997"/>
                <a:gd name="connsiteX6" fmla="*/ 251356 w 461077"/>
                <a:gd name="connsiteY6" fmla="*/ 5 h 503997"/>
                <a:gd name="connsiteX7" fmla="*/ 248990 w 461077"/>
                <a:gd name="connsiteY7" fmla="*/ 166 h 503997"/>
                <a:gd name="connsiteX8" fmla="*/ 0 w 461077"/>
                <a:gd name="connsiteY8" fmla="*/ 250503 h 503997"/>
                <a:gd name="connsiteX9" fmla="*/ 252325 w 461077"/>
                <a:gd name="connsiteY9" fmla="*/ 503998 h 503997"/>
                <a:gd name="connsiteX10" fmla="*/ 450670 w 461077"/>
                <a:gd name="connsiteY10" fmla="*/ 411472 h 503997"/>
                <a:gd name="connsiteX11" fmla="*/ 461078 w 461077"/>
                <a:gd name="connsiteY11" fmla="*/ 399270 h 503997"/>
                <a:gd name="connsiteX12" fmla="*/ 371501 w 461077"/>
                <a:gd name="connsiteY12" fmla="*/ 309619 h 503997"/>
                <a:gd name="connsiteX13" fmla="*/ 358820 w 461077"/>
                <a:gd name="connsiteY13" fmla="*/ 322400 h 503997"/>
                <a:gd name="connsiteX14" fmla="*/ 254638 w 461077"/>
                <a:gd name="connsiteY14" fmla="*/ 372567 h 503997"/>
                <a:gd name="connsiteX15" fmla="*/ 140477 w 461077"/>
                <a:gd name="connsiteY15" fmla="*/ 252102 h 503997"/>
                <a:gd name="connsiteX16" fmla="*/ 251827 w 461077"/>
                <a:gd name="connsiteY16" fmla="*/ 131516 h 50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077" h="503997">
                  <a:moveTo>
                    <a:pt x="251827" y="131516"/>
                  </a:moveTo>
                  <a:lnTo>
                    <a:pt x="254221" y="131355"/>
                  </a:lnTo>
                  <a:cubicBezTo>
                    <a:pt x="301975" y="131624"/>
                    <a:pt x="319753" y="142536"/>
                    <a:pt x="358765" y="181495"/>
                  </a:cubicBezTo>
                  <a:lnTo>
                    <a:pt x="371447" y="194222"/>
                  </a:lnTo>
                  <a:lnTo>
                    <a:pt x="461078" y="104666"/>
                  </a:lnTo>
                  <a:lnTo>
                    <a:pt x="450642" y="92437"/>
                  </a:lnTo>
                  <a:cubicBezTo>
                    <a:pt x="397899" y="30753"/>
                    <a:pt x="330687" y="-438"/>
                    <a:pt x="251356" y="5"/>
                  </a:cubicBezTo>
                  <a:lnTo>
                    <a:pt x="248990" y="166"/>
                  </a:lnTo>
                  <a:cubicBezTo>
                    <a:pt x="111511" y="1214"/>
                    <a:pt x="0" y="113092"/>
                    <a:pt x="0" y="250503"/>
                  </a:cubicBezTo>
                  <a:cubicBezTo>
                    <a:pt x="0" y="407077"/>
                    <a:pt x="130674" y="503998"/>
                    <a:pt x="252325" y="503998"/>
                  </a:cubicBezTo>
                  <a:cubicBezTo>
                    <a:pt x="331426" y="503998"/>
                    <a:pt x="398141" y="472873"/>
                    <a:pt x="450670" y="411472"/>
                  </a:cubicBezTo>
                  <a:lnTo>
                    <a:pt x="461078" y="399270"/>
                  </a:lnTo>
                  <a:lnTo>
                    <a:pt x="371501" y="309619"/>
                  </a:lnTo>
                  <a:lnTo>
                    <a:pt x="358820" y="322400"/>
                  </a:lnTo>
                  <a:cubicBezTo>
                    <a:pt x="319524" y="361614"/>
                    <a:pt x="302109" y="372258"/>
                    <a:pt x="254638" y="372567"/>
                  </a:cubicBezTo>
                  <a:cubicBezTo>
                    <a:pt x="189549" y="372016"/>
                    <a:pt x="140477" y="320223"/>
                    <a:pt x="140477" y="252102"/>
                  </a:cubicBezTo>
                  <a:cubicBezTo>
                    <a:pt x="140477" y="169319"/>
                    <a:pt x="198210" y="131570"/>
                    <a:pt x="251827" y="131516"/>
                  </a:cubicBezTo>
                  <a:close/>
                </a:path>
              </a:pathLst>
            </a:custGeom>
            <a:grpFill/>
            <a:ln w="5137" cap="flat">
              <a:noFill/>
              <a:prstDash val="solid"/>
              <a:miter/>
            </a:ln>
          </p:spPr>
          <p:txBody>
            <a:bodyPr rtlCol="0" anchor="ctr"/>
            <a:lstStyle/>
            <a:p>
              <a:endParaRPr lang="nl-NL"/>
            </a:p>
          </p:txBody>
        </p:sp>
      </p:grpSp>
    </p:spTree>
    <p:extLst>
      <p:ext uri="{BB962C8B-B14F-4D97-AF65-F5344CB8AC3E}">
        <p14:creationId xmlns:p14="http://schemas.microsoft.com/office/powerpoint/2010/main" val="41772112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320121-3EF4-4A51-D089-28AAF439F2D2}"/>
              </a:ext>
            </a:extLst>
          </p:cNvPr>
          <p:cNvSpPr>
            <a:spLocks noGrp="1"/>
          </p:cNvSpPr>
          <p:nvPr>
            <p:ph type="ctrTitle"/>
          </p:nvPr>
        </p:nvSpPr>
        <p:spPr>
          <a:xfrm>
            <a:off x="1137600" y="2991989"/>
            <a:ext cx="9939707" cy="874022"/>
          </a:xfrm>
        </p:spPr>
        <p:txBody>
          <a:bodyPr/>
          <a:lstStyle/>
          <a:p>
            <a:r>
              <a:rPr lang="en-GB" dirty="0"/>
              <a:t>Lorem ipsum </a:t>
            </a:r>
            <a:r>
              <a:rPr lang="en-GB" dirty="0" err="1"/>
              <a:t>dolor</a:t>
            </a:r>
            <a:r>
              <a:rPr lang="en-GB" dirty="0"/>
              <a:t> sit </a:t>
            </a:r>
            <a:r>
              <a:rPr lang="en-GB" dirty="0" err="1"/>
              <a:t>amet</a:t>
            </a:r>
            <a:endParaRPr lang="en-GB" dirty="0"/>
          </a:p>
        </p:txBody>
      </p:sp>
    </p:spTree>
    <p:extLst>
      <p:ext uri="{BB962C8B-B14F-4D97-AF65-F5344CB8AC3E}">
        <p14:creationId xmlns:p14="http://schemas.microsoft.com/office/powerpoint/2010/main" val="419012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495823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ECF4D6-4388-E9DB-5607-1C18962C378D}"/>
              </a:ext>
            </a:extLst>
          </p:cNvPr>
          <p:cNvSpPr>
            <a:spLocks noGrp="1"/>
          </p:cNvSpPr>
          <p:nvPr>
            <p:ph type="ctrTitle"/>
          </p:nvPr>
        </p:nvSpPr>
        <p:spPr>
          <a:xfrm>
            <a:off x="1137600" y="2991989"/>
            <a:ext cx="9842677" cy="874022"/>
          </a:xfrm>
        </p:spPr>
        <p:txBody>
          <a:bodyPr/>
          <a:lstStyle/>
          <a:p>
            <a:r>
              <a:rPr lang="en-GB" dirty="0"/>
              <a:t>Lorem ipsum </a:t>
            </a:r>
            <a:r>
              <a:rPr lang="en-GB" dirty="0" err="1"/>
              <a:t>dolor</a:t>
            </a:r>
            <a:r>
              <a:rPr lang="en-GB" dirty="0"/>
              <a:t> sit </a:t>
            </a:r>
            <a:r>
              <a:rPr lang="en-GB" dirty="0" err="1"/>
              <a:t>amet</a:t>
            </a:r>
            <a:endParaRPr lang="en-GB" dirty="0"/>
          </a:p>
        </p:txBody>
      </p:sp>
    </p:spTree>
    <p:extLst>
      <p:ext uri="{BB962C8B-B14F-4D97-AF65-F5344CB8AC3E}">
        <p14:creationId xmlns:p14="http://schemas.microsoft.com/office/powerpoint/2010/main" val="9347117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Tijdelijke aanduiding voor afbeelding 3" descr="Afbeelding met overdekt, vloer&#10;&#10;Door AI gegenereerde inhoud is mogelijk onjuist.">
            <a:extLst>
              <a:ext uri="{FF2B5EF4-FFF2-40B4-BE49-F238E27FC236}">
                <a16:creationId xmlns:a16="http://schemas.microsoft.com/office/drawing/2014/main" id="{3ACC867C-C917-4F06-BF99-8E62A994879B}"/>
              </a:ext>
            </a:extLst>
          </p:cNvPr>
          <p:cNvPicPr>
            <a:picLocks noGrp="1" noChangeAspect="1"/>
          </p:cNvPicPr>
          <p:nvPr>
            <p:ph type="pic" sz="quarter" idx="10"/>
          </p:nvPr>
        </p:nvPicPr>
        <p:blipFill>
          <a:blip r:embed="rId2">
            <a:extLst>
              <a:ext uri="{28A0092B-C50C-407E-A947-70E740481C1C}">
                <a14:useLocalDpi xmlns:a14="http://schemas.microsoft.com/office/drawing/2010/main"/>
              </a:ext>
            </a:extLst>
          </a:blip>
          <a:srcRect/>
          <a:stretch/>
        </p:blipFill>
        <p:spPr>
          <a:xfrm>
            <a:off x="0" y="546736"/>
            <a:ext cx="8858789" cy="6311263"/>
          </a:xfrm>
        </p:spPr>
      </p:pic>
    </p:spTree>
    <p:extLst>
      <p:ext uri="{BB962C8B-B14F-4D97-AF65-F5344CB8AC3E}">
        <p14:creationId xmlns:p14="http://schemas.microsoft.com/office/powerpoint/2010/main" val="36217498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5B3F8-D5E7-2E1A-1E0B-A32B21C85936}"/>
            </a:ext>
          </a:extLst>
        </p:cNvPr>
        <p:cNvGrpSpPr/>
        <p:nvPr/>
      </p:nvGrpSpPr>
      <p:grpSpPr>
        <a:xfrm>
          <a:off x="0" y="0"/>
          <a:ext cx="0" cy="0"/>
          <a:chOff x="0" y="0"/>
          <a:chExt cx="0" cy="0"/>
        </a:xfrm>
      </p:grpSpPr>
      <p:pic>
        <p:nvPicPr>
          <p:cNvPr id="5" name="Tijdelijke aanduiding voor afbeelding 4">
            <a:extLst>
              <a:ext uri="{FF2B5EF4-FFF2-40B4-BE49-F238E27FC236}">
                <a16:creationId xmlns:a16="http://schemas.microsoft.com/office/drawing/2014/main" id="{6EEE292B-355C-1723-C7ED-B4DB28212C37}"/>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a:ext>
            </a:extLst>
          </a:blip>
          <a:srcRect t="5" r="4216" b="4221"/>
          <a:stretch/>
        </p:blipFill>
        <p:spPr>
          <a:xfrm>
            <a:off x="0" y="585773"/>
            <a:ext cx="6096000" cy="6272226"/>
          </a:xfrm>
        </p:spPr>
      </p:pic>
      <p:sp>
        <p:nvSpPr>
          <p:cNvPr id="3" name="Titel 2">
            <a:extLst>
              <a:ext uri="{FF2B5EF4-FFF2-40B4-BE49-F238E27FC236}">
                <a16:creationId xmlns:a16="http://schemas.microsoft.com/office/drawing/2014/main" id="{0B8189C0-7AEF-7ED9-584E-63BBC9A98285}"/>
              </a:ext>
            </a:extLst>
          </p:cNvPr>
          <p:cNvSpPr>
            <a:spLocks noGrp="1"/>
          </p:cNvSpPr>
          <p:nvPr>
            <p:ph type="title"/>
          </p:nvPr>
        </p:nvSpPr>
        <p:spPr/>
        <p:txBody>
          <a:bodyPr/>
          <a:lstStyle/>
          <a:p>
            <a:endParaRPr lang="en-GB"/>
          </a:p>
        </p:txBody>
      </p:sp>
    </p:spTree>
    <p:extLst>
      <p:ext uri="{BB962C8B-B14F-4D97-AF65-F5344CB8AC3E}">
        <p14:creationId xmlns:p14="http://schemas.microsoft.com/office/powerpoint/2010/main" val="17938808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5E6DF0-0BDD-DF96-F354-13C10EDC2E67}"/>
            </a:ext>
          </a:extLst>
        </p:cNvPr>
        <p:cNvGrpSpPr/>
        <p:nvPr/>
      </p:nvGrpSpPr>
      <p:grpSpPr>
        <a:xfrm>
          <a:off x="0" y="0"/>
          <a:ext cx="0" cy="0"/>
          <a:chOff x="0" y="0"/>
          <a:chExt cx="0" cy="0"/>
        </a:xfrm>
      </p:grpSpPr>
      <p:pic>
        <p:nvPicPr>
          <p:cNvPr id="5" name="Tijdelijke aanduiding voor afbeelding 4">
            <a:extLst>
              <a:ext uri="{FF2B5EF4-FFF2-40B4-BE49-F238E27FC236}">
                <a16:creationId xmlns:a16="http://schemas.microsoft.com/office/drawing/2014/main" id="{DC918C52-3F5C-CAFA-CF90-0C9E791E4F58}"/>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a:ext>
            </a:extLst>
          </a:blip>
          <a:srcRect/>
          <a:stretch/>
        </p:blipFill>
        <p:spPr>
          <a:xfrm>
            <a:off x="0" y="585788"/>
            <a:ext cx="6096000" cy="6272212"/>
          </a:xfrm>
        </p:spPr>
      </p:pic>
      <p:sp>
        <p:nvSpPr>
          <p:cNvPr id="2" name="Titel 7">
            <a:extLst>
              <a:ext uri="{FF2B5EF4-FFF2-40B4-BE49-F238E27FC236}">
                <a16:creationId xmlns:a16="http://schemas.microsoft.com/office/drawing/2014/main" id="{2F6CB540-54AA-4C8D-C979-5E892D021C11}"/>
              </a:ext>
            </a:extLst>
          </p:cNvPr>
          <p:cNvSpPr>
            <a:spLocks noGrp="1"/>
          </p:cNvSpPr>
          <p:nvPr>
            <p:ph type="title"/>
          </p:nvPr>
        </p:nvSpPr>
        <p:spPr>
          <a:xfrm>
            <a:off x="7092000" y="1728000"/>
            <a:ext cx="4500000" cy="3492000"/>
          </a:xfrm>
        </p:spPr>
        <p:txBody>
          <a:bodyPr/>
          <a:lstStyle/>
          <a:p>
            <a:r>
              <a:rPr lang="nl-NL" dirty="0"/>
              <a:t># waar </a:t>
            </a:r>
            <a:br>
              <a:rPr lang="nl-NL" dirty="0"/>
            </a:br>
            <a:r>
              <a:rPr lang="nl-NL" dirty="0"/>
              <a:t>met </a:t>
            </a:r>
            <a:r>
              <a:rPr lang="nl-NL" dirty="0">
                <a:solidFill>
                  <a:schemeClr val="accent6"/>
                </a:solidFill>
              </a:rPr>
              <a:t>elkaar verbonden </a:t>
            </a:r>
            <a:br>
              <a:rPr lang="nl-NL" dirty="0"/>
            </a:br>
            <a:r>
              <a:rPr lang="nl-NL" dirty="0"/>
              <a:t>zijn ons </a:t>
            </a:r>
            <a:br>
              <a:rPr lang="nl-NL" dirty="0"/>
            </a:br>
            <a:r>
              <a:rPr lang="nl-NL" dirty="0">
                <a:solidFill>
                  <a:schemeClr val="accent6"/>
                </a:solidFill>
              </a:rPr>
              <a:t>vitaal</a:t>
            </a:r>
            <a:r>
              <a:rPr lang="nl-NL" dirty="0"/>
              <a:t> houdt</a:t>
            </a:r>
            <a:endParaRPr lang="en-GB" dirty="0"/>
          </a:p>
        </p:txBody>
      </p:sp>
    </p:spTree>
    <p:extLst>
      <p:ext uri="{BB962C8B-B14F-4D97-AF65-F5344CB8AC3E}">
        <p14:creationId xmlns:p14="http://schemas.microsoft.com/office/powerpoint/2010/main" val="5481086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jdelijke aanduiding voor afbeelding 4" descr="Afbeelding met buitenshuis, boom, hemel, wolk&#10;&#10;Door AI gegenereerde inhoud is mogelijk onjuist.">
            <a:extLst>
              <a:ext uri="{FF2B5EF4-FFF2-40B4-BE49-F238E27FC236}">
                <a16:creationId xmlns:a16="http://schemas.microsoft.com/office/drawing/2014/main" id="{B19A8646-9DAE-C1F8-6606-0D79620C6C91}"/>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a:ext>
            </a:extLst>
          </a:blip>
          <a:srcRect/>
          <a:stretch/>
        </p:blipFill>
        <p:spPr>
          <a:xfrm>
            <a:off x="0" y="585788"/>
            <a:ext cx="6096000" cy="6272212"/>
          </a:xfrm>
        </p:spPr>
      </p:pic>
      <p:sp>
        <p:nvSpPr>
          <p:cNvPr id="3" name="Titel 2">
            <a:extLst>
              <a:ext uri="{FF2B5EF4-FFF2-40B4-BE49-F238E27FC236}">
                <a16:creationId xmlns:a16="http://schemas.microsoft.com/office/drawing/2014/main" id="{20B522E7-93C5-CD66-4538-23829677CFAE}"/>
              </a:ext>
            </a:extLst>
          </p:cNvPr>
          <p:cNvSpPr>
            <a:spLocks noGrp="1"/>
          </p:cNvSpPr>
          <p:nvPr>
            <p:ph type="title"/>
          </p:nvPr>
        </p:nvSpPr>
        <p:spPr>
          <a:xfrm>
            <a:off x="6588125" y="1697757"/>
            <a:ext cx="5016500" cy="3462486"/>
          </a:xfrm>
        </p:spPr>
        <p:txBody>
          <a:bodyPr/>
          <a:lstStyle/>
          <a:p>
            <a:r>
              <a:rPr lang="nl-NL" dirty="0"/>
              <a:t># Het </a:t>
            </a:r>
            <a:br>
              <a:rPr lang="nl-NL" dirty="0"/>
            </a:br>
            <a:r>
              <a:rPr lang="nl-NL" dirty="0"/>
              <a:t>kloppende hart </a:t>
            </a:r>
            <a:br>
              <a:rPr lang="nl-NL" dirty="0"/>
            </a:br>
            <a:r>
              <a:rPr lang="nl-NL" dirty="0"/>
              <a:t>van een </a:t>
            </a:r>
            <a:r>
              <a:rPr lang="nl-NL" dirty="0">
                <a:solidFill>
                  <a:schemeClr val="accent2"/>
                </a:solidFill>
              </a:rPr>
              <a:t>gezonde</a:t>
            </a:r>
            <a:r>
              <a:rPr lang="nl-NL" dirty="0"/>
              <a:t> samenleving</a:t>
            </a:r>
            <a:endParaRPr lang="en-GB" dirty="0"/>
          </a:p>
        </p:txBody>
      </p:sp>
    </p:spTree>
    <p:extLst>
      <p:ext uri="{BB962C8B-B14F-4D97-AF65-F5344CB8AC3E}">
        <p14:creationId xmlns:p14="http://schemas.microsoft.com/office/powerpoint/2010/main" val="26501018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9EB83-5C07-380D-6791-38E98D56B3C9}"/>
            </a:ext>
          </a:extLst>
        </p:cNvPr>
        <p:cNvGrpSpPr/>
        <p:nvPr/>
      </p:nvGrpSpPr>
      <p:grpSpPr>
        <a:xfrm>
          <a:off x="0" y="0"/>
          <a:ext cx="0" cy="0"/>
          <a:chOff x="0" y="0"/>
          <a:chExt cx="0" cy="0"/>
        </a:xfrm>
      </p:grpSpPr>
      <p:pic>
        <p:nvPicPr>
          <p:cNvPr id="5" name="Tijdelijke aanduiding voor afbeelding 4">
            <a:extLst>
              <a:ext uri="{FF2B5EF4-FFF2-40B4-BE49-F238E27FC236}">
                <a16:creationId xmlns:a16="http://schemas.microsoft.com/office/drawing/2014/main" id="{0DD1F487-DD08-C125-8DB9-C80C644487D9}"/>
              </a:ext>
            </a:extLst>
          </p:cNvPr>
          <p:cNvPicPr>
            <a:picLocks noGrp="1" noChangeAspect="1"/>
          </p:cNvPicPr>
          <p:nvPr>
            <p:ph type="pic" sz="quarter" idx="10"/>
          </p:nvPr>
        </p:nvPicPr>
        <p:blipFill>
          <a:blip r:embed="rId2">
            <a:extLst>
              <a:ext uri="{28A0092B-C50C-407E-A947-70E740481C1C}">
                <a14:useLocalDpi xmlns:a14="http://schemas.microsoft.com/office/drawing/2010/main"/>
              </a:ext>
            </a:extLst>
          </a:blip>
          <a:srcRect/>
          <a:stretch/>
        </p:blipFill>
        <p:spPr>
          <a:xfrm>
            <a:off x="0" y="585788"/>
            <a:ext cx="6096000" cy="6272212"/>
          </a:xfrm>
        </p:spPr>
      </p:pic>
      <p:sp>
        <p:nvSpPr>
          <p:cNvPr id="3" name="Titel 2">
            <a:extLst>
              <a:ext uri="{FF2B5EF4-FFF2-40B4-BE49-F238E27FC236}">
                <a16:creationId xmlns:a16="http://schemas.microsoft.com/office/drawing/2014/main" id="{7DBF8DD4-F679-92BF-F16E-34084BA31F63}"/>
              </a:ext>
            </a:extLst>
          </p:cNvPr>
          <p:cNvSpPr>
            <a:spLocks noGrp="1"/>
          </p:cNvSpPr>
          <p:nvPr>
            <p:ph type="title"/>
          </p:nvPr>
        </p:nvSpPr>
        <p:spPr>
          <a:xfrm>
            <a:off x="6588125" y="2390254"/>
            <a:ext cx="5016500" cy="2077492"/>
          </a:xfrm>
        </p:spPr>
        <p:txBody>
          <a:bodyPr/>
          <a:lstStyle/>
          <a:p>
            <a:pPr algn="l"/>
            <a:r>
              <a:rPr lang="nl-NL" dirty="0">
                <a:solidFill>
                  <a:schemeClr val="bg1"/>
                </a:solidFill>
              </a:rPr>
              <a:t># Waar we ons verplaatsen </a:t>
            </a:r>
            <a:r>
              <a:rPr lang="nl-NL" dirty="0">
                <a:solidFill>
                  <a:schemeClr val="accent2"/>
                </a:solidFill>
              </a:rPr>
              <a:t>zonder uitstoot</a:t>
            </a:r>
          </a:p>
        </p:txBody>
      </p:sp>
    </p:spTree>
    <p:extLst>
      <p:ext uri="{BB962C8B-B14F-4D97-AF65-F5344CB8AC3E}">
        <p14:creationId xmlns:p14="http://schemas.microsoft.com/office/powerpoint/2010/main" val="2169437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descr="Afbeelding met buitenshuis, wolk, hemel, gras&#10;&#10;Door AI gegenereerde inhoud is mogelijk onjuist.">
            <a:extLst>
              <a:ext uri="{FF2B5EF4-FFF2-40B4-BE49-F238E27FC236}">
                <a16:creationId xmlns:a16="http://schemas.microsoft.com/office/drawing/2014/main" id="{19A71EBD-6DD8-A581-413E-82E0D5459E19}"/>
              </a:ext>
            </a:extLst>
          </p:cNvPr>
          <p:cNvPicPr>
            <a:picLocks noGrp="1" noChangeAspect="1"/>
          </p:cNvPicPr>
          <p:nvPr>
            <p:ph type="pic" sz="quarter" idx="19"/>
          </p:nvPr>
        </p:nvPicPr>
        <p:blipFill>
          <a:blip r:embed="rId2">
            <a:extLst>
              <a:ext uri="{28A0092B-C50C-407E-A947-70E740481C1C}">
                <a14:useLocalDpi xmlns:a14="http://schemas.microsoft.com/office/drawing/2010/main"/>
              </a:ext>
            </a:extLst>
          </a:blip>
          <a:srcRect/>
          <a:stretch>
            <a:fillRect/>
          </a:stretch>
        </p:blipFill>
        <p:spPr/>
      </p:pic>
      <p:sp>
        <p:nvSpPr>
          <p:cNvPr id="3" name="Titel 2">
            <a:extLst>
              <a:ext uri="{FF2B5EF4-FFF2-40B4-BE49-F238E27FC236}">
                <a16:creationId xmlns:a16="http://schemas.microsoft.com/office/drawing/2014/main" id="{2C3C0B45-D562-0D26-2A36-EBC76FAF5571}"/>
              </a:ext>
            </a:extLst>
          </p:cNvPr>
          <p:cNvSpPr>
            <a:spLocks noGrp="1"/>
          </p:cNvSpPr>
          <p:nvPr>
            <p:ph type="title"/>
          </p:nvPr>
        </p:nvSpPr>
        <p:spPr>
          <a:xfrm>
            <a:off x="6588049" y="2736502"/>
            <a:ext cx="4476826" cy="1384995"/>
          </a:xfrm>
        </p:spPr>
        <p:txBody>
          <a:bodyPr/>
          <a:lstStyle/>
          <a:p>
            <a:r>
              <a:rPr lang="en-GB" dirty="0" err="1"/>
              <a:t>Bedankt</a:t>
            </a:r>
            <a:r>
              <a:rPr lang="en-GB" dirty="0"/>
              <a:t> </a:t>
            </a:r>
            <a:r>
              <a:rPr lang="en-GB" dirty="0" err="1"/>
              <a:t>voor</a:t>
            </a:r>
            <a:r>
              <a:rPr lang="en-GB" dirty="0"/>
              <a:t> </a:t>
            </a:r>
            <a:r>
              <a:rPr lang="en-GB" dirty="0" err="1"/>
              <a:t>uw</a:t>
            </a:r>
            <a:r>
              <a:rPr lang="en-GB" dirty="0"/>
              <a:t> </a:t>
            </a:r>
            <a:r>
              <a:rPr lang="en-GB" dirty="0" err="1"/>
              <a:t>aandacht</a:t>
            </a:r>
            <a:r>
              <a:rPr lang="en-GB" dirty="0"/>
              <a:t>!</a:t>
            </a:r>
          </a:p>
        </p:txBody>
      </p:sp>
      <p:sp>
        <p:nvSpPr>
          <p:cNvPr id="4" name="Ondertitel 3">
            <a:extLst>
              <a:ext uri="{FF2B5EF4-FFF2-40B4-BE49-F238E27FC236}">
                <a16:creationId xmlns:a16="http://schemas.microsoft.com/office/drawing/2014/main" id="{64F40DE1-6457-E1BB-2AD4-592CFA955CDC}"/>
              </a:ext>
            </a:extLst>
          </p:cNvPr>
          <p:cNvSpPr>
            <a:spLocks noGrp="1"/>
          </p:cNvSpPr>
          <p:nvPr>
            <p:ph type="subTitle" idx="1"/>
          </p:nvPr>
        </p:nvSpPr>
        <p:spPr/>
        <p:txBody>
          <a:bodyPr/>
          <a:lstStyle/>
          <a:p>
            <a:r>
              <a:rPr lang="en-GB" dirty="0" err="1"/>
              <a:t>Heartofhealth.com</a:t>
            </a:r>
            <a:endParaRPr lang="en-GB" dirty="0"/>
          </a:p>
        </p:txBody>
      </p:sp>
      <p:sp>
        <p:nvSpPr>
          <p:cNvPr id="5" name="Tijdelijke aanduiding voor inhoud 4">
            <a:extLst>
              <a:ext uri="{FF2B5EF4-FFF2-40B4-BE49-F238E27FC236}">
                <a16:creationId xmlns:a16="http://schemas.microsoft.com/office/drawing/2014/main" id="{AB8080E3-C44F-2ABE-1C19-64D76C18ED5F}"/>
              </a:ext>
            </a:extLst>
          </p:cNvPr>
          <p:cNvSpPr>
            <a:spLocks noGrp="1"/>
          </p:cNvSpPr>
          <p:nvPr>
            <p:ph idx="17"/>
          </p:nvPr>
        </p:nvSpPr>
        <p:spPr/>
        <p:txBody>
          <a:bodyPr/>
          <a:lstStyle/>
          <a:p>
            <a:r>
              <a:rPr lang="en-GB" dirty="0"/>
              <a:t>Datum</a:t>
            </a:r>
          </a:p>
        </p:txBody>
      </p:sp>
    </p:spTree>
    <p:extLst>
      <p:ext uri="{BB962C8B-B14F-4D97-AF65-F5344CB8AC3E}">
        <p14:creationId xmlns:p14="http://schemas.microsoft.com/office/powerpoint/2010/main" val="37505598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C27F86-C0E1-6D64-C493-D0CC944DFF26}"/>
              </a:ext>
            </a:extLst>
          </p:cNvPr>
          <p:cNvSpPr>
            <a:spLocks noGrp="1"/>
          </p:cNvSpPr>
          <p:nvPr>
            <p:ph type="ctrTitle"/>
          </p:nvPr>
        </p:nvSpPr>
        <p:spPr/>
        <p:txBody>
          <a:bodyPr/>
          <a:lstStyle/>
          <a:p>
            <a:endParaRPr lang="en-GB"/>
          </a:p>
        </p:txBody>
      </p:sp>
      <p:sp>
        <p:nvSpPr>
          <p:cNvPr id="3" name="Ondertitel 2">
            <a:extLst>
              <a:ext uri="{FF2B5EF4-FFF2-40B4-BE49-F238E27FC236}">
                <a16:creationId xmlns:a16="http://schemas.microsoft.com/office/drawing/2014/main" id="{C7B8A63C-4AA9-2498-743D-60290C6C2082}"/>
              </a:ext>
            </a:extLst>
          </p:cNvPr>
          <p:cNvSpPr>
            <a:spLocks noGrp="1"/>
          </p:cNvSpPr>
          <p:nvPr>
            <p:ph type="subTitle" idx="1"/>
          </p:nvPr>
        </p:nvSpPr>
        <p:spPr/>
        <p:txBody>
          <a:bodyPr/>
          <a:lstStyle/>
          <a:p>
            <a:endParaRPr lang="en-GB"/>
          </a:p>
        </p:txBody>
      </p:sp>
      <p:sp>
        <p:nvSpPr>
          <p:cNvPr id="4" name="Tijdelijke aanduiding voor tekst 3">
            <a:extLst>
              <a:ext uri="{FF2B5EF4-FFF2-40B4-BE49-F238E27FC236}">
                <a16:creationId xmlns:a16="http://schemas.microsoft.com/office/drawing/2014/main" id="{2DB5A18C-741D-FA52-5664-A12D16627C05}"/>
              </a:ext>
            </a:extLst>
          </p:cNvPr>
          <p:cNvSpPr>
            <a:spLocks noGrp="1"/>
          </p:cNvSpPr>
          <p:nvPr>
            <p:ph type="body" sz="quarter" idx="19"/>
          </p:nvPr>
        </p:nvSpPr>
        <p:spPr/>
        <p:txBody>
          <a:bodyPr/>
          <a:lstStyle/>
          <a:p>
            <a:endParaRPr lang="en-GB"/>
          </a:p>
        </p:txBody>
      </p:sp>
      <p:sp>
        <p:nvSpPr>
          <p:cNvPr id="5" name="Tijdelijke aanduiding voor afbeelding 4">
            <a:extLst>
              <a:ext uri="{FF2B5EF4-FFF2-40B4-BE49-F238E27FC236}">
                <a16:creationId xmlns:a16="http://schemas.microsoft.com/office/drawing/2014/main" id="{717A3F04-0EF0-B708-5FB6-3C062A55777D}"/>
              </a:ext>
            </a:extLst>
          </p:cNvPr>
          <p:cNvSpPr>
            <a:spLocks noGrp="1"/>
          </p:cNvSpPr>
          <p:nvPr>
            <p:ph type="pic" sz="quarter" idx="20"/>
          </p:nvPr>
        </p:nvSpPr>
        <p:spPr/>
        <p:txBody>
          <a:bodyPr/>
          <a:lstStyle/>
          <a:p>
            <a:endParaRPr lang="en-GB"/>
          </a:p>
        </p:txBody>
      </p:sp>
    </p:spTree>
    <p:extLst>
      <p:ext uri="{BB962C8B-B14F-4D97-AF65-F5344CB8AC3E}">
        <p14:creationId xmlns:p14="http://schemas.microsoft.com/office/powerpoint/2010/main" val="19336776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56B0AF-AD92-FD6D-3B35-4A3724DD0563}"/>
              </a:ext>
            </a:extLst>
          </p:cNvPr>
          <p:cNvSpPr>
            <a:spLocks noGrp="1"/>
          </p:cNvSpPr>
          <p:nvPr>
            <p:ph type="title"/>
          </p:nvPr>
        </p:nvSpPr>
        <p:spPr/>
        <p:txBody>
          <a:bodyPr/>
          <a:lstStyle/>
          <a:p>
            <a:r>
              <a:rPr lang="en-GB" dirty="0">
                <a:solidFill>
                  <a:schemeClr val="accent1"/>
                </a:solidFill>
              </a:rPr>
              <a:t>EBU </a:t>
            </a:r>
            <a:r>
              <a:rPr lang="en-GB" dirty="0" err="1">
                <a:solidFill>
                  <a:schemeClr val="accent1"/>
                </a:solidFill>
              </a:rPr>
              <a:t>boardmembers</a:t>
            </a:r>
            <a:endParaRPr lang="en-GB" dirty="0"/>
          </a:p>
        </p:txBody>
      </p:sp>
      <p:pic>
        <p:nvPicPr>
          <p:cNvPr id="4" name="Picture 59">
            <a:extLst>
              <a:ext uri="{FF2B5EF4-FFF2-40B4-BE49-F238E27FC236}">
                <a16:creationId xmlns:a16="http://schemas.microsoft.com/office/drawing/2014/main" id="{9E8B511E-C00D-6CDA-439A-0A002C45BF0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026352" y="4018959"/>
            <a:ext cx="1488017" cy="827337"/>
          </a:xfrm>
          <a:prstGeom prst="rect">
            <a:avLst/>
          </a:prstGeom>
        </p:spPr>
      </p:pic>
      <p:pic>
        <p:nvPicPr>
          <p:cNvPr id="5" name="Picture 11" descr="Logo, company name&#10;&#10;Description automatically generated">
            <a:extLst>
              <a:ext uri="{FF2B5EF4-FFF2-40B4-BE49-F238E27FC236}">
                <a16:creationId xmlns:a16="http://schemas.microsoft.com/office/drawing/2014/main" id="{A929143C-3AB7-3BDF-B7E3-58A35B9AB23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9124" y="1378606"/>
            <a:ext cx="1315412" cy="250798"/>
          </a:xfrm>
          <a:prstGeom prst="rect">
            <a:avLst/>
          </a:prstGeom>
        </p:spPr>
      </p:pic>
      <p:pic>
        <p:nvPicPr>
          <p:cNvPr id="6" name="Picture 17" descr="Icon&#10;&#10;Description automatically generated with medium confidence">
            <a:extLst>
              <a:ext uri="{FF2B5EF4-FFF2-40B4-BE49-F238E27FC236}">
                <a16:creationId xmlns:a16="http://schemas.microsoft.com/office/drawing/2014/main" id="{28D731FA-16FE-A6B4-31FF-856BED3A230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106526" y="1386038"/>
            <a:ext cx="1634829" cy="249180"/>
          </a:xfrm>
          <a:prstGeom prst="rect">
            <a:avLst/>
          </a:prstGeom>
        </p:spPr>
      </p:pic>
      <p:pic>
        <p:nvPicPr>
          <p:cNvPr id="7" name="Picture 19" descr="Text&#10;&#10;Description automatically generated">
            <a:extLst>
              <a:ext uri="{FF2B5EF4-FFF2-40B4-BE49-F238E27FC236}">
                <a16:creationId xmlns:a16="http://schemas.microsoft.com/office/drawing/2014/main" id="{6FBE364F-57FD-E4B0-B0A0-6D2486A87B45}"/>
              </a:ext>
            </a:extLst>
          </p:cNvPr>
          <p:cNvPicPr>
            <a:picLocks noChangeAspect="1"/>
          </p:cNvPicPr>
          <p:nvPr/>
        </p:nvPicPr>
        <p:blipFill rotWithShape="1">
          <a:blip r:embed="rId5">
            <a:extLst>
              <a:ext uri="{28A0092B-C50C-407E-A947-70E740481C1C}">
                <a14:useLocalDpi xmlns:a14="http://schemas.microsoft.com/office/drawing/2010/main"/>
              </a:ext>
            </a:extLst>
          </a:blip>
          <a:srcRect l="11327" t="11327" r="11327" b="11327"/>
          <a:stretch/>
        </p:blipFill>
        <p:spPr>
          <a:xfrm>
            <a:off x="4721475" y="2982111"/>
            <a:ext cx="1144644" cy="1144644"/>
          </a:xfrm>
          <a:prstGeom prst="rect">
            <a:avLst/>
          </a:prstGeom>
        </p:spPr>
      </p:pic>
      <p:pic>
        <p:nvPicPr>
          <p:cNvPr id="8" name="Picture 21" descr="Text&#10;&#10;Description automatically generated">
            <a:extLst>
              <a:ext uri="{FF2B5EF4-FFF2-40B4-BE49-F238E27FC236}">
                <a16:creationId xmlns:a16="http://schemas.microsoft.com/office/drawing/2014/main" id="{C46F9269-3E25-CB67-6DD9-5681976A3C6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393345" y="1328459"/>
            <a:ext cx="2234153" cy="440177"/>
          </a:xfrm>
          <a:prstGeom prst="rect">
            <a:avLst/>
          </a:prstGeom>
        </p:spPr>
      </p:pic>
      <p:pic>
        <p:nvPicPr>
          <p:cNvPr id="9" name="Picture 23" descr="Logo&#10;&#10;Description automatically generated">
            <a:extLst>
              <a:ext uri="{FF2B5EF4-FFF2-40B4-BE49-F238E27FC236}">
                <a16:creationId xmlns:a16="http://schemas.microsoft.com/office/drawing/2014/main" id="{8E5335B1-D107-36AE-6491-0F7007ACF18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232472" y="3002095"/>
            <a:ext cx="1155582" cy="1104677"/>
          </a:xfrm>
          <a:prstGeom prst="rect">
            <a:avLst/>
          </a:prstGeom>
        </p:spPr>
      </p:pic>
      <p:pic>
        <p:nvPicPr>
          <p:cNvPr id="10" name="Picture 25" descr="Logo&#10;&#10;Description automatically generated">
            <a:extLst>
              <a:ext uri="{FF2B5EF4-FFF2-40B4-BE49-F238E27FC236}">
                <a16:creationId xmlns:a16="http://schemas.microsoft.com/office/drawing/2014/main" id="{31A20413-1CAC-8053-4C5C-1844E15C79E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279488" y="1479246"/>
            <a:ext cx="1300993" cy="549800"/>
          </a:xfrm>
          <a:prstGeom prst="rect">
            <a:avLst/>
          </a:prstGeom>
        </p:spPr>
      </p:pic>
      <p:pic>
        <p:nvPicPr>
          <p:cNvPr id="11" name="Picture 29">
            <a:extLst>
              <a:ext uri="{FF2B5EF4-FFF2-40B4-BE49-F238E27FC236}">
                <a16:creationId xmlns:a16="http://schemas.microsoft.com/office/drawing/2014/main" id="{78479676-62AC-D52A-D036-53BD57A27B1F}"/>
              </a:ext>
            </a:extLst>
          </p:cNvPr>
          <p:cNvPicPr>
            <a:picLocks noChangeAspect="1"/>
          </p:cNvPicPr>
          <p:nvPr/>
        </p:nvPicPr>
        <p:blipFill rotWithShape="1">
          <a:blip r:embed="rId9">
            <a:extLst>
              <a:ext uri="{28A0092B-C50C-407E-A947-70E740481C1C}">
                <a14:useLocalDpi xmlns:a14="http://schemas.microsoft.com/office/drawing/2010/main"/>
              </a:ext>
            </a:extLst>
          </a:blip>
          <a:srcRect t="24184" b="24184"/>
          <a:stretch/>
        </p:blipFill>
        <p:spPr>
          <a:xfrm>
            <a:off x="5754031" y="4096666"/>
            <a:ext cx="1952032" cy="671922"/>
          </a:xfrm>
          <a:prstGeom prst="rect">
            <a:avLst/>
          </a:prstGeom>
        </p:spPr>
      </p:pic>
      <p:pic>
        <p:nvPicPr>
          <p:cNvPr id="12" name="Picture 31" descr="Logo, company name&#10;&#10;Description automatically generated">
            <a:extLst>
              <a:ext uri="{FF2B5EF4-FFF2-40B4-BE49-F238E27FC236}">
                <a16:creationId xmlns:a16="http://schemas.microsoft.com/office/drawing/2014/main" id="{85B8ED41-F09C-CD0A-DF9C-C6254B7159AB}"/>
              </a:ext>
            </a:extLst>
          </p:cNvPr>
          <p:cNvPicPr>
            <a:picLocks noChangeAspect="1"/>
          </p:cNvPicPr>
          <p:nvPr/>
        </p:nvPicPr>
        <p:blipFill rotWithShape="1">
          <a:blip r:embed="rId10">
            <a:extLst>
              <a:ext uri="{28A0092B-C50C-407E-A947-70E740481C1C}">
                <a14:useLocalDpi xmlns:a14="http://schemas.microsoft.com/office/drawing/2010/main"/>
              </a:ext>
            </a:extLst>
          </a:blip>
          <a:srcRect t="18054" b="18054"/>
          <a:stretch/>
        </p:blipFill>
        <p:spPr>
          <a:xfrm>
            <a:off x="9834659" y="4155331"/>
            <a:ext cx="1488018" cy="554593"/>
          </a:xfrm>
          <a:prstGeom prst="rect">
            <a:avLst/>
          </a:prstGeom>
        </p:spPr>
      </p:pic>
      <p:pic>
        <p:nvPicPr>
          <p:cNvPr id="13" name="Picture 35" descr="Logo&#10;&#10;Description automatically generated with medium confidence">
            <a:extLst>
              <a:ext uri="{FF2B5EF4-FFF2-40B4-BE49-F238E27FC236}">
                <a16:creationId xmlns:a16="http://schemas.microsoft.com/office/drawing/2014/main" id="{E6284548-9836-BC86-A483-3F2CF2CCBD4F}"/>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6216275" y="3298517"/>
            <a:ext cx="1535500" cy="511833"/>
          </a:xfrm>
          <a:prstGeom prst="rect">
            <a:avLst/>
          </a:prstGeom>
        </p:spPr>
      </p:pic>
      <p:pic>
        <p:nvPicPr>
          <p:cNvPr id="14" name="Graphic 13">
            <a:extLst>
              <a:ext uri="{FF2B5EF4-FFF2-40B4-BE49-F238E27FC236}">
                <a16:creationId xmlns:a16="http://schemas.microsoft.com/office/drawing/2014/main" id="{A7532AB8-1AE4-5780-4107-ABEF62DD5B6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20188" y="2079701"/>
            <a:ext cx="669774" cy="722698"/>
          </a:xfrm>
          <a:prstGeom prst="rect">
            <a:avLst/>
          </a:prstGeom>
        </p:spPr>
      </p:pic>
      <p:pic>
        <p:nvPicPr>
          <p:cNvPr id="15" name="Picture 41">
            <a:extLst>
              <a:ext uri="{FF2B5EF4-FFF2-40B4-BE49-F238E27FC236}">
                <a16:creationId xmlns:a16="http://schemas.microsoft.com/office/drawing/2014/main" id="{A29AA5F8-7907-2264-B27E-1C3923BECA52}"/>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0232472" y="1376046"/>
            <a:ext cx="1090205" cy="255917"/>
          </a:xfrm>
          <a:prstGeom prst="rect">
            <a:avLst/>
          </a:prstGeom>
        </p:spPr>
      </p:pic>
      <p:pic>
        <p:nvPicPr>
          <p:cNvPr id="16" name="Picture 43">
            <a:extLst>
              <a:ext uri="{FF2B5EF4-FFF2-40B4-BE49-F238E27FC236}">
                <a16:creationId xmlns:a16="http://schemas.microsoft.com/office/drawing/2014/main" id="{A6175A20-F75F-73F4-68B5-EACA0361DA5C}"/>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5614801" y="4905428"/>
            <a:ext cx="1737660" cy="772418"/>
          </a:xfrm>
          <a:prstGeom prst="rect">
            <a:avLst/>
          </a:prstGeom>
        </p:spPr>
      </p:pic>
      <p:pic>
        <p:nvPicPr>
          <p:cNvPr id="17" name="Picture 45">
            <a:extLst>
              <a:ext uri="{FF2B5EF4-FFF2-40B4-BE49-F238E27FC236}">
                <a16:creationId xmlns:a16="http://schemas.microsoft.com/office/drawing/2014/main" id="{538B3F78-CE0E-AC58-851A-1FBCE0F2B4AA}"/>
              </a:ext>
            </a:extLst>
          </p:cNvPr>
          <p:cNvPicPr>
            <a:picLocks noChangeAspect="1"/>
          </p:cNvPicPr>
          <p:nvPr/>
        </p:nvPicPr>
        <p:blipFill rotWithShape="1">
          <a:blip r:embed="rId16">
            <a:extLst>
              <a:ext uri="{28A0092B-C50C-407E-A947-70E740481C1C}">
                <a14:useLocalDpi xmlns:a14="http://schemas.microsoft.com/office/drawing/2010/main"/>
              </a:ext>
            </a:extLst>
          </a:blip>
          <a:srcRect/>
          <a:stretch/>
        </p:blipFill>
        <p:spPr>
          <a:xfrm>
            <a:off x="1141161" y="4213690"/>
            <a:ext cx="921168" cy="437875"/>
          </a:xfrm>
          <a:prstGeom prst="rect">
            <a:avLst/>
          </a:prstGeom>
        </p:spPr>
      </p:pic>
      <p:pic>
        <p:nvPicPr>
          <p:cNvPr id="18" name="Picture 49">
            <a:extLst>
              <a:ext uri="{FF2B5EF4-FFF2-40B4-BE49-F238E27FC236}">
                <a16:creationId xmlns:a16="http://schemas.microsoft.com/office/drawing/2014/main" id="{C097051A-22EF-F239-CD9F-C727EBD4F87F}"/>
              </a:ext>
            </a:extLst>
          </p:cNvPr>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9669497" y="5159711"/>
            <a:ext cx="1653180" cy="317536"/>
          </a:xfrm>
          <a:prstGeom prst="rect">
            <a:avLst/>
          </a:prstGeom>
        </p:spPr>
      </p:pic>
      <p:pic>
        <p:nvPicPr>
          <p:cNvPr id="19" name="Picture 51">
            <a:extLst>
              <a:ext uri="{FF2B5EF4-FFF2-40B4-BE49-F238E27FC236}">
                <a16:creationId xmlns:a16="http://schemas.microsoft.com/office/drawing/2014/main" id="{26427005-D5EB-5D09-7AC1-873A2D8BA63A}"/>
              </a:ext>
            </a:extLst>
          </p:cNvPr>
          <p:cNvPicPr>
            <a:picLocks noChangeAspect="1"/>
          </p:cNvPicPr>
          <p:nvPr/>
        </p:nvPicPr>
        <p:blipFill rotWithShape="1">
          <a:blip r:embed="rId18">
            <a:extLst>
              <a:ext uri="{28A0092B-C50C-407E-A947-70E740481C1C}">
                <a14:useLocalDpi xmlns:a14="http://schemas.microsoft.com/office/drawing/2010/main"/>
              </a:ext>
            </a:extLst>
          </a:blip>
          <a:srcRect t="19509" b="19509"/>
          <a:stretch/>
        </p:blipFill>
        <p:spPr>
          <a:xfrm>
            <a:off x="2382618" y="4206560"/>
            <a:ext cx="1334555" cy="452134"/>
          </a:xfrm>
          <a:prstGeom prst="rect">
            <a:avLst/>
          </a:prstGeom>
        </p:spPr>
      </p:pic>
      <p:pic>
        <p:nvPicPr>
          <p:cNvPr id="20" name="Picture 55">
            <a:extLst>
              <a:ext uri="{FF2B5EF4-FFF2-40B4-BE49-F238E27FC236}">
                <a16:creationId xmlns:a16="http://schemas.microsoft.com/office/drawing/2014/main" id="{7D0724C7-0D5F-A5D1-19D5-966D64C148A7}"/>
              </a:ext>
            </a:extLst>
          </p:cNvPr>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3028145" y="3203703"/>
            <a:ext cx="1402920" cy="701461"/>
          </a:xfrm>
          <a:prstGeom prst="rect">
            <a:avLst/>
          </a:prstGeom>
        </p:spPr>
      </p:pic>
      <p:pic>
        <p:nvPicPr>
          <p:cNvPr id="21" name="Picture 57">
            <a:extLst>
              <a:ext uri="{FF2B5EF4-FFF2-40B4-BE49-F238E27FC236}">
                <a16:creationId xmlns:a16="http://schemas.microsoft.com/office/drawing/2014/main" id="{7C25C284-64C5-4634-4E59-2BF9C2297EB4}"/>
              </a:ext>
            </a:extLst>
          </p:cNvPr>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9915079" y="1953983"/>
            <a:ext cx="1669805" cy="848415"/>
          </a:xfrm>
          <a:prstGeom prst="rect">
            <a:avLst/>
          </a:prstGeom>
        </p:spPr>
      </p:pic>
      <p:pic>
        <p:nvPicPr>
          <p:cNvPr id="22" name="Picture 61">
            <a:extLst>
              <a:ext uri="{FF2B5EF4-FFF2-40B4-BE49-F238E27FC236}">
                <a16:creationId xmlns:a16="http://schemas.microsoft.com/office/drawing/2014/main" id="{E459C5AD-A7C2-5687-E305-EC97BC458AED}"/>
              </a:ext>
            </a:extLst>
          </p:cNvPr>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8241388" y="3263275"/>
            <a:ext cx="1674980" cy="582317"/>
          </a:xfrm>
          <a:prstGeom prst="rect">
            <a:avLst/>
          </a:prstGeom>
        </p:spPr>
      </p:pic>
      <p:pic>
        <p:nvPicPr>
          <p:cNvPr id="23" name="Picture 63">
            <a:extLst>
              <a:ext uri="{FF2B5EF4-FFF2-40B4-BE49-F238E27FC236}">
                <a16:creationId xmlns:a16="http://schemas.microsoft.com/office/drawing/2014/main" id="{13755160-61BB-D662-3745-D2CFB3017B04}"/>
              </a:ext>
            </a:extLst>
          </p:cNvPr>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687700" y="5001740"/>
            <a:ext cx="1396279" cy="506715"/>
          </a:xfrm>
          <a:prstGeom prst="rect">
            <a:avLst/>
          </a:prstGeom>
        </p:spPr>
      </p:pic>
      <p:pic>
        <p:nvPicPr>
          <p:cNvPr id="24" name="Picture 65">
            <a:extLst>
              <a:ext uri="{FF2B5EF4-FFF2-40B4-BE49-F238E27FC236}">
                <a16:creationId xmlns:a16="http://schemas.microsoft.com/office/drawing/2014/main" id="{F079C9AF-8A67-426B-1F55-A4CA0678276A}"/>
              </a:ext>
            </a:extLst>
          </p:cNvPr>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37462" y="4120908"/>
            <a:ext cx="1396280" cy="623439"/>
          </a:xfrm>
          <a:prstGeom prst="rect">
            <a:avLst/>
          </a:prstGeom>
        </p:spPr>
      </p:pic>
      <p:pic>
        <p:nvPicPr>
          <p:cNvPr id="25" name="Picture 67">
            <a:extLst>
              <a:ext uri="{FF2B5EF4-FFF2-40B4-BE49-F238E27FC236}">
                <a16:creationId xmlns:a16="http://schemas.microsoft.com/office/drawing/2014/main" id="{1FB0F128-FF6B-AD0C-559A-C1CE57825960}"/>
              </a:ext>
            </a:extLst>
          </p:cNvPr>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6422793" y="2126471"/>
            <a:ext cx="1772277" cy="629158"/>
          </a:xfrm>
          <a:prstGeom prst="rect">
            <a:avLst/>
          </a:prstGeom>
        </p:spPr>
      </p:pic>
      <p:pic>
        <p:nvPicPr>
          <p:cNvPr id="26" name="Picture 69">
            <a:extLst>
              <a:ext uri="{FF2B5EF4-FFF2-40B4-BE49-F238E27FC236}">
                <a16:creationId xmlns:a16="http://schemas.microsoft.com/office/drawing/2014/main" id="{83386C9A-C115-A25C-27A7-2BF79ADF06FD}"/>
              </a:ext>
            </a:extLst>
          </p:cNvPr>
          <p:cNvPicPr>
            <a:picLocks noChangeAspect="1"/>
          </p:cNvPicPr>
          <p:nvPr/>
        </p:nvPicPr>
        <p:blipFill rotWithShape="1">
          <a:blip r:embed="rId25">
            <a:extLst>
              <a:ext uri="{28A0092B-C50C-407E-A947-70E740481C1C}">
                <a14:useLocalDpi xmlns:a14="http://schemas.microsoft.com/office/drawing/2010/main"/>
              </a:ext>
            </a:extLst>
          </a:blip>
          <a:srcRect/>
          <a:stretch/>
        </p:blipFill>
        <p:spPr>
          <a:xfrm>
            <a:off x="1011231" y="3227629"/>
            <a:ext cx="1703014" cy="653608"/>
          </a:xfrm>
          <a:prstGeom prst="rect">
            <a:avLst/>
          </a:prstGeom>
        </p:spPr>
      </p:pic>
      <p:pic>
        <p:nvPicPr>
          <p:cNvPr id="27" name="Picture 71">
            <a:extLst>
              <a:ext uri="{FF2B5EF4-FFF2-40B4-BE49-F238E27FC236}">
                <a16:creationId xmlns:a16="http://schemas.microsoft.com/office/drawing/2014/main" id="{28203691-F1DA-B50B-9239-A67975173424}"/>
              </a:ext>
            </a:extLst>
          </p:cNvPr>
          <p:cNvPicPr>
            <a:picLocks noChangeAspect="1"/>
          </p:cNvPicPr>
          <p:nvPr/>
        </p:nvPicPr>
        <p:blipFill>
          <a:blip r:embed="rId26">
            <a:extLst>
              <a:ext uri="{28A0092B-C50C-407E-A947-70E740481C1C}">
                <a14:useLocalDpi xmlns:a14="http://schemas.microsoft.com/office/drawing/2010/main"/>
              </a:ext>
            </a:extLst>
          </a:blip>
          <a:stretch>
            <a:fillRect/>
          </a:stretch>
        </p:blipFill>
        <p:spPr>
          <a:xfrm>
            <a:off x="3169629" y="4928122"/>
            <a:ext cx="2047333" cy="506715"/>
          </a:xfrm>
          <a:prstGeom prst="rect">
            <a:avLst/>
          </a:prstGeom>
        </p:spPr>
      </p:pic>
      <p:pic>
        <p:nvPicPr>
          <p:cNvPr id="28" name="Picture 72" descr="Logo&#10;&#10;Description automatically generated">
            <a:extLst>
              <a:ext uri="{FF2B5EF4-FFF2-40B4-BE49-F238E27FC236}">
                <a16:creationId xmlns:a16="http://schemas.microsoft.com/office/drawing/2014/main" id="{E2894FB1-A597-22AF-2F71-D6F42B4BA0DF}"/>
              </a:ext>
            </a:extLst>
          </p:cNvPr>
          <p:cNvPicPr>
            <a:picLocks noChangeAspect="1"/>
          </p:cNvPicPr>
          <p:nvPr/>
        </p:nvPicPr>
        <p:blipFill rotWithShape="1">
          <a:blip r:embed="rId27">
            <a:extLst>
              <a:ext uri="{28A0092B-C50C-407E-A947-70E740481C1C}">
                <a14:useLocalDpi xmlns:a14="http://schemas.microsoft.com/office/drawing/2010/main"/>
              </a:ext>
            </a:extLst>
          </a:blip>
          <a:srcRect/>
          <a:stretch/>
        </p:blipFill>
        <p:spPr>
          <a:xfrm>
            <a:off x="1023060" y="1895015"/>
            <a:ext cx="1693145" cy="1092070"/>
          </a:xfrm>
          <a:prstGeom prst="rect">
            <a:avLst/>
          </a:prstGeom>
        </p:spPr>
      </p:pic>
      <p:pic>
        <p:nvPicPr>
          <p:cNvPr id="29" name="Picture 73">
            <a:extLst>
              <a:ext uri="{FF2B5EF4-FFF2-40B4-BE49-F238E27FC236}">
                <a16:creationId xmlns:a16="http://schemas.microsoft.com/office/drawing/2014/main" id="{AF7DD8D9-B66C-9FD7-4E4D-A6925C5E8B93}"/>
              </a:ext>
            </a:extLst>
          </p:cNvPr>
          <p:cNvPicPr>
            <a:picLocks noChangeAspect="1"/>
          </p:cNvPicPr>
          <p:nvPr/>
        </p:nvPicPr>
        <p:blipFill rotWithShape="1">
          <a:blip r:embed="rId28">
            <a:extLst>
              <a:ext uri="{28A0092B-C50C-407E-A947-70E740481C1C}">
                <a14:useLocalDpi xmlns:a14="http://schemas.microsoft.com/office/drawing/2010/main"/>
              </a:ext>
            </a:extLst>
          </a:blip>
          <a:srcRect/>
          <a:stretch/>
        </p:blipFill>
        <p:spPr>
          <a:xfrm>
            <a:off x="3159152" y="2167517"/>
            <a:ext cx="2820694" cy="520192"/>
          </a:xfrm>
          <a:prstGeom prst="rect">
            <a:avLst/>
          </a:prstGeom>
        </p:spPr>
      </p:pic>
      <p:pic>
        <p:nvPicPr>
          <p:cNvPr id="30" name="Picture 37" descr="A picture containing text&#10;&#10;Description automatically generated">
            <a:extLst>
              <a:ext uri="{FF2B5EF4-FFF2-40B4-BE49-F238E27FC236}">
                <a16:creationId xmlns:a16="http://schemas.microsoft.com/office/drawing/2014/main" id="{488E398A-26CE-C54B-203C-BA832951B380}"/>
              </a:ext>
            </a:extLst>
          </p:cNvPr>
          <p:cNvPicPr>
            <a:picLocks noChangeAspect="1"/>
          </p:cNvPicPr>
          <p:nvPr/>
        </p:nvPicPr>
        <p:blipFill rotWithShape="1">
          <a:blip r:embed="rId29">
            <a:extLst>
              <a:ext uri="{28A0092B-C50C-407E-A947-70E740481C1C}">
                <a14:useLocalDpi xmlns:a14="http://schemas.microsoft.com/office/drawing/2010/main"/>
              </a:ext>
            </a:extLst>
          </a:blip>
          <a:srcRect/>
          <a:stretch/>
        </p:blipFill>
        <p:spPr>
          <a:xfrm>
            <a:off x="1177096" y="4928122"/>
            <a:ext cx="1537149" cy="1040185"/>
          </a:xfrm>
          <a:prstGeom prst="rect">
            <a:avLst/>
          </a:prstGeom>
        </p:spPr>
      </p:pic>
    </p:spTree>
    <p:extLst>
      <p:ext uri="{BB962C8B-B14F-4D97-AF65-F5344CB8AC3E}">
        <p14:creationId xmlns:p14="http://schemas.microsoft.com/office/powerpoint/2010/main" val="22432013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975560-E64D-B01C-1AAD-9A77734C907A}"/>
              </a:ext>
            </a:extLst>
          </p:cNvPr>
          <p:cNvSpPr>
            <a:spLocks noGrp="1"/>
          </p:cNvSpPr>
          <p:nvPr>
            <p:ph type="title"/>
          </p:nvPr>
        </p:nvSpPr>
        <p:spPr/>
        <p:txBody>
          <a:bodyPr/>
          <a:lstStyle/>
          <a:p>
            <a:r>
              <a:rPr lang="en-GB" dirty="0" err="1"/>
              <a:t>Iconen</a:t>
            </a:r>
            <a:endParaRPr lang="en-GB" dirty="0"/>
          </a:p>
        </p:txBody>
      </p:sp>
      <p:sp>
        <p:nvSpPr>
          <p:cNvPr id="4" name="Oval 30">
            <a:extLst>
              <a:ext uri="{FF2B5EF4-FFF2-40B4-BE49-F238E27FC236}">
                <a16:creationId xmlns:a16="http://schemas.microsoft.com/office/drawing/2014/main" id="{FB24053E-60FE-8AA4-3D36-E2D8003048C6}"/>
              </a:ext>
            </a:extLst>
          </p:cNvPr>
          <p:cNvSpPr/>
          <p:nvPr/>
        </p:nvSpPr>
        <p:spPr>
          <a:xfrm>
            <a:off x="1117717" y="4104714"/>
            <a:ext cx="935699" cy="935699"/>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5" name="Oval 31">
            <a:extLst>
              <a:ext uri="{FF2B5EF4-FFF2-40B4-BE49-F238E27FC236}">
                <a16:creationId xmlns:a16="http://schemas.microsoft.com/office/drawing/2014/main" id="{291B4B03-58BF-43B8-95B9-D1860B6B1BB2}"/>
              </a:ext>
            </a:extLst>
          </p:cNvPr>
          <p:cNvSpPr/>
          <p:nvPr/>
        </p:nvSpPr>
        <p:spPr>
          <a:xfrm>
            <a:off x="2165180" y="4104714"/>
            <a:ext cx="935699" cy="935699"/>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6" name="Oval 34">
            <a:extLst>
              <a:ext uri="{FF2B5EF4-FFF2-40B4-BE49-F238E27FC236}">
                <a16:creationId xmlns:a16="http://schemas.microsoft.com/office/drawing/2014/main" id="{96494DAD-4549-415A-791C-2E5D8954B0F8}"/>
              </a:ext>
            </a:extLst>
          </p:cNvPr>
          <p:cNvSpPr/>
          <p:nvPr/>
        </p:nvSpPr>
        <p:spPr>
          <a:xfrm>
            <a:off x="3212643" y="4104714"/>
            <a:ext cx="935699" cy="935699"/>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7" name="Oval 35">
            <a:extLst>
              <a:ext uri="{FF2B5EF4-FFF2-40B4-BE49-F238E27FC236}">
                <a16:creationId xmlns:a16="http://schemas.microsoft.com/office/drawing/2014/main" id="{C977117A-791D-3AB1-7B07-4671721EC383}"/>
              </a:ext>
            </a:extLst>
          </p:cNvPr>
          <p:cNvSpPr/>
          <p:nvPr/>
        </p:nvSpPr>
        <p:spPr>
          <a:xfrm>
            <a:off x="4260106" y="4104714"/>
            <a:ext cx="935699" cy="935699"/>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8" name="Oval 38">
            <a:extLst>
              <a:ext uri="{FF2B5EF4-FFF2-40B4-BE49-F238E27FC236}">
                <a16:creationId xmlns:a16="http://schemas.microsoft.com/office/drawing/2014/main" id="{727A613B-6FEB-E811-166D-E10017EA34EF}"/>
              </a:ext>
            </a:extLst>
          </p:cNvPr>
          <p:cNvSpPr/>
          <p:nvPr/>
        </p:nvSpPr>
        <p:spPr>
          <a:xfrm>
            <a:off x="5307569" y="4104714"/>
            <a:ext cx="935699" cy="935699"/>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9" name="Oval 42">
            <a:extLst>
              <a:ext uri="{FF2B5EF4-FFF2-40B4-BE49-F238E27FC236}">
                <a16:creationId xmlns:a16="http://schemas.microsoft.com/office/drawing/2014/main" id="{4DD552EE-5784-A370-7F0B-BFE2F1CF6D2A}"/>
              </a:ext>
            </a:extLst>
          </p:cNvPr>
          <p:cNvSpPr/>
          <p:nvPr/>
        </p:nvSpPr>
        <p:spPr>
          <a:xfrm>
            <a:off x="6977945" y="4104714"/>
            <a:ext cx="935699" cy="935699"/>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10" name="Oval 43">
            <a:extLst>
              <a:ext uri="{FF2B5EF4-FFF2-40B4-BE49-F238E27FC236}">
                <a16:creationId xmlns:a16="http://schemas.microsoft.com/office/drawing/2014/main" id="{532647A5-5631-912F-8FC3-A654E4EF4FB0}"/>
              </a:ext>
            </a:extLst>
          </p:cNvPr>
          <p:cNvSpPr/>
          <p:nvPr/>
        </p:nvSpPr>
        <p:spPr>
          <a:xfrm>
            <a:off x="8025408" y="4104714"/>
            <a:ext cx="935699" cy="935699"/>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11" name="Oval 46">
            <a:extLst>
              <a:ext uri="{FF2B5EF4-FFF2-40B4-BE49-F238E27FC236}">
                <a16:creationId xmlns:a16="http://schemas.microsoft.com/office/drawing/2014/main" id="{EB01BF97-FD91-2687-9656-F2B7077DBE86}"/>
              </a:ext>
            </a:extLst>
          </p:cNvPr>
          <p:cNvSpPr/>
          <p:nvPr/>
        </p:nvSpPr>
        <p:spPr>
          <a:xfrm>
            <a:off x="9072871" y="4104714"/>
            <a:ext cx="935699" cy="935699"/>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12" name="Oval 47">
            <a:extLst>
              <a:ext uri="{FF2B5EF4-FFF2-40B4-BE49-F238E27FC236}">
                <a16:creationId xmlns:a16="http://schemas.microsoft.com/office/drawing/2014/main" id="{6548D686-2770-AE88-288B-5277839003AC}"/>
              </a:ext>
            </a:extLst>
          </p:cNvPr>
          <p:cNvSpPr/>
          <p:nvPr/>
        </p:nvSpPr>
        <p:spPr>
          <a:xfrm>
            <a:off x="10120334" y="4104714"/>
            <a:ext cx="935699" cy="935699"/>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13" name="Oval 114">
            <a:extLst>
              <a:ext uri="{FF2B5EF4-FFF2-40B4-BE49-F238E27FC236}">
                <a16:creationId xmlns:a16="http://schemas.microsoft.com/office/drawing/2014/main" id="{A9A9EE0A-1253-E7BD-DDBE-2DB065D0767D}"/>
              </a:ext>
            </a:extLst>
          </p:cNvPr>
          <p:cNvSpPr/>
          <p:nvPr/>
        </p:nvSpPr>
        <p:spPr>
          <a:xfrm>
            <a:off x="1117717" y="2854585"/>
            <a:ext cx="935699" cy="93569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14" name="Oval 115">
            <a:extLst>
              <a:ext uri="{FF2B5EF4-FFF2-40B4-BE49-F238E27FC236}">
                <a16:creationId xmlns:a16="http://schemas.microsoft.com/office/drawing/2014/main" id="{7D779BC6-2CB2-BCC0-D652-0939A0BF88B9}"/>
              </a:ext>
            </a:extLst>
          </p:cNvPr>
          <p:cNvSpPr/>
          <p:nvPr/>
        </p:nvSpPr>
        <p:spPr>
          <a:xfrm>
            <a:off x="2165180" y="2854585"/>
            <a:ext cx="935699" cy="93569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15" name="Oval 118">
            <a:extLst>
              <a:ext uri="{FF2B5EF4-FFF2-40B4-BE49-F238E27FC236}">
                <a16:creationId xmlns:a16="http://schemas.microsoft.com/office/drawing/2014/main" id="{A5379FC7-DBC1-0FEC-2F3A-E3A01A10B837}"/>
              </a:ext>
            </a:extLst>
          </p:cNvPr>
          <p:cNvSpPr/>
          <p:nvPr/>
        </p:nvSpPr>
        <p:spPr>
          <a:xfrm>
            <a:off x="3212643" y="2854585"/>
            <a:ext cx="935699" cy="93569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16" name="Oval 119">
            <a:extLst>
              <a:ext uri="{FF2B5EF4-FFF2-40B4-BE49-F238E27FC236}">
                <a16:creationId xmlns:a16="http://schemas.microsoft.com/office/drawing/2014/main" id="{913DECAF-9B4A-49A9-350A-C37488C4B016}"/>
              </a:ext>
            </a:extLst>
          </p:cNvPr>
          <p:cNvSpPr/>
          <p:nvPr/>
        </p:nvSpPr>
        <p:spPr>
          <a:xfrm>
            <a:off x="4260106" y="2854585"/>
            <a:ext cx="935699" cy="93569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17" name="Oval 122">
            <a:extLst>
              <a:ext uri="{FF2B5EF4-FFF2-40B4-BE49-F238E27FC236}">
                <a16:creationId xmlns:a16="http://schemas.microsoft.com/office/drawing/2014/main" id="{B83A30BD-47B2-F37C-40E4-4BD5FDF163B3}"/>
              </a:ext>
            </a:extLst>
          </p:cNvPr>
          <p:cNvSpPr/>
          <p:nvPr/>
        </p:nvSpPr>
        <p:spPr>
          <a:xfrm>
            <a:off x="5307569" y="2854585"/>
            <a:ext cx="935699" cy="93569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18" name="Oval 126">
            <a:extLst>
              <a:ext uri="{FF2B5EF4-FFF2-40B4-BE49-F238E27FC236}">
                <a16:creationId xmlns:a16="http://schemas.microsoft.com/office/drawing/2014/main" id="{CBD4CAF5-EA1A-FF09-556A-3315F4DCFF06}"/>
              </a:ext>
            </a:extLst>
          </p:cNvPr>
          <p:cNvSpPr/>
          <p:nvPr/>
        </p:nvSpPr>
        <p:spPr>
          <a:xfrm>
            <a:off x="6977945" y="2854585"/>
            <a:ext cx="935699" cy="93569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19" name="Oval 127">
            <a:extLst>
              <a:ext uri="{FF2B5EF4-FFF2-40B4-BE49-F238E27FC236}">
                <a16:creationId xmlns:a16="http://schemas.microsoft.com/office/drawing/2014/main" id="{768F817C-E11A-B28D-F9ED-1BD57422A090}"/>
              </a:ext>
            </a:extLst>
          </p:cNvPr>
          <p:cNvSpPr/>
          <p:nvPr/>
        </p:nvSpPr>
        <p:spPr>
          <a:xfrm>
            <a:off x="8025408" y="2854585"/>
            <a:ext cx="935699" cy="93569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20" name="Oval 130">
            <a:extLst>
              <a:ext uri="{FF2B5EF4-FFF2-40B4-BE49-F238E27FC236}">
                <a16:creationId xmlns:a16="http://schemas.microsoft.com/office/drawing/2014/main" id="{75984422-5FAB-2444-723F-DBCBF151AF51}"/>
              </a:ext>
            </a:extLst>
          </p:cNvPr>
          <p:cNvSpPr/>
          <p:nvPr/>
        </p:nvSpPr>
        <p:spPr>
          <a:xfrm>
            <a:off x="9072871" y="2854585"/>
            <a:ext cx="935699" cy="93569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sp>
        <p:nvSpPr>
          <p:cNvPr id="21" name="Oval 131">
            <a:extLst>
              <a:ext uri="{FF2B5EF4-FFF2-40B4-BE49-F238E27FC236}">
                <a16:creationId xmlns:a16="http://schemas.microsoft.com/office/drawing/2014/main" id="{0AC2F151-2BE7-E5C3-6888-A98DF4917D14}"/>
              </a:ext>
            </a:extLst>
          </p:cNvPr>
          <p:cNvSpPr/>
          <p:nvPr/>
        </p:nvSpPr>
        <p:spPr>
          <a:xfrm>
            <a:off x="10120334" y="2854585"/>
            <a:ext cx="935699" cy="93569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p>
        </p:txBody>
      </p:sp>
      <p:pic>
        <p:nvPicPr>
          <p:cNvPr id="22" name="Picture 5" descr="A black and white image of a planet&#10;&#10;Description automatically generated with low confidence">
            <a:extLst>
              <a:ext uri="{FF2B5EF4-FFF2-40B4-BE49-F238E27FC236}">
                <a16:creationId xmlns:a16="http://schemas.microsoft.com/office/drawing/2014/main" id="{BAD97263-9260-8B2B-037A-419CB16FA8A9}"/>
              </a:ext>
            </a:extLst>
          </p:cNvPr>
          <p:cNvPicPr>
            <a:picLocks noChangeAspect="1"/>
          </p:cNvPicPr>
          <p:nvPr/>
        </p:nvPicPr>
        <p:blipFill>
          <a:blip r:embed="rId2">
            <a:biLevel thresh="25000"/>
            <a:extLst>
              <a:ext uri="{28A0092B-C50C-407E-A947-70E740481C1C}">
                <a14:useLocalDpi xmlns:a14="http://schemas.microsoft.com/office/drawing/2010/main"/>
              </a:ext>
            </a:extLst>
          </a:blip>
          <a:stretch>
            <a:fillRect/>
          </a:stretch>
        </p:blipFill>
        <p:spPr>
          <a:xfrm>
            <a:off x="1393009" y="3106895"/>
            <a:ext cx="443844" cy="443844"/>
          </a:xfrm>
          <a:prstGeom prst="rect">
            <a:avLst/>
          </a:prstGeom>
          <a:noFill/>
        </p:spPr>
      </p:pic>
      <p:pic>
        <p:nvPicPr>
          <p:cNvPr id="23" name="Picture 7" descr="Icon&#10;&#10;Description automatically generated">
            <a:extLst>
              <a:ext uri="{FF2B5EF4-FFF2-40B4-BE49-F238E27FC236}">
                <a16:creationId xmlns:a16="http://schemas.microsoft.com/office/drawing/2014/main" id="{4F001DF0-6366-84C2-38D0-593BF8FD36B2}"/>
              </a:ext>
            </a:extLst>
          </p:cNvPr>
          <p:cNvPicPr>
            <a:picLocks noChangeAspect="1"/>
          </p:cNvPicPr>
          <p:nvPr/>
        </p:nvPicPr>
        <p:blipFill>
          <a:blip r:embed="rId3">
            <a:biLevel thresh="25000"/>
            <a:extLst>
              <a:ext uri="{28A0092B-C50C-407E-A947-70E740481C1C}">
                <a14:useLocalDpi xmlns:a14="http://schemas.microsoft.com/office/drawing/2010/main"/>
              </a:ext>
            </a:extLst>
          </a:blip>
          <a:stretch>
            <a:fillRect/>
          </a:stretch>
        </p:blipFill>
        <p:spPr>
          <a:xfrm>
            <a:off x="2448553" y="3106895"/>
            <a:ext cx="443844" cy="443844"/>
          </a:xfrm>
          <a:prstGeom prst="rect">
            <a:avLst/>
          </a:prstGeom>
          <a:noFill/>
        </p:spPr>
      </p:pic>
      <p:pic>
        <p:nvPicPr>
          <p:cNvPr id="24" name="Picture 9" descr="A picture containing text, clipart&#10;&#10;Description automatically generated">
            <a:extLst>
              <a:ext uri="{FF2B5EF4-FFF2-40B4-BE49-F238E27FC236}">
                <a16:creationId xmlns:a16="http://schemas.microsoft.com/office/drawing/2014/main" id="{14A739A6-F68C-73FB-CAB4-96F43DF8C6AA}"/>
              </a:ext>
            </a:extLst>
          </p:cNvPr>
          <p:cNvPicPr>
            <a:picLocks noChangeAspect="1"/>
          </p:cNvPicPr>
          <p:nvPr/>
        </p:nvPicPr>
        <p:blipFill>
          <a:blip r:embed="rId4">
            <a:biLevel thresh="25000"/>
            <a:extLst>
              <a:ext uri="{28A0092B-C50C-407E-A947-70E740481C1C}">
                <a14:useLocalDpi xmlns:a14="http://schemas.microsoft.com/office/drawing/2010/main"/>
              </a:ext>
            </a:extLst>
          </a:blip>
          <a:stretch>
            <a:fillRect/>
          </a:stretch>
        </p:blipFill>
        <p:spPr>
          <a:xfrm>
            <a:off x="4514182" y="3106895"/>
            <a:ext cx="443844" cy="443844"/>
          </a:xfrm>
          <a:prstGeom prst="rect">
            <a:avLst/>
          </a:prstGeom>
          <a:noFill/>
        </p:spPr>
      </p:pic>
      <p:pic>
        <p:nvPicPr>
          <p:cNvPr id="25" name="Picture 11" descr="Icon&#10;&#10;Description automatically generated">
            <a:extLst>
              <a:ext uri="{FF2B5EF4-FFF2-40B4-BE49-F238E27FC236}">
                <a16:creationId xmlns:a16="http://schemas.microsoft.com/office/drawing/2014/main" id="{24441798-B1DB-A1F5-B398-1091626BAC3C}"/>
              </a:ext>
            </a:extLst>
          </p:cNvPr>
          <p:cNvPicPr>
            <a:picLocks noChangeAspect="1"/>
          </p:cNvPicPr>
          <p:nvPr/>
        </p:nvPicPr>
        <p:blipFill>
          <a:blip r:embed="rId5">
            <a:biLevel thresh="25000"/>
            <a:extLst>
              <a:ext uri="{28A0092B-C50C-407E-A947-70E740481C1C}">
                <a14:useLocalDpi xmlns:a14="http://schemas.microsoft.com/office/drawing/2010/main"/>
              </a:ext>
            </a:extLst>
          </a:blip>
          <a:stretch>
            <a:fillRect/>
          </a:stretch>
        </p:blipFill>
        <p:spPr>
          <a:xfrm>
            <a:off x="3452341" y="3106895"/>
            <a:ext cx="443844" cy="443844"/>
          </a:xfrm>
          <a:prstGeom prst="rect">
            <a:avLst/>
          </a:prstGeom>
          <a:noFill/>
        </p:spPr>
      </p:pic>
      <p:pic>
        <p:nvPicPr>
          <p:cNvPr id="26" name="Graphic 25">
            <a:extLst>
              <a:ext uri="{FF2B5EF4-FFF2-40B4-BE49-F238E27FC236}">
                <a16:creationId xmlns:a16="http://schemas.microsoft.com/office/drawing/2014/main" id="{4E057E3D-2503-C2E3-9996-6A71A65A4DB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313208" y="3138060"/>
            <a:ext cx="440574" cy="362407"/>
          </a:xfrm>
          <a:prstGeom prst="rect">
            <a:avLst/>
          </a:prstGeom>
        </p:spPr>
      </p:pic>
      <p:pic>
        <p:nvPicPr>
          <p:cNvPr id="27" name="Graphic 26">
            <a:extLst>
              <a:ext uri="{FF2B5EF4-FFF2-40B4-BE49-F238E27FC236}">
                <a16:creationId xmlns:a16="http://schemas.microsoft.com/office/drawing/2014/main" id="{A47E1C33-78AC-9A23-263E-D189F854A71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8715" y="3138060"/>
            <a:ext cx="362407" cy="362407"/>
          </a:xfrm>
          <a:prstGeom prst="rect">
            <a:avLst/>
          </a:prstGeom>
        </p:spPr>
      </p:pic>
      <p:sp>
        <p:nvSpPr>
          <p:cNvPr id="28" name="Freeform: Shape 6">
            <a:extLst>
              <a:ext uri="{FF2B5EF4-FFF2-40B4-BE49-F238E27FC236}">
                <a16:creationId xmlns:a16="http://schemas.microsoft.com/office/drawing/2014/main" id="{A9EA2758-D746-0A3E-0258-45D579617FDA}"/>
              </a:ext>
            </a:extLst>
          </p:cNvPr>
          <p:cNvSpPr/>
          <p:nvPr/>
        </p:nvSpPr>
        <p:spPr>
          <a:xfrm>
            <a:off x="9302832" y="3138060"/>
            <a:ext cx="517698" cy="362407"/>
          </a:xfrm>
          <a:custGeom>
            <a:avLst/>
            <a:gdLst>
              <a:gd name="connsiteX0" fmla="*/ 363716 w 371482"/>
              <a:gd name="connsiteY0" fmla="*/ 40610 h 260050"/>
              <a:gd name="connsiteX1" fmla="*/ 330873 w 371482"/>
              <a:gd name="connsiteY1" fmla="*/ 7767 h 260050"/>
              <a:gd name="connsiteX2" fmla="*/ 185742 w 371482"/>
              <a:gd name="connsiteY2" fmla="*/ 0 h 260050"/>
              <a:gd name="connsiteX3" fmla="*/ 40610 w 371482"/>
              <a:gd name="connsiteY3" fmla="*/ 7767 h 260050"/>
              <a:gd name="connsiteX4" fmla="*/ 7767 w 371482"/>
              <a:gd name="connsiteY4" fmla="*/ 40610 h 260050"/>
              <a:gd name="connsiteX5" fmla="*/ 0 w 371482"/>
              <a:gd name="connsiteY5" fmla="*/ 130025 h 260050"/>
              <a:gd name="connsiteX6" fmla="*/ 7767 w 371482"/>
              <a:gd name="connsiteY6" fmla="*/ 219440 h 260050"/>
              <a:gd name="connsiteX7" fmla="*/ 40610 w 371482"/>
              <a:gd name="connsiteY7" fmla="*/ 252283 h 260050"/>
              <a:gd name="connsiteX8" fmla="*/ 185742 w 371482"/>
              <a:gd name="connsiteY8" fmla="*/ 260050 h 260050"/>
              <a:gd name="connsiteX9" fmla="*/ 330873 w 371482"/>
              <a:gd name="connsiteY9" fmla="*/ 252283 h 260050"/>
              <a:gd name="connsiteX10" fmla="*/ 363716 w 371482"/>
              <a:gd name="connsiteY10" fmla="*/ 219440 h 260050"/>
              <a:gd name="connsiteX11" fmla="*/ 371483 w 371482"/>
              <a:gd name="connsiteY11" fmla="*/ 130025 h 260050"/>
              <a:gd name="connsiteX12" fmla="*/ 363716 w 371482"/>
              <a:gd name="connsiteY12" fmla="*/ 40610 h 260050"/>
              <a:gd name="connsiteX13" fmla="*/ 148557 w 371482"/>
              <a:gd name="connsiteY13" fmla="*/ 185741 h 260050"/>
              <a:gd name="connsiteX14" fmla="*/ 148557 w 371482"/>
              <a:gd name="connsiteY14" fmla="*/ 74278 h 260050"/>
              <a:gd name="connsiteX15" fmla="*/ 245066 w 371482"/>
              <a:gd name="connsiteY15" fmla="*/ 129995 h 260050"/>
              <a:gd name="connsiteX16" fmla="*/ 148557 w 371482"/>
              <a:gd name="connsiteY16" fmla="*/ 185741 h 26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1482" h="260050">
                <a:moveTo>
                  <a:pt x="363716" y="40610"/>
                </a:moveTo>
                <a:cubicBezTo>
                  <a:pt x="359435" y="24617"/>
                  <a:pt x="346866" y="12048"/>
                  <a:pt x="330873" y="7767"/>
                </a:cubicBezTo>
                <a:cubicBezTo>
                  <a:pt x="301914" y="0"/>
                  <a:pt x="185742" y="0"/>
                  <a:pt x="185742" y="0"/>
                </a:cubicBezTo>
                <a:cubicBezTo>
                  <a:pt x="185742" y="0"/>
                  <a:pt x="69569" y="0"/>
                  <a:pt x="40610" y="7767"/>
                </a:cubicBezTo>
                <a:cubicBezTo>
                  <a:pt x="24617" y="12048"/>
                  <a:pt x="12048" y="24617"/>
                  <a:pt x="7767" y="40610"/>
                </a:cubicBezTo>
                <a:cubicBezTo>
                  <a:pt x="0" y="69569"/>
                  <a:pt x="0" y="130025"/>
                  <a:pt x="0" y="130025"/>
                </a:cubicBezTo>
                <a:cubicBezTo>
                  <a:pt x="0" y="130025"/>
                  <a:pt x="0" y="190481"/>
                  <a:pt x="7767" y="219440"/>
                </a:cubicBezTo>
                <a:cubicBezTo>
                  <a:pt x="12048" y="235434"/>
                  <a:pt x="24617" y="248002"/>
                  <a:pt x="40610" y="252283"/>
                </a:cubicBezTo>
                <a:cubicBezTo>
                  <a:pt x="69569" y="260050"/>
                  <a:pt x="185742" y="260050"/>
                  <a:pt x="185742" y="260050"/>
                </a:cubicBezTo>
                <a:cubicBezTo>
                  <a:pt x="185742" y="260050"/>
                  <a:pt x="301914" y="260050"/>
                  <a:pt x="330873" y="252283"/>
                </a:cubicBezTo>
                <a:cubicBezTo>
                  <a:pt x="346866" y="248002"/>
                  <a:pt x="359435" y="235434"/>
                  <a:pt x="363716" y="219440"/>
                </a:cubicBezTo>
                <a:cubicBezTo>
                  <a:pt x="371483" y="190481"/>
                  <a:pt x="371483" y="130025"/>
                  <a:pt x="371483" y="130025"/>
                </a:cubicBezTo>
                <a:cubicBezTo>
                  <a:pt x="371483" y="130025"/>
                  <a:pt x="371452" y="69569"/>
                  <a:pt x="363716" y="40610"/>
                </a:cubicBezTo>
                <a:close/>
                <a:moveTo>
                  <a:pt x="148557" y="185741"/>
                </a:moveTo>
                <a:lnTo>
                  <a:pt x="148557" y="74278"/>
                </a:lnTo>
                <a:lnTo>
                  <a:pt x="245066" y="129995"/>
                </a:lnTo>
                <a:lnTo>
                  <a:pt x="148557" y="185741"/>
                </a:lnTo>
                <a:close/>
              </a:path>
            </a:pathLst>
          </a:custGeom>
          <a:solidFill>
            <a:schemeClr val="bg1"/>
          </a:solidFill>
          <a:ln w="3048" cap="flat">
            <a:noFill/>
            <a:prstDash val="solid"/>
            <a:miter/>
          </a:ln>
        </p:spPr>
        <p:txBody>
          <a:bodyPr rtlCol="0" anchor="ctr"/>
          <a:lstStyle/>
          <a:p>
            <a:endParaRPr lang="en-GB"/>
          </a:p>
        </p:txBody>
      </p:sp>
      <p:sp>
        <p:nvSpPr>
          <p:cNvPr id="29" name="Graphic 18">
            <a:extLst>
              <a:ext uri="{FF2B5EF4-FFF2-40B4-BE49-F238E27FC236}">
                <a16:creationId xmlns:a16="http://schemas.microsoft.com/office/drawing/2014/main" id="{55F3E19B-1F84-B262-A961-FA200977000D}"/>
              </a:ext>
            </a:extLst>
          </p:cNvPr>
          <p:cNvSpPr/>
          <p:nvPr/>
        </p:nvSpPr>
        <p:spPr>
          <a:xfrm>
            <a:off x="10476961" y="3136401"/>
            <a:ext cx="194114" cy="365182"/>
          </a:xfrm>
          <a:custGeom>
            <a:avLst/>
            <a:gdLst>
              <a:gd name="connsiteX0" fmla="*/ 190042 w 203367"/>
              <a:gd name="connsiteY0" fmla="*/ 213582 h 382590"/>
              <a:gd name="connsiteX1" fmla="*/ 200581 w 203367"/>
              <a:gd name="connsiteY1" fmla="*/ 144864 h 382590"/>
              <a:gd name="connsiteX2" fmla="*/ 134650 w 203367"/>
              <a:gd name="connsiteY2" fmla="*/ 144864 h 382590"/>
              <a:gd name="connsiteX3" fmla="*/ 134650 w 203367"/>
              <a:gd name="connsiteY3" fmla="*/ 100272 h 382590"/>
              <a:gd name="connsiteX4" fmla="*/ 173391 w 203367"/>
              <a:gd name="connsiteY4" fmla="*/ 63146 h 382590"/>
              <a:gd name="connsiteX5" fmla="*/ 203367 w 203367"/>
              <a:gd name="connsiteY5" fmla="*/ 63146 h 382590"/>
              <a:gd name="connsiteX6" fmla="*/ 203367 w 203367"/>
              <a:gd name="connsiteY6" fmla="*/ 4643 h 382590"/>
              <a:gd name="connsiteX7" fmla="*/ 150153 w 203367"/>
              <a:gd name="connsiteY7" fmla="*/ 0 h 382590"/>
              <a:gd name="connsiteX8" fmla="*/ 60360 w 203367"/>
              <a:gd name="connsiteY8" fmla="*/ 92490 h 382590"/>
              <a:gd name="connsiteX9" fmla="*/ 60360 w 203367"/>
              <a:gd name="connsiteY9" fmla="*/ 144864 h 382590"/>
              <a:gd name="connsiteX10" fmla="*/ 0 w 203367"/>
              <a:gd name="connsiteY10" fmla="*/ 144864 h 382590"/>
              <a:gd name="connsiteX11" fmla="*/ 0 w 203367"/>
              <a:gd name="connsiteY11" fmla="*/ 213582 h 382590"/>
              <a:gd name="connsiteX12" fmla="*/ 60360 w 203367"/>
              <a:gd name="connsiteY12" fmla="*/ 213582 h 382590"/>
              <a:gd name="connsiteX13" fmla="*/ 60360 w 203367"/>
              <a:gd name="connsiteY13" fmla="*/ 379702 h 382590"/>
              <a:gd name="connsiteX14" fmla="*/ 97505 w 203367"/>
              <a:gd name="connsiteY14" fmla="*/ 382590 h 382590"/>
              <a:gd name="connsiteX15" fmla="*/ 134650 w 203367"/>
              <a:gd name="connsiteY15" fmla="*/ 379702 h 382590"/>
              <a:gd name="connsiteX16" fmla="*/ 134650 w 203367"/>
              <a:gd name="connsiteY16" fmla="*/ 213582 h 382590"/>
              <a:gd name="connsiteX17" fmla="*/ 190042 w 203367"/>
              <a:gd name="connsiteY17" fmla="*/ 213582 h 38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3367" h="382590">
                <a:moveTo>
                  <a:pt x="190042" y="213582"/>
                </a:moveTo>
                <a:lnTo>
                  <a:pt x="200581" y="144864"/>
                </a:lnTo>
                <a:lnTo>
                  <a:pt x="134650" y="144864"/>
                </a:lnTo>
                <a:lnTo>
                  <a:pt x="134650" y="100272"/>
                </a:lnTo>
                <a:cubicBezTo>
                  <a:pt x="134650" y="81472"/>
                  <a:pt x="143861" y="63146"/>
                  <a:pt x="173391" y="63146"/>
                </a:cubicBezTo>
                <a:lnTo>
                  <a:pt x="203367" y="63146"/>
                </a:lnTo>
                <a:lnTo>
                  <a:pt x="203367" y="4643"/>
                </a:lnTo>
                <a:cubicBezTo>
                  <a:pt x="203367" y="4643"/>
                  <a:pt x="176163" y="0"/>
                  <a:pt x="150153" y="0"/>
                </a:cubicBezTo>
                <a:cubicBezTo>
                  <a:pt x="95852" y="0"/>
                  <a:pt x="60360" y="32910"/>
                  <a:pt x="60360" y="92490"/>
                </a:cubicBezTo>
                <a:lnTo>
                  <a:pt x="60360" y="144864"/>
                </a:lnTo>
                <a:lnTo>
                  <a:pt x="0" y="144864"/>
                </a:lnTo>
                <a:lnTo>
                  <a:pt x="0" y="213582"/>
                </a:lnTo>
                <a:lnTo>
                  <a:pt x="60360" y="213582"/>
                </a:lnTo>
                <a:lnTo>
                  <a:pt x="60360" y="379702"/>
                </a:lnTo>
                <a:cubicBezTo>
                  <a:pt x="72465" y="381601"/>
                  <a:pt x="84866" y="382590"/>
                  <a:pt x="97505" y="382590"/>
                </a:cubicBezTo>
                <a:cubicBezTo>
                  <a:pt x="110143" y="382590"/>
                  <a:pt x="122545" y="381601"/>
                  <a:pt x="134650" y="379702"/>
                </a:cubicBezTo>
                <a:lnTo>
                  <a:pt x="134650" y="213582"/>
                </a:lnTo>
                <a:lnTo>
                  <a:pt x="190042" y="213582"/>
                </a:lnTo>
                <a:close/>
              </a:path>
            </a:pathLst>
          </a:custGeom>
          <a:solidFill>
            <a:schemeClr val="bg1"/>
          </a:solidFill>
          <a:ln w="456" cap="flat">
            <a:noFill/>
            <a:prstDash val="solid"/>
            <a:miter/>
          </a:ln>
        </p:spPr>
        <p:txBody>
          <a:bodyPr rtlCol="0" anchor="ctr"/>
          <a:lstStyle/>
          <a:p>
            <a:endParaRPr lang="en-GB"/>
          </a:p>
        </p:txBody>
      </p:sp>
      <p:pic>
        <p:nvPicPr>
          <p:cNvPr id="30" name="Picture 22" descr="A black and white image of a planet&#10;&#10;Description automatically generated with low confidence">
            <a:extLst>
              <a:ext uri="{FF2B5EF4-FFF2-40B4-BE49-F238E27FC236}">
                <a16:creationId xmlns:a16="http://schemas.microsoft.com/office/drawing/2014/main" id="{D4E07BA5-199E-E606-87A3-A44B1DC9FDE2}"/>
              </a:ext>
            </a:extLst>
          </p:cNvPr>
          <p:cNvPicPr>
            <a:picLocks noChangeAspect="1"/>
          </p:cNvPicPr>
          <p:nvPr/>
        </p:nvPicPr>
        <p:blipFill>
          <a:blip r:embed="rId2">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1393009" y="4392231"/>
            <a:ext cx="443844" cy="443844"/>
          </a:xfrm>
          <a:prstGeom prst="rect">
            <a:avLst/>
          </a:prstGeom>
          <a:noFill/>
        </p:spPr>
      </p:pic>
      <p:pic>
        <p:nvPicPr>
          <p:cNvPr id="31" name="Picture 23" descr="Icon&#10;&#10;Description automatically generated">
            <a:extLst>
              <a:ext uri="{FF2B5EF4-FFF2-40B4-BE49-F238E27FC236}">
                <a16:creationId xmlns:a16="http://schemas.microsoft.com/office/drawing/2014/main" id="{15B07C9B-2540-EF5C-EF9C-15C136D5EB90}"/>
              </a:ext>
            </a:extLst>
          </p:cNvPr>
          <p:cNvPicPr>
            <a:picLocks noChangeAspect="1"/>
          </p:cNvPicPr>
          <p:nvPr/>
        </p:nvPicPr>
        <p:blipFill>
          <a:blip r:embed="rId3">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2448553" y="4392231"/>
            <a:ext cx="443844" cy="443844"/>
          </a:xfrm>
          <a:prstGeom prst="rect">
            <a:avLst/>
          </a:prstGeom>
          <a:noFill/>
        </p:spPr>
      </p:pic>
      <p:pic>
        <p:nvPicPr>
          <p:cNvPr id="32" name="Picture 24" descr="A picture containing text, clipart&#10;&#10;Description automatically generated">
            <a:extLst>
              <a:ext uri="{FF2B5EF4-FFF2-40B4-BE49-F238E27FC236}">
                <a16:creationId xmlns:a16="http://schemas.microsoft.com/office/drawing/2014/main" id="{FA4B5A07-9C7A-6325-3B18-F4FBC3C9A96D}"/>
              </a:ext>
            </a:extLst>
          </p:cNvPr>
          <p:cNvPicPr>
            <a:picLocks noChangeAspect="1"/>
          </p:cNvPicPr>
          <p:nvPr/>
        </p:nvPicPr>
        <p:blipFill>
          <a:blip r:embed="rId4">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4514182" y="4392231"/>
            <a:ext cx="443844" cy="443844"/>
          </a:xfrm>
          <a:prstGeom prst="rect">
            <a:avLst/>
          </a:prstGeom>
          <a:noFill/>
        </p:spPr>
      </p:pic>
      <p:pic>
        <p:nvPicPr>
          <p:cNvPr id="33" name="Picture 26" descr="Icon&#10;&#10;Description automatically generated">
            <a:extLst>
              <a:ext uri="{FF2B5EF4-FFF2-40B4-BE49-F238E27FC236}">
                <a16:creationId xmlns:a16="http://schemas.microsoft.com/office/drawing/2014/main" id="{EDFD7C4F-4019-79CA-036A-5E7176267DA2}"/>
              </a:ext>
            </a:extLst>
          </p:cNvPr>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3452341" y="4392231"/>
            <a:ext cx="443844" cy="443844"/>
          </a:xfrm>
          <a:prstGeom prst="rect">
            <a:avLst/>
          </a:prstGeom>
          <a:noFill/>
        </p:spPr>
      </p:pic>
      <p:pic>
        <p:nvPicPr>
          <p:cNvPr id="34" name="Graphic 33">
            <a:extLst>
              <a:ext uri="{FF2B5EF4-FFF2-40B4-BE49-F238E27FC236}">
                <a16:creationId xmlns:a16="http://schemas.microsoft.com/office/drawing/2014/main" id="{46209A03-F45B-A6E6-3E51-12F2DF3C6F0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313208" y="4423396"/>
            <a:ext cx="440574" cy="362407"/>
          </a:xfrm>
          <a:prstGeom prst="rect">
            <a:avLst/>
          </a:prstGeom>
        </p:spPr>
      </p:pic>
      <p:pic>
        <p:nvPicPr>
          <p:cNvPr id="35" name="Graphic 34">
            <a:extLst>
              <a:ext uri="{FF2B5EF4-FFF2-40B4-BE49-F238E27FC236}">
                <a16:creationId xmlns:a16="http://schemas.microsoft.com/office/drawing/2014/main" id="{8A3CA1FD-2156-49A7-8BE3-2C12DFFD4A8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268715" y="4423396"/>
            <a:ext cx="362407" cy="362407"/>
          </a:xfrm>
          <a:prstGeom prst="rect">
            <a:avLst/>
          </a:prstGeom>
        </p:spPr>
      </p:pic>
      <p:sp>
        <p:nvSpPr>
          <p:cNvPr id="36" name="Freeform: Shape 30">
            <a:extLst>
              <a:ext uri="{FF2B5EF4-FFF2-40B4-BE49-F238E27FC236}">
                <a16:creationId xmlns:a16="http://schemas.microsoft.com/office/drawing/2014/main" id="{4BEA89F6-746F-4F19-5DAD-2DF99A5B72A7}"/>
              </a:ext>
            </a:extLst>
          </p:cNvPr>
          <p:cNvSpPr/>
          <p:nvPr/>
        </p:nvSpPr>
        <p:spPr>
          <a:xfrm>
            <a:off x="9302832" y="4423396"/>
            <a:ext cx="517698" cy="362407"/>
          </a:xfrm>
          <a:custGeom>
            <a:avLst/>
            <a:gdLst>
              <a:gd name="connsiteX0" fmla="*/ 363716 w 371482"/>
              <a:gd name="connsiteY0" fmla="*/ 40610 h 260050"/>
              <a:gd name="connsiteX1" fmla="*/ 330873 w 371482"/>
              <a:gd name="connsiteY1" fmla="*/ 7767 h 260050"/>
              <a:gd name="connsiteX2" fmla="*/ 185742 w 371482"/>
              <a:gd name="connsiteY2" fmla="*/ 0 h 260050"/>
              <a:gd name="connsiteX3" fmla="*/ 40610 w 371482"/>
              <a:gd name="connsiteY3" fmla="*/ 7767 h 260050"/>
              <a:gd name="connsiteX4" fmla="*/ 7767 w 371482"/>
              <a:gd name="connsiteY4" fmla="*/ 40610 h 260050"/>
              <a:gd name="connsiteX5" fmla="*/ 0 w 371482"/>
              <a:gd name="connsiteY5" fmla="*/ 130025 h 260050"/>
              <a:gd name="connsiteX6" fmla="*/ 7767 w 371482"/>
              <a:gd name="connsiteY6" fmla="*/ 219440 h 260050"/>
              <a:gd name="connsiteX7" fmla="*/ 40610 w 371482"/>
              <a:gd name="connsiteY7" fmla="*/ 252283 h 260050"/>
              <a:gd name="connsiteX8" fmla="*/ 185742 w 371482"/>
              <a:gd name="connsiteY8" fmla="*/ 260050 h 260050"/>
              <a:gd name="connsiteX9" fmla="*/ 330873 w 371482"/>
              <a:gd name="connsiteY9" fmla="*/ 252283 h 260050"/>
              <a:gd name="connsiteX10" fmla="*/ 363716 w 371482"/>
              <a:gd name="connsiteY10" fmla="*/ 219440 h 260050"/>
              <a:gd name="connsiteX11" fmla="*/ 371483 w 371482"/>
              <a:gd name="connsiteY11" fmla="*/ 130025 h 260050"/>
              <a:gd name="connsiteX12" fmla="*/ 363716 w 371482"/>
              <a:gd name="connsiteY12" fmla="*/ 40610 h 260050"/>
              <a:gd name="connsiteX13" fmla="*/ 148557 w 371482"/>
              <a:gd name="connsiteY13" fmla="*/ 185741 h 260050"/>
              <a:gd name="connsiteX14" fmla="*/ 148557 w 371482"/>
              <a:gd name="connsiteY14" fmla="*/ 74278 h 260050"/>
              <a:gd name="connsiteX15" fmla="*/ 245066 w 371482"/>
              <a:gd name="connsiteY15" fmla="*/ 129995 h 260050"/>
              <a:gd name="connsiteX16" fmla="*/ 148557 w 371482"/>
              <a:gd name="connsiteY16" fmla="*/ 185741 h 26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1482" h="260050">
                <a:moveTo>
                  <a:pt x="363716" y="40610"/>
                </a:moveTo>
                <a:cubicBezTo>
                  <a:pt x="359435" y="24617"/>
                  <a:pt x="346866" y="12048"/>
                  <a:pt x="330873" y="7767"/>
                </a:cubicBezTo>
                <a:cubicBezTo>
                  <a:pt x="301914" y="0"/>
                  <a:pt x="185742" y="0"/>
                  <a:pt x="185742" y="0"/>
                </a:cubicBezTo>
                <a:cubicBezTo>
                  <a:pt x="185742" y="0"/>
                  <a:pt x="69569" y="0"/>
                  <a:pt x="40610" y="7767"/>
                </a:cubicBezTo>
                <a:cubicBezTo>
                  <a:pt x="24617" y="12048"/>
                  <a:pt x="12048" y="24617"/>
                  <a:pt x="7767" y="40610"/>
                </a:cubicBezTo>
                <a:cubicBezTo>
                  <a:pt x="0" y="69569"/>
                  <a:pt x="0" y="130025"/>
                  <a:pt x="0" y="130025"/>
                </a:cubicBezTo>
                <a:cubicBezTo>
                  <a:pt x="0" y="130025"/>
                  <a:pt x="0" y="190481"/>
                  <a:pt x="7767" y="219440"/>
                </a:cubicBezTo>
                <a:cubicBezTo>
                  <a:pt x="12048" y="235434"/>
                  <a:pt x="24617" y="248002"/>
                  <a:pt x="40610" y="252283"/>
                </a:cubicBezTo>
                <a:cubicBezTo>
                  <a:pt x="69569" y="260050"/>
                  <a:pt x="185742" y="260050"/>
                  <a:pt x="185742" y="260050"/>
                </a:cubicBezTo>
                <a:cubicBezTo>
                  <a:pt x="185742" y="260050"/>
                  <a:pt x="301914" y="260050"/>
                  <a:pt x="330873" y="252283"/>
                </a:cubicBezTo>
                <a:cubicBezTo>
                  <a:pt x="346866" y="248002"/>
                  <a:pt x="359435" y="235434"/>
                  <a:pt x="363716" y="219440"/>
                </a:cubicBezTo>
                <a:cubicBezTo>
                  <a:pt x="371483" y="190481"/>
                  <a:pt x="371483" y="130025"/>
                  <a:pt x="371483" y="130025"/>
                </a:cubicBezTo>
                <a:cubicBezTo>
                  <a:pt x="371483" y="130025"/>
                  <a:pt x="371452" y="69569"/>
                  <a:pt x="363716" y="40610"/>
                </a:cubicBezTo>
                <a:close/>
                <a:moveTo>
                  <a:pt x="148557" y="185741"/>
                </a:moveTo>
                <a:lnTo>
                  <a:pt x="148557" y="74278"/>
                </a:lnTo>
                <a:lnTo>
                  <a:pt x="245066" y="129995"/>
                </a:lnTo>
                <a:lnTo>
                  <a:pt x="148557" y="185741"/>
                </a:lnTo>
                <a:close/>
              </a:path>
            </a:pathLst>
          </a:custGeom>
          <a:solidFill>
            <a:schemeClr val="tx1">
              <a:lumMod val="75000"/>
              <a:lumOff val="25000"/>
            </a:schemeClr>
          </a:solidFill>
          <a:ln w="3048" cap="flat">
            <a:noFill/>
            <a:prstDash val="solid"/>
            <a:miter/>
          </a:ln>
        </p:spPr>
        <p:txBody>
          <a:bodyPr rtlCol="0" anchor="ctr"/>
          <a:lstStyle/>
          <a:p>
            <a:endParaRPr lang="en-GB"/>
          </a:p>
        </p:txBody>
      </p:sp>
      <p:sp>
        <p:nvSpPr>
          <p:cNvPr id="37" name="Graphic 18">
            <a:extLst>
              <a:ext uri="{FF2B5EF4-FFF2-40B4-BE49-F238E27FC236}">
                <a16:creationId xmlns:a16="http://schemas.microsoft.com/office/drawing/2014/main" id="{60E924C7-AA18-7A16-B28F-51D6A5B007FD}"/>
              </a:ext>
            </a:extLst>
          </p:cNvPr>
          <p:cNvSpPr/>
          <p:nvPr/>
        </p:nvSpPr>
        <p:spPr>
          <a:xfrm>
            <a:off x="10476961" y="4421737"/>
            <a:ext cx="194114" cy="365182"/>
          </a:xfrm>
          <a:custGeom>
            <a:avLst/>
            <a:gdLst>
              <a:gd name="connsiteX0" fmla="*/ 190042 w 203367"/>
              <a:gd name="connsiteY0" fmla="*/ 213582 h 382590"/>
              <a:gd name="connsiteX1" fmla="*/ 200581 w 203367"/>
              <a:gd name="connsiteY1" fmla="*/ 144864 h 382590"/>
              <a:gd name="connsiteX2" fmla="*/ 134650 w 203367"/>
              <a:gd name="connsiteY2" fmla="*/ 144864 h 382590"/>
              <a:gd name="connsiteX3" fmla="*/ 134650 w 203367"/>
              <a:gd name="connsiteY3" fmla="*/ 100272 h 382590"/>
              <a:gd name="connsiteX4" fmla="*/ 173391 w 203367"/>
              <a:gd name="connsiteY4" fmla="*/ 63146 h 382590"/>
              <a:gd name="connsiteX5" fmla="*/ 203367 w 203367"/>
              <a:gd name="connsiteY5" fmla="*/ 63146 h 382590"/>
              <a:gd name="connsiteX6" fmla="*/ 203367 w 203367"/>
              <a:gd name="connsiteY6" fmla="*/ 4643 h 382590"/>
              <a:gd name="connsiteX7" fmla="*/ 150153 w 203367"/>
              <a:gd name="connsiteY7" fmla="*/ 0 h 382590"/>
              <a:gd name="connsiteX8" fmla="*/ 60360 w 203367"/>
              <a:gd name="connsiteY8" fmla="*/ 92490 h 382590"/>
              <a:gd name="connsiteX9" fmla="*/ 60360 w 203367"/>
              <a:gd name="connsiteY9" fmla="*/ 144864 h 382590"/>
              <a:gd name="connsiteX10" fmla="*/ 0 w 203367"/>
              <a:gd name="connsiteY10" fmla="*/ 144864 h 382590"/>
              <a:gd name="connsiteX11" fmla="*/ 0 w 203367"/>
              <a:gd name="connsiteY11" fmla="*/ 213582 h 382590"/>
              <a:gd name="connsiteX12" fmla="*/ 60360 w 203367"/>
              <a:gd name="connsiteY12" fmla="*/ 213582 h 382590"/>
              <a:gd name="connsiteX13" fmla="*/ 60360 w 203367"/>
              <a:gd name="connsiteY13" fmla="*/ 379702 h 382590"/>
              <a:gd name="connsiteX14" fmla="*/ 97505 w 203367"/>
              <a:gd name="connsiteY14" fmla="*/ 382590 h 382590"/>
              <a:gd name="connsiteX15" fmla="*/ 134650 w 203367"/>
              <a:gd name="connsiteY15" fmla="*/ 379702 h 382590"/>
              <a:gd name="connsiteX16" fmla="*/ 134650 w 203367"/>
              <a:gd name="connsiteY16" fmla="*/ 213582 h 382590"/>
              <a:gd name="connsiteX17" fmla="*/ 190042 w 203367"/>
              <a:gd name="connsiteY17" fmla="*/ 213582 h 38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3367" h="382590">
                <a:moveTo>
                  <a:pt x="190042" y="213582"/>
                </a:moveTo>
                <a:lnTo>
                  <a:pt x="200581" y="144864"/>
                </a:lnTo>
                <a:lnTo>
                  <a:pt x="134650" y="144864"/>
                </a:lnTo>
                <a:lnTo>
                  <a:pt x="134650" y="100272"/>
                </a:lnTo>
                <a:cubicBezTo>
                  <a:pt x="134650" y="81472"/>
                  <a:pt x="143861" y="63146"/>
                  <a:pt x="173391" y="63146"/>
                </a:cubicBezTo>
                <a:lnTo>
                  <a:pt x="203367" y="63146"/>
                </a:lnTo>
                <a:lnTo>
                  <a:pt x="203367" y="4643"/>
                </a:lnTo>
                <a:cubicBezTo>
                  <a:pt x="203367" y="4643"/>
                  <a:pt x="176163" y="0"/>
                  <a:pt x="150153" y="0"/>
                </a:cubicBezTo>
                <a:cubicBezTo>
                  <a:pt x="95852" y="0"/>
                  <a:pt x="60360" y="32910"/>
                  <a:pt x="60360" y="92490"/>
                </a:cubicBezTo>
                <a:lnTo>
                  <a:pt x="60360" y="144864"/>
                </a:lnTo>
                <a:lnTo>
                  <a:pt x="0" y="144864"/>
                </a:lnTo>
                <a:lnTo>
                  <a:pt x="0" y="213582"/>
                </a:lnTo>
                <a:lnTo>
                  <a:pt x="60360" y="213582"/>
                </a:lnTo>
                <a:lnTo>
                  <a:pt x="60360" y="379702"/>
                </a:lnTo>
                <a:cubicBezTo>
                  <a:pt x="72465" y="381601"/>
                  <a:pt x="84866" y="382590"/>
                  <a:pt x="97505" y="382590"/>
                </a:cubicBezTo>
                <a:cubicBezTo>
                  <a:pt x="110143" y="382590"/>
                  <a:pt x="122545" y="381601"/>
                  <a:pt x="134650" y="379702"/>
                </a:cubicBezTo>
                <a:lnTo>
                  <a:pt x="134650" y="213582"/>
                </a:lnTo>
                <a:lnTo>
                  <a:pt x="190042" y="213582"/>
                </a:lnTo>
                <a:close/>
              </a:path>
            </a:pathLst>
          </a:custGeom>
          <a:solidFill>
            <a:schemeClr val="tx1">
              <a:lumMod val="75000"/>
              <a:lumOff val="25000"/>
            </a:schemeClr>
          </a:solidFill>
          <a:ln w="456" cap="flat">
            <a:noFill/>
            <a:prstDash val="solid"/>
            <a:miter/>
          </a:ln>
        </p:spPr>
        <p:txBody>
          <a:bodyPr rtlCol="0" anchor="ctr"/>
          <a:lstStyle/>
          <a:p>
            <a:endParaRPr lang="en-GB"/>
          </a:p>
        </p:txBody>
      </p:sp>
      <p:pic>
        <p:nvPicPr>
          <p:cNvPr id="38" name="Picture 34" descr="Icon&#10;&#10;Description automatically generated">
            <a:extLst>
              <a:ext uri="{FF2B5EF4-FFF2-40B4-BE49-F238E27FC236}">
                <a16:creationId xmlns:a16="http://schemas.microsoft.com/office/drawing/2014/main" id="{A92A79AA-5928-9E25-35AC-5B751909698D}"/>
              </a:ext>
            </a:extLst>
          </p:cNvPr>
          <p:cNvPicPr>
            <a:picLocks noChangeAspect="1"/>
          </p:cNvPicPr>
          <p:nvPr/>
        </p:nvPicPr>
        <p:blipFill>
          <a:blip r:embed="rId14">
            <a:biLevel thresh="25000"/>
            <a:extLst>
              <a:ext uri="{28A0092B-C50C-407E-A947-70E740481C1C}">
                <a14:useLocalDpi xmlns:a14="http://schemas.microsoft.com/office/drawing/2010/main"/>
              </a:ext>
            </a:extLst>
          </a:blip>
          <a:stretch>
            <a:fillRect/>
          </a:stretch>
        </p:blipFill>
        <p:spPr>
          <a:xfrm>
            <a:off x="5542489" y="3062834"/>
            <a:ext cx="526722" cy="526722"/>
          </a:xfrm>
          <a:prstGeom prst="rect">
            <a:avLst/>
          </a:prstGeom>
        </p:spPr>
      </p:pic>
      <p:pic>
        <p:nvPicPr>
          <p:cNvPr id="39" name="Picture 35" descr="Icon&#10;&#10;Description automatically generated">
            <a:extLst>
              <a:ext uri="{FF2B5EF4-FFF2-40B4-BE49-F238E27FC236}">
                <a16:creationId xmlns:a16="http://schemas.microsoft.com/office/drawing/2014/main" id="{B9E766AB-B494-DC02-C8A8-AE86C7DDA3A3}"/>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5542489" y="4340967"/>
            <a:ext cx="526722" cy="526722"/>
          </a:xfrm>
          <a:prstGeom prst="rect">
            <a:avLst/>
          </a:prstGeom>
        </p:spPr>
      </p:pic>
    </p:spTree>
    <p:extLst>
      <p:ext uri="{BB962C8B-B14F-4D97-AF65-F5344CB8AC3E}">
        <p14:creationId xmlns:p14="http://schemas.microsoft.com/office/powerpoint/2010/main" val="18061465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46059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835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Tijdelijke aanduiding voor afbeelding 14" descr="Afbeelding met buitenshuis, hemel, wolk, plant&#10;&#10;Door AI gegenereerde inhoud is mogelijk onjuist.">
            <a:extLst>
              <a:ext uri="{FF2B5EF4-FFF2-40B4-BE49-F238E27FC236}">
                <a16:creationId xmlns:a16="http://schemas.microsoft.com/office/drawing/2014/main" id="{EBBE5F54-FA3E-5829-488B-934C95894B04}"/>
              </a:ext>
            </a:extLst>
          </p:cNvPr>
          <p:cNvPicPr>
            <a:picLocks noGrp="1" noChangeAspect="1"/>
          </p:cNvPicPr>
          <p:nvPr>
            <p:ph type="pic" sz="quarter" idx="19"/>
          </p:nvPr>
        </p:nvPicPr>
        <p:blipFill rotWithShape="1">
          <a:blip r:embed="rId2">
            <a:extLst>
              <a:ext uri="{28A0092B-C50C-407E-A947-70E740481C1C}">
                <a14:useLocalDpi xmlns:a14="http://schemas.microsoft.com/office/drawing/2010/main"/>
              </a:ext>
            </a:extLst>
          </a:blip>
          <a:srcRect/>
          <a:stretch/>
        </p:blipFill>
        <p:spPr>
          <a:xfrm>
            <a:off x="0" y="-6038"/>
            <a:ext cx="6182350" cy="6216857"/>
          </a:xfrm>
        </p:spPr>
      </p:pic>
      <p:sp>
        <p:nvSpPr>
          <p:cNvPr id="4" name="Titel 3">
            <a:extLst>
              <a:ext uri="{FF2B5EF4-FFF2-40B4-BE49-F238E27FC236}">
                <a16:creationId xmlns:a16="http://schemas.microsoft.com/office/drawing/2014/main" id="{D9473325-17DB-9AEF-B5B6-14F1716BB799}"/>
              </a:ext>
            </a:extLst>
          </p:cNvPr>
          <p:cNvSpPr>
            <a:spLocks noGrp="1"/>
          </p:cNvSpPr>
          <p:nvPr>
            <p:ph type="title"/>
          </p:nvPr>
        </p:nvSpPr>
        <p:spPr/>
        <p:txBody>
          <a:bodyPr/>
          <a:lstStyle/>
          <a:p>
            <a:endParaRPr lang="en-GB" dirty="0"/>
          </a:p>
        </p:txBody>
      </p:sp>
      <p:sp>
        <p:nvSpPr>
          <p:cNvPr id="5" name="Ondertitel 4">
            <a:extLst>
              <a:ext uri="{FF2B5EF4-FFF2-40B4-BE49-F238E27FC236}">
                <a16:creationId xmlns:a16="http://schemas.microsoft.com/office/drawing/2014/main" id="{06CA10DA-34CA-0933-24E9-A59F0A5B5239}"/>
              </a:ext>
            </a:extLst>
          </p:cNvPr>
          <p:cNvSpPr>
            <a:spLocks noGrp="1"/>
          </p:cNvSpPr>
          <p:nvPr>
            <p:ph type="subTitle" idx="1"/>
          </p:nvPr>
        </p:nvSpPr>
        <p:spPr/>
        <p:txBody>
          <a:bodyPr/>
          <a:lstStyle/>
          <a:p>
            <a:endParaRPr lang="en-GB" dirty="0"/>
          </a:p>
        </p:txBody>
      </p:sp>
      <p:sp>
        <p:nvSpPr>
          <p:cNvPr id="8" name="Tijdelijke aanduiding voor inhoud 7">
            <a:extLst>
              <a:ext uri="{FF2B5EF4-FFF2-40B4-BE49-F238E27FC236}">
                <a16:creationId xmlns:a16="http://schemas.microsoft.com/office/drawing/2014/main" id="{E6C1BFA2-EECC-2FD4-9BCA-A942B47849B1}"/>
              </a:ext>
            </a:extLst>
          </p:cNvPr>
          <p:cNvSpPr>
            <a:spLocks noGrp="1"/>
          </p:cNvSpPr>
          <p:nvPr>
            <p:ph idx="17"/>
          </p:nvPr>
        </p:nvSpPr>
        <p:spPr/>
        <p:txBody>
          <a:bodyPr/>
          <a:lstStyle/>
          <a:p>
            <a:endParaRPr lang="en-GB" dirty="0"/>
          </a:p>
        </p:txBody>
      </p:sp>
    </p:spTree>
    <p:extLst>
      <p:ext uri="{BB962C8B-B14F-4D97-AF65-F5344CB8AC3E}">
        <p14:creationId xmlns:p14="http://schemas.microsoft.com/office/powerpoint/2010/main" val="1696128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C90EB2BB-424F-9950-E366-A309BB5307D4}"/>
              </a:ext>
            </a:extLst>
          </p:cNvPr>
          <p:cNvSpPr>
            <a:spLocks noGrp="1"/>
          </p:cNvSpPr>
          <p:nvPr>
            <p:ph type="title"/>
          </p:nvPr>
        </p:nvSpPr>
        <p:spPr>
          <a:xfrm>
            <a:off x="1137600" y="4026980"/>
            <a:ext cx="5292000" cy="692497"/>
          </a:xfrm>
        </p:spPr>
        <p:txBody>
          <a:bodyPr/>
          <a:lstStyle/>
          <a:p>
            <a:r>
              <a:rPr lang="en-GB" dirty="0"/>
              <a:t>Titel</a:t>
            </a:r>
          </a:p>
        </p:txBody>
      </p:sp>
      <p:sp>
        <p:nvSpPr>
          <p:cNvPr id="6" name="Ondertitel 5">
            <a:extLst>
              <a:ext uri="{FF2B5EF4-FFF2-40B4-BE49-F238E27FC236}">
                <a16:creationId xmlns:a16="http://schemas.microsoft.com/office/drawing/2014/main" id="{45D10B2A-EFE7-BA01-7F57-2CE9FB4B5C7D}"/>
              </a:ext>
            </a:extLst>
          </p:cNvPr>
          <p:cNvSpPr>
            <a:spLocks noGrp="1"/>
          </p:cNvSpPr>
          <p:nvPr>
            <p:ph type="subTitle" idx="1"/>
          </p:nvPr>
        </p:nvSpPr>
        <p:spPr>
          <a:xfrm>
            <a:off x="1137600" y="4919874"/>
            <a:ext cx="5292000" cy="430887"/>
          </a:xfrm>
        </p:spPr>
        <p:txBody>
          <a:bodyPr/>
          <a:lstStyle/>
          <a:p>
            <a:r>
              <a:rPr lang="en-GB" dirty="0" err="1"/>
              <a:t>Subtitel</a:t>
            </a:r>
            <a:endParaRPr lang="en-GB" dirty="0"/>
          </a:p>
        </p:txBody>
      </p:sp>
      <p:sp>
        <p:nvSpPr>
          <p:cNvPr id="7" name="Tijdelijke aanduiding voor inhoud 6">
            <a:extLst>
              <a:ext uri="{FF2B5EF4-FFF2-40B4-BE49-F238E27FC236}">
                <a16:creationId xmlns:a16="http://schemas.microsoft.com/office/drawing/2014/main" id="{3C748CBC-71DA-69EE-F702-153250B19634}"/>
              </a:ext>
            </a:extLst>
          </p:cNvPr>
          <p:cNvSpPr>
            <a:spLocks noGrp="1"/>
          </p:cNvSpPr>
          <p:nvPr>
            <p:ph idx="17"/>
          </p:nvPr>
        </p:nvSpPr>
        <p:spPr>
          <a:xfrm>
            <a:off x="1137600" y="6049730"/>
            <a:ext cx="5292000" cy="215444"/>
          </a:xfrm>
        </p:spPr>
        <p:txBody>
          <a:bodyPr/>
          <a:lstStyle/>
          <a:p>
            <a:r>
              <a:rPr lang="en-GB" dirty="0"/>
              <a:t>Datum</a:t>
            </a:r>
          </a:p>
        </p:txBody>
      </p:sp>
    </p:spTree>
    <p:extLst>
      <p:ext uri="{BB962C8B-B14F-4D97-AF65-F5344CB8AC3E}">
        <p14:creationId xmlns:p14="http://schemas.microsoft.com/office/powerpoint/2010/main" val="3954686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5294C18-583C-8762-9BBA-39C6A9309878}"/>
              </a:ext>
            </a:extLst>
          </p:cNvPr>
          <p:cNvSpPr>
            <a:spLocks noGrp="1"/>
          </p:cNvSpPr>
          <p:nvPr>
            <p:ph type="ctrTitle"/>
          </p:nvPr>
        </p:nvSpPr>
        <p:spPr>
          <a:xfrm>
            <a:off x="1137600" y="4218920"/>
            <a:ext cx="6840000" cy="900000"/>
          </a:xfrm>
        </p:spPr>
        <p:txBody>
          <a:bodyPr/>
          <a:lstStyle/>
          <a:p>
            <a:r>
              <a:rPr lang="en-GB" dirty="0"/>
              <a:t>Titel </a:t>
            </a:r>
            <a:br>
              <a:rPr lang="en-GB" dirty="0"/>
            </a:br>
            <a:r>
              <a:rPr lang="en-GB" dirty="0" err="1"/>
              <a:t>tussenslide</a:t>
            </a:r>
            <a:endParaRPr lang="en-GB" dirty="0"/>
          </a:p>
        </p:txBody>
      </p:sp>
    </p:spTree>
    <p:extLst>
      <p:ext uri="{BB962C8B-B14F-4D97-AF65-F5344CB8AC3E}">
        <p14:creationId xmlns:p14="http://schemas.microsoft.com/office/powerpoint/2010/main" val="11474316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AB6F05-6577-79E1-3F6B-E0DCF6549546}"/>
              </a:ext>
            </a:extLst>
          </p:cNvPr>
          <p:cNvSpPr>
            <a:spLocks noGrp="1"/>
          </p:cNvSpPr>
          <p:nvPr>
            <p:ph type="ctrTitle"/>
          </p:nvPr>
        </p:nvSpPr>
        <p:spPr>
          <a:xfrm>
            <a:off x="1137600" y="4218920"/>
            <a:ext cx="6812280" cy="874022"/>
          </a:xfrm>
        </p:spPr>
        <p:txBody>
          <a:bodyPr/>
          <a:lstStyle/>
          <a:p>
            <a:r>
              <a:rPr lang="en-GB" dirty="0"/>
              <a:t>Titel </a:t>
            </a:r>
            <a:br>
              <a:rPr lang="en-GB" dirty="0"/>
            </a:br>
            <a:r>
              <a:rPr lang="en-GB" dirty="0" err="1"/>
              <a:t>tussenslide</a:t>
            </a:r>
            <a:endParaRPr lang="en-GB" dirty="0"/>
          </a:p>
        </p:txBody>
      </p:sp>
    </p:spTree>
    <p:extLst>
      <p:ext uri="{BB962C8B-B14F-4D97-AF65-F5344CB8AC3E}">
        <p14:creationId xmlns:p14="http://schemas.microsoft.com/office/powerpoint/2010/main" val="38904451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uw + groen">
  <a:themeElements>
    <a:clrScheme name="Utrecht HOH2">
      <a:dk1>
        <a:srgbClr val="1E1E1E"/>
      </a:dk1>
      <a:lt1>
        <a:sysClr val="window" lastClr="FFFFFF"/>
      </a:lt1>
      <a:dk2>
        <a:srgbClr val="004C6E"/>
      </a:dk2>
      <a:lt2>
        <a:srgbClr val="FFFFFF"/>
      </a:lt2>
      <a:accent1>
        <a:srgbClr val="004C6E"/>
      </a:accent1>
      <a:accent2>
        <a:srgbClr val="00FC4A"/>
      </a:accent2>
      <a:accent3>
        <a:srgbClr val="530070"/>
      </a:accent3>
      <a:accent4>
        <a:srgbClr val="00D1AE"/>
      </a:accent4>
      <a:accent5>
        <a:srgbClr val="00008B"/>
      </a:accent5>
      <a:accent6>
        <a:srgbClr val="FC80FC"/>
      </a:accent6>
      <a:hlink>
        <a:srgbClr val="00D1AE"/>
      </a:hlink>
      <a:folHlink>
        <a:srgbClr val="004C6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solidFill>
              <a:schemeClr val="tx2"/>
            </a:solidFill>
          </a:defRPr>
        </a:defPPr>
      </a:lstStyle>
    </a:txDef>
  </a:objectDefaults>
  <a:extraClrSchemeLst/>
  <a:extLst>
    <a:ext uri="{05A4C25C-085E-4340-85A3-A5531E510DB2}">
      <thm15:themeFamily xmlns:thm15="http://schemas.microsoft.com/office/thememl/2012/main" name="UM-HOH_PP-Template-2025-fullversion-Arial" id="{D1E76276-7451-9F48-A15C-43330FA7BDBD}" vid="{0539EB7A-F2EB-F44F-B9C6-A7E00EB207E3}"/>
    </a:ext>
  </a:extLst>
</a:theme>
</file>

<file path=ppt/theme/theme2.xml><?xml version="1.0" encoding="utf-8"?>
<a:theme xmlns:a="http://schemas.openxmlformats.org/drawingml/2006/main" name="Bruin + Grijsblauw ">
  <a:themeElements>
    <a:clrScheme name="Utrecht HOH2">
      <a:dk1>
        <a:srgbClr val="1E1E1E"/>
      </a:dk1>
      <a:lt1>
        <a:sysClr val="window" lastClr="FFFFFF"/>
      </a:lt1>
      <a:dk2>
        <a:srgbClr val="004C6E"/>
      </a:dk2>
      <a:lt2>
        <a:srgbClr val="FFFFFF"/>
      </a:lt2>
      <a:accent1>
        <a:srgbClr val="004C6E"/>
      </a:accent1>
      <a:accent2>
        <a:srgbClr val="00FC4A"/>
      </a:accent2>
      <a:accent3>
        <a:srgbClr val="530070"/>
      </a:accent3>
      <a:accent4>
        <a:srgbClr val="00D1AE"/>
      </a:accent4>
      <a:accent5>
        <a:srgbClr val="00008B"/>
      </a:accent5>
      <a:accent6>
        <a:srgbClr val="FC80FC"/>
      </a:accent6>
      <a:hlink>
        <a:srgbClr val="00D1AE"/>
      </a:hlink>
      <a:folHlink>
        <a:srgbClr val="004C6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solidFill>
              <a:schemeClr val="tx2"/>
            </a:solidFill>
          </a:defRPr>
        </a:defPPr>
      </a:lstStyle>
    </a:txDef>
  </a:objectDefaults>
  <a:extraClrSchemeLst/>
  <a:extLst>
    <a:ext uri="{05A4C25C-085E-4340-85A3-A5531E510DB2}">
      <thm15:themeFamily xmlns:thm15="http://schemas.microsoft.com/office/thememl/2012/main" name="UM-HOH_PP-Template-2025-fullversion-Arial" id="{D1E76276-7451-9F48-A15C-43330FA7BDBD}" vid="{C02C493D-2CD7-7F43-80E9-8D73469658B9}"/>
    </a:ext>
  </a:extLst>
</a:theme>
</file>

<file path=ppt/theme/theme3.xml><?xml version="1.0" encoding="utf-8"?>
<a:theme xmlns:a="http://schemas.openxmlformats.org/drawingml/2006/main" name="Aqua + Paars">
  <a:themeElements>
    <a:clrScheme name="Utrecht HOH2">
      <a:dk1>
        <a:srgbClr val="1E1E1E"/>
      </a:dk1>
      <a:lt1>
        <a:sysClr val="window" lastClr="FFFFFF"/>
      </a:lt1>
      <a:dk2>
        <a:srgbClr val="004C6E"/>
      </a:dk2>
      <a:lt2>
        <a:srgbClr val="FFFFFF"/>
      </a:lt2>
      <a:accent1>
        <a:srgbClr val="004C6E"/>
      </a:accent1>
      <a:accent2>
        <a:srgbClr val="00FC4A"/>
      </a:accent2>
      <a:accent3>
        <a:srgbClr val="530070"/>
      </a:accent3>
      <a:accent4>
        <a:srgbClr val="00D1AE"/>
      </a:accent4>
      <a:accent5>
        <a:srgbClr val="00008B"/>
      </a:accent5>
      <a:accent6>
        <a:srgbClr val="FC80FC"/>
      </a:accent6>
      <a:hlink>
        <a:srgbClr val="00D1AE"/>
      </a:hlink>
      <a:folHlink>
        <a:srgbClr val="004C6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solidFill>
              <a:schemeClr val="tx2"/>
            </a:solidFill>
          </a:defRPr>
        </a:defPPr>
      </a:lstStyle>
    </a:txDef>
  </a:objectDefaults>
  <a:extraClrSchemeLst/>
  <a:extLst>
    <a:ext uri="{05A4C25C-085E-4340-85A3-A5531E510DB2}">
      <thm15:themeFamily xmlns:thm15="http://schemas.microsoft.com/office/thememl/2012/main" name="UM-HOH_PP-Template-2025-fullversion-Arial" id="{D1E76276-7451-9F48-A15C-43330FA7BDBD}" vid="{B7DE2977-EBA1-774B-B42B-C0C02E0FD448}"/>
    </a:ext>
  </a:extLst>
</a:theme>
</file>

<file path=ppt/theme/theme4.xml><?xml version="1.0" encoding="utf-8"?>
<a:theme xmlns:a="http://schemas.openxmlformats.org/drawingml/2006/main" name="Instructies">
  <a:themeElements>
    <a:clrScheme name="Utrecht HOH2">
      <a:dk1>
        <a:srgbClr val="1E1E1E"/>
      </a:dk1>
      <a:lt1>
        <a:sysClr val="window" lastClr="FFFFFF"/>
      </a:lt1>
      <a:dk2>
        <a:srgbClr val="004C6E"/>
      </a:dk2>
      <a:lt2>
        <a:srgbClr val="FFFFFF"/>
      </a:lt2>
      <a:accent1>
        <a:srgbClr val="004C6E"/>
      </a:accent1>
      <a:accent2>
        <a:srgbClr val="00FC4A"/>
      </a:accent2>
      <a:accent3>
        <a:srgbClr val="530070"/>
      </a:accent3>
      <a:accent4>
        <a:srgbClr val="00D1AE"/>
      </a:accent4>
      <a:accent5>
        <a:srgbClr val="00008B"/>
      </a:accent5>
      <a:accent6>
        <a:srgbClr val="FC80FC"/>
      </a:accent6>
      <a:hlink>
        <a:srgbClr val="00D1AE"/>
      </a:hlink>
      <a:folHlink>
        <a:srgbClr val="004C6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solidFill>
              <a:schemeClr val="tx2"/>
            </a:solidFill>
          </a:defRPr>
        </a:defPPr>
      </a:lstStyle>
    </a:txDef>
  </a:objectDefaults>
  <a:extraClrSchemeLst/>
  <a:extLst>
    <a:ext uri="{05A4C25C-085E-4340-85A3-A5531E510DB2}">
      <thm15:themeFamily xmlns:thm15="http://schemas.microsoft.com/office/thememl/2012/main" name="UM-HOH_PP-Template-2025-fullversion-Arial" id="{D1E76276-7451-9F48-A15C-43330FA7BDBD}" vid="{8D6351B6-4DCB-DF4C-A04B-097002FCBD1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b0bd538-096b-496c-a043-100f567d9754">
      <Terms xmlns="http://schemas.microsoft.com/office/infopath/2007/PartnerControls"/>
    </lcf76f155ced4ddcb4097134ff3c332f>
    <TaxCatchAll xmlns="8c4fa4a2-86f1-477b-8aeb-a6ee5653e7d8" xsi:nil="true"/>
    <Locatie xmlns="0b0bd538-096b-496c-a043-100f567d9754">Ganzenmarkt</Locatie>
    <Jaar xmlns="0b0bd538-096b-496c-a043-100f567d975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3E95CBBB77F2B40A319A859BE076C97" ma:contentTypeVersion="20" ma:contentTypeDescription="Een nieuw document maken." ma:contentTypeScope="" ma:versionID="b4881c8aa544c88fc29352a7994256f9">
  <xsd:schema xmlns:xsd="http://www.w3.org/2001/XMLSchema" xmlns:xs="http://www.w3.org/2001/XMLSchema" xmlns:p="http://schemas.microsoft.com/office/2006/metadata/properties" xmlns:ns2="0b0bd538-096b-496c-a043-100f567d9754" xmlns:ns3="8c4fa4a2-86f1-477b-8aeb-a6ee5653e7d8" targetNamespace="http://schemas.microsoft.com/office/2006/metadata/properties" ma:root="true" ma:fieldsID="14a105c4e74b82b1b73eadd8539f5295" ns2:_="" ns3:_="">
    <xsd:import namespace="0b0bd538-096b-496c-a043-100f567d9754"/>
    <xsd:import namespace="8c4fa4a2-86f1-477b-8aeb-a6ee5653e7d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Locatio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Locatie" minOccurs="0"/>
                <xsd:element ref="ns2:Jaa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0bd538-096b-496c-a043-100f567d97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Location" ma:index="13" nillable="true" ma:displayName="Location" ma:indexed="true"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Afbeeldingtags" ma:readOnly="false" ma:fieldId="{5cf76f15-5ced-4ddc-b409-7134ff3c332f}" ma:taxonomyMulti="true" ma:sspId="dce70518-8692-49c8-a503-592a81ca816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Locatie" ma:index="23" nillable="true" ma:displayName="Locatie" ma:default="Ganzenmarkt" ma:format="Dropdown" ma:internalName="Locatie">
      <xsd:simpleType>
        <xsd:restriction base="dms:Choice">
          <xsd:enumeration value="Ganzenmarkt"/>
          <xsd:enumeration value="Domplein"/>
          <xsd:enumeration value="Keuze 3"/>
        </xsd:restriction>
      </xsd:simpleType>
    </xsd:element>
    <xsd:element name="Jaar" ma:index="24" nillable="true" ma:displayName="Jaar" ma:format="Dropdown" ma:internalName="Jaar">
      <xsd:simpleType>
        <xsd:union memberTypes="dms:Text">
          <xsd:simpleType>
            <xsd:restriction base="dms:Choice">
              <xsd:enumeration value="2024"/>
              <xsd:enumeration value="2025"/>
              <xsd:enumeration value="Keuze 3"/>
            </xsd:restriction>
          </xsd:simpleType>
        </xsd:union>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c4fa4a2-86f1-477b-8aeb-a6ee5653e7d8"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3e8a1e05-d341-4b7f-8156-f0d3c072d8c8}" ma:internalName="TaxCatchAll" ma:showField="CatchAllData" ma:web="8c4fa4a2-86f1-477b-8aeb-a6ee5653e7d8">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B95995-BD61-4E17-90C4-BF238604B04D}">
  <ds:schemaRefs>
    <ds:schemaRef ds:uri="eeec9138-fbd0-4e3c-bfee-fb7feeb23fa0"/>
    <ds:schemaRef ds:uri="http://purl.org/dc/elements/1.1/"/>
    <ds:schemaRef ds:uri="http://purl.org/dc/terms/"/>
    <ds:schemaRef ds:uri="http://purl.org/dc/dcmitype/"/>
    <ds:schemaRef ds:uri="http://schemas.microsoft.com/office/infopath/2007/PartnerControls"/>
    <ds:schemaRef ds:uri="d5494694-3e37-4e9d-a905-e9f20d97fbed"/>
    <ds:schemaRef ds:uri="http://www.w3.org/XML/1998/namespace"/>
    <ds:schemaRef ds:uri="http://schemas.microsoft.com/office/2006/documentManagement/types"/>
    <ds:schemaRef ds:uri="http://schemas.openxmlformats.org/package/2006/metadata/core-properties"/>
    <ds:schemaRef ds:uri="http://schemas.microsoft.com/office/2006/metadata/properties"/>
    <ds:schemaRef ds:uri="0b0bd538-096b-496c-a043-100f567d9754"/>
    <ds:schemaRef ds:uri="8c4fa4a2-86f1-477b-8aeb-a6ee5653e7d8"/>
  </ds:schemaRefs>
</ds:datastoreItem>
</file>

<file path=customXml/itemProps2.xml><?xml version="1.0" encoding="utf-8"?>
<ds:datastoreItem xmlns:ds="http://schemas.openxmlformats.org/officeDocument/2006/customXml" ds:itemID="{133338A3-B7CA-4B6C-A5D2-C309306C1E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b0bd538-096b-496c-a043-100f567d9754"/>
    <ds:schemaRef ds:uri="8c4fa4a2-86f1-477b-8aeb-a6ee5653e7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F4DCA1-85C5-4CCA-93EC-10C1C583B84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M-HOH_PP-Template-2025-lightversion-Arial 19 7 Mb</Template>
  <TotalTime>0</TotalTime>
  <Words>665</Words>
  <Application>Microsoft Office PowerPoint</Application>
  <PresentationFormat>Breedbeeld</PresentationFormat>
  <Paragraphs>86</Paragraphs>
  <Slides>39</Slides>
  <Notes>0</Notes>
  <HiddenSlides>0</HiddenSlides>
  <MMClips>0</MMClips>
  <ScaleCrop>false</ScaleCrop>
  <HeadingPairs>
    <vt:vector size="8" baseType="variant">
      <vt:variant>
        <vt:lpstr>Gebruikte lettertypen</vt:lpstr>
      </vt:variant>
      <vt:variant>
        <vt:i4>3</vt:i4>
      </vt:variant>
      <vt:variant>
        <vt:lpstr>Thema</vt:lpstr>
      </vt:variant>
      <vt:variant>
        <vt:i4>4</vt:i4>
      </vt:variant>
      <vt:variant>
        <vt:lpstr>Ingesloten OLE-bronprogramma's</vt:lpstr>
      </vt:variant>
      <vt:variant>
        <vt:i4>1</vt:i4>
      </vt:variant>
      <vt:variant>
        <vt:lpstr>Diatitels</vt:lpstr>
      </vt:variant>
      <vt:variant>
        <vt:i4>39</vt:i4>
      </vt:variant>
    </vt:vector>
  </HeadingPairs>
  <TitlesOfParts>
    <vt:vector size="47" baseType="lpstr">
      <vt:lpstr>Arial</vt:lpstr>
      <vt:lpstr>Calibri</vt:lpstr>
      <vt:lpstr>EuclidUtrecht-Regular</vt:lpstr>
      <vt:lpstr>Blauw + groen</vt:lpstr>
      <vt:lpstr>Bruin + Grijsblauw </vt:lpstr>
      <vt:lpstr>Aqua + Paars</vt:lpstr>
      <vt:lpstr>Instructies</vt:lpstr>
      <vt:lpstr>think-cell Slide</vt:lpstr>
      <vt:lpstr>PowerPoint-presentatie</vt:lpstr>
      <vt:lpstr>PowerPoint-presentatie</vt:lpstr>
      <vt:lpstr>PowerPoint-presentatie</vt:lpstr>
      <vt:lpstr>PowerPoint-presentatie</vt:lpstr>
      <vt:lpstr>PowerPoint-presentatie</vt:lpstr>
      <vt:lpstr>PowerPoint-presentatie</vt:lpstr>
      <vt:lpstr>Titel</vt:lpstr>
      <vt:lpstr>Titel  tussenslide</vt:lpstr>
      <vt:lpstr>Titel  tussenslide</vt:lpstr>
      <vt:lpstr>Titel  tussenslide</vt:lpstr>
      <vt:lpstr>Inhoud</vt:lpstr>
      <vt:lpstr>Utrecht</vt:lpstr>
      <vt:lpstr>Healthy society</vt:lpstr>
      <vt:lpstr>Sharon Dijksma</vt:lpstr>
      <vt:lpstr>PowerPoint-presentatie</vt:lpstr>
      <vt:lpstr>PowerPoint-presentatie</vt:lpstr>
      <vt:lpstr>PowerPoint-presentatie</vt:lpstr>
      <vt:lpstr>Titel  (max 2 regels)</vt:lpstr>
      <vt:lpstr>Titel  (max 2 regels)</vt:lpstr>
      <vt:lpstr>Titel  (max 2 regels)</vt:lpstr>
      <vt:lpstr>Titel  (max 2 regels)</vt:lpstr>
      <vt:lpstr>Titel  (max 2 regels)</vt:lpstr>
      <vt:lpstr>Titel  (max 2 regels)</vt:lpstr>
      <vt:lpstr>Titel  (max 2 regels)</vt:lpstr>
      <vt:lpstr>PowerPoint-presentatie</vt:lpstr>
      <vt:lpstr>Ruimte  voor toelichting  op full screen foto</vt:lpstr>
      <vt:lpstr>Lorem ipsum dolor sit amet</vt:lpstr>
      <vt:lpstr>Lorem ipsum dolor sit amet</vt:lpstr>
      <vt:lpstr>Lorem ipsum dolor sit amet</vt:lpstr>
      <vt:lpstr>Lorem ipsum dolor sit amet</vt:lpstr>
      <vt:lpstr>PowerPoint-presentatie</vt:lpstr>
      <vt:lpstr>PowerPoint-presentatie</vt:lpstr>
      <vt:lpstr># waar  met elkaar verbonden  zijn ons  vitaal houdt</vt:lpstr>
      <vt:lpstr># Het  kloppende hart  van een gezonde samenleving</vt:lpstr>
      <vt:lpstr># Waar we ons verplaatsen zonder uitstoot</vt:lpstr>
      <vt:lpstr>Bedankt voor uw aandacht!</vt:lpstr>
      <vt:lpstr>PowerPoint-presentatie</vt:lpstr>
      <vt:lpstr>EBU boardmembers</vt:lpstr>
      <vt:lpstr>Icon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tam, T. (Thirza)</dc:creator>
  <cp:lastModifiedBy>Stam, T. (Thirza)</cp:lastModifiedBy>
  <cp:revision>1</cp:revision>
  <dcterms:created xsi:type="dcterms:W3CDTF">2025-10-07T11:51:10Z</dcterms:created>
  <dcterms:modified xsi:type="dcterms:W3CDTF">2025-10-07T11:5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E95CBBB77F2B40A319A859BE076C97</vt:lpwstr>
  </property>
  <property fmtid="{D5CDD505-2E9C-101B-9397-08002B2CF9AE}" pid="3" name="MediaServiceImageTags">
    <vt:lpwstr/>
  </property>
</Properties>
</file>